
<file path=[Content_Types].xml><?xml version="1.0" encoding="utf-8"?>
<Types xmlns="http://schemas.openxmlformats.org/package/2006/content-types">
  <Default Extension="fntdata" ContentType="application/x-fontdata"/>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notesSlides/notesSlide1.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comments/comment1.xml" ContentType="application/vnd.openxmlformats-officedocument.presentationml.comment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notesSlides/notesSlide2.xml" ContentType="application/vnd.openxmlformats-officedocument.presentationml.notesSlide+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notesSlides/notesSlide3.xml" ContentType="application/vnd.openxmlformats-officedocument.presentationml.notesSlide+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p:sldMasterIdLst>
    <p:sldMasterId id="2147483648" r:id="rId4"/>
  </p:sldMasterIdLst>
  <p:notesMasterIdLst>
    <p:notesMasterId r:id="rId30"/>
  </p:notesMasterIdLst>
  <p:sldIdLst>
    <p:sldId id="256" r:id="rId5"/>
    <p:sldId id="599" r:id="rId6"/>
    <p:sldId id="656" r:id="rId7"/>
    <p:sldId id="282" r:id="rId8"/>
    <p:sldId id="645" r:id="rId9"/>
    <p:sldId id="660" r:id="rId10"/>
    <p:sldId id="585" r:id="rId11"/>
    <p:sldId id="597" r:id="rId12"/>
    <p:sldId id="267" r:id="rId13"/>
    <p:sldId id="659" r:id="rId14"/>
    <p:sldId id="586" r:id="rId15"/>
    <p:sldId id="604" r:id="rId16"/>
    <p:sldId id="614" r:id="rId17"/>
    <p:sldId id="617" r:id="rId18"/>
    <p:sldId id="619" r:id="rId19"/>
    <p:sldId id="620" r:id="rId20"/>
    <p:sldId id="643" r:id="rId21"/>
    <p:sldId id="625" r:id="rId22"/>
    <p:sldId id="661" r:id="rId23"/>
    <p:sldId id="623" r:id="rId24"/>
    <p:sldId id="657" r:id="rId25"/>
    <p:sldId id="642" r:id="rId26"/>
    <p:sldId id="598" r:id="rId27"/>
    <p:sldId id="629" r:id="rId28"/>
    <p:sldId id="608" r:id="rId29"/>
  </p:sldIdLst>
  <p:sldSz cx="12192000" cy="6858000"/>
  <p:notesSz cx="6958013" cy="10018713"/>
  <p:embeddedFontLst>
    <p:embeddedFont>
      <p:font typeface="Calibri" panose="020F0502020204030204" pitchFamily="34" charset="0"/>
      <p:regular r:id="rId31"/>
      <p:bold r:id="rId32"/>
      <p:italic r:id="rId33"/>
      <p:boldItalic r:id="rId34"/>
    </p:embeddedFont>
    <p:embeddedFont>
      <p:font typeface="Open Sans" panose="020B0606030504020204" pitchFamily="34" charset="0"/>
      <p:regular r:id="rId35"/>
      <p:bold r:id="rId36"/>
      <p:italic r:id="rId37"/>
      <p:boldItalic r:id="rId38"/>
    </p:embeddedFont>
    <p:embeddedFont>
      <p:font typeface="Open Sans Light" panose="020B0306030504020204" pitchFamily="34" charset="0"/>
      <p:regular r:id="rId39"/>
      <p:italic r:id="rId40"/>
    </p:embeddedFont>
  </p:embeddedFontLst>
  <p:defaultTex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Peeters, Caroline" initials="PC" lastIdx="1" clrIdx="0">
    <p:extLst>
      <p:ext uri="{19B8F6BF-5375-455C-9EA6-DF929625EA0E}">
        <p15:presenceInfo xmlns:p15="http://schemas.microsoft.com/office/powerpoint/2012/main" userId="S-1-5-21-906381532-1603672119-398547282-9658" providerId="AD"/>
      </p:ext>
    </p:extLst>
  </p:cmAuthor>
  <p:cmAuthor id="2" name="Peeters, Caroline" initials="PC [2]" lastIdx="12" clrIdx="1">
    <p:extLst>
      <p:ext uri="{19B8F6BF-5375-455C-9EA6-DF929625EA0E}">
        <p15:presenceInfo xmlns:p15="http://schemas.microsoft.com/office/powerpoint/2012/main" userId="S::C.Peeters@leusden.nl::ae48c8be-fc75-469f-8307-958d7ac6f741"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90D5AC"/>
    <a:srgbClr val="62366E"/>
    <a:srgbClr val="ACDBEE"/>
    <a:srgbClr val="A27402"/>
    <a:srgbClr val="F0C67A"/>
    <a:srgbClr val="FAB303"/>
    <a:srgbClr val="67B2E8"/>
    <a:srgbClr val="FF4438"/>
    <a:srgbClr val="FFFFFF"/>
    <a:srgbClr val="BDE6F8"/>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A9A04BA9-990C-421F-B737-3C2061CA3861}" v="147" dt="2022-04-12T13:45:23.814"/>
  </p1510:revLst>
</p1510:revInfo>
</file>

<file path=ppt/tableStyles.xml><?xml version="1.0" encoding="utf-8"?>
<a:tblStyleLst xmlns:a="http://schemas.openxmlformats.org/drawingml/2006/main" def="{5C22544A-7EE6-4342-B048-85BDC9FD1C3A}">
  <a:tblStyle styleId="{5C22544A-7EE6-4342-B048-85BDC9FD1C3A}" styleName="Stijl, gemiddeld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2591" autoAdjust="0"/>
    <p:restoredTop sz="93792" autoAdjust="0"/>
  </p:normalViewPr>
  <p:slideViewPr>
    <p:cSldViewPr snapToGrid="0">
      <p:cViewPr varScale="1">
        <p:scale>
          <a:sx n="123" d="100"/>
          <a:sy n="123" d="100"/>
        </p:scale>
        <p:origin x="252" y="10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font" Target="fonts/font9.fntdata"/><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font" Target="fonts/font4.fntdata"/><Relationship Id="rId42" Type="http://schemas.openxmlformats.org/officeDocument/2006/relationships/presProps" Target="pres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font" Target="fonts/font3.fntdata"/><Relationship Id="rId38" Type="http://schemas.openxmlformats.org/officeDocument/2006/relationships/font" Target="fonts/font8.fntdata"/><Relationship Id="rId46" Type="http://schemas.microsoft.com/office/2015/10/relationships/revisionInfo" Target="revisionInfo.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commentAuthors" Target="commentAuthor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font" Target="fonts/font2.fntdata"/><Relationship Id="rId37" Type="http://schemas.openxmlformats.org/officeDocument/2006/relationships/font" Target="fonts/font7.fntdata"/><Relationship Id="rId40" Type="http://schemas.openxmlformats.org/officeDocument/2006/relationships/font" Target="fonts/font10.fntdata"/><Relationship Id="rId45"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font" Target="fonts/font6.fntdata"/><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font" Target="fonts/font1.fntdata"/><Relationship Id="rId44"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notesMaster" Target="notesMasters/notesMaster1.xml"/><Relationship Id="rId35" Type="http://schemas.openxmlformats.org/officeDocument/2006/relationships/font" Target="fonts/font5.fntdata"/><Relationship Id="rId43" Type="http://schemas.openxmlformats.org/officeDocument/2006/relationships/viewProps" Target="viewProps.xml"/></Relationships>
</file>

<file path=ppt/charts/_rels/chart1.xml.rels><?xml version="1.0" encoding="UTF-8" standalone="yes"?>
<Relationships xmlns="http://schemas.openxmlformats.org/package/2006/relationships"><Relationship Id="rId3" Type="http://schemas.openxmlformats.org/officeDocument/2006/relationships/oleObject" Target="file:///C:\Users\Seinpost\Downloads\Ondernemersenqu&#195;&#170;te-winkelcentrum-de-Hamershof%20(8).xlsx" TargetMode="External"/><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l-NL"/>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680" b="0" i="0" u="none" strike="noStrike" kern="1200" spc="0" baseline="0">
                <a:solidFill>
                  <a:schemeClr val="tx1">
                    <a:lumMod val="65000"/>
                    <a:lumOff val="35000"/>
                  </a:schemeClr>
                </a:solidFill>
                <a:latin typeface="+mj-lt"/>
                <a:ea typeface="+mn-ea"/>
                <a:cs typeface="+mn-cs"/>
              </a:defRPr>
            </a:pPr>
            <a:r>
              <a:rPr lang="nl-NL" b="1"/>
              <a:t>Hoe ziet de toekomst van uw onderneming eruit? </a:t>
            </a:r>
          </a:p>
        </c:rich>
      </c:tx>
      <c:layout>
        <c:manualLayout>
          <c:xMode val="edge"/>
          <c:yMode val="edge"/>
          <c:x val="0.17870709242804295"/>
          <c:y val="3.5801944835295002E-2"/>
        </c:manualLayout>
      </c:layout>
      <c:overlay val="0"/>
      <c:spPr>
        <a:noFill/>
        <a:ln>
          <a:noFill/>
        </a:ln>
        <a:effectLst/>
      </c:spPr>
      <c:txPr>
        <a:bodyPr rot="0" spcFirstLastPara="1" vertOverflow="ellipsis" vert="horz" wrap="square" anchor="ctr" anchorCtr="1"/>
        <a:lstStyle/>
        <a:p>
          <a:pPr>
            <a:defRPr sz="1680" b="0" i="0" u="none" strike="noStrike" kern="1200" spc="0" baseline="0">
              <a:solidFill>
                <a:schemeClr val="tx1">
                  <a:lumMod val="65000"/>
                  <a:lumOff val="35000"/>
                </a:schemeClr>
              </a:solidFill>
              <a:latin typeface="+mj-lt"/>
              <a:ea typeface="+mn-ea"/>
              <a:cs typeface="+mn-cs"/>
            </a:defRPr>
          </a:pPr>
          <a:endParaRPr lang="nl-NL"/>
        </a:p>
      </c:txPr>
    </c:title>
    <c:autoTitleDeleted val="0"/>
    <c:plotArea>
      <c:layout>
        <c:manualLayout>
          <c:layoutTarget val="inner"/>
          <c:xMode val="edge"/>
          <c:yMode val="edge"/>
          <c:x val="0.18035850265906081"/>
          <c:y val="0.21199217675896179"/>
          <c:w val="0.52918692896008146"/>
          <c:h val="0.64144790798685147"/>
        </c:manualLayout>
      </c:layout>
      <c:pieChart>
        <c:varyColors val="1"/>
        <c:ser>
          <c:idx val="0"/>
          <c:order val="0"/>
          <c:dPt>
            <c:idx val="0"/>
            <c:bubble3D val="0"/>
            <c:spPr>
              <a:solidFill>
                <a:schemeClr val="accent3"/>
              </a:solidFill>
              <a:ln w="19050">
                <a:solidFill>
                  <a:schemeClr val="lt1"/>
                </a:solidFill>
              </a:ln>
              <a:effectLst/>
            </c:spPr>
            <c:extLst>
              <c:ext xmlns:c16="http://schemas.microsoft.com/office/drawing/2014/chart" uri="{C3380CC4-5D6E-409C-BE32-E72D297353CC}">
                <c16:uniqueId val="{00000001-8684-4DB3-AEA0-B57B1325537C}"/>
              </c:ext>
            </c:extLst>
          </c:dPt>
          <c:dPt>
            <c:idx val="1"/>
            <c:bubble3D val="0"/>
            <c:spPr>
              <a:solidFill>
                <a:srgbClr val="FFC000"/>
              </a:solidFill>
              <a:ln w="19050">
                <a:solidFill>
                  <a:schemeClr val="lt1"/>
                </a:solidFill>
              </a:ln>
              <a:effectLst/>
            </c:spPr>
            <c:extLst>
              <c:ext xmlns:c16="http://schemas.microsoft.com/office/drawing/2014/chart" uri="{C3380CC4-5D6E-409C-BE32-E72D297353CC}">
                <c16:uniqueId val="{00000003-8684-4DB3-AEA0-B57B1325537C}"/>
              </c:ext>
            </c:extLst>
          </c:dPt>
          <c:dPt>
            <c:idx val="2"/>
            <c:bubble3D val="0"/>
            <c:spPr>
              <a:solidFill>
                <a:schemeClr val="accent4">
                  <a:lumMod val="60000"/>
                  <a:lumOff val="40000"/>
                </a:schemeClr>
              </a:solidFill>
              <a:ln w="19050">
                <a:solidFill>
                  <a:schemeClr val="lt1"/>
                </a:solidFill>
              </a:ln>
              <a:effectLst/>
            </c:spPr>
            <c:extLst>
              <c:ext xmlns:c16="http://schemas.microsoft.com/office/drawing/2014/chart" uri="{C3380CC4-5D6E-409C-BE32-E72D297353CC}">
                <c16:uniqueId val="{00000005-8684-4DB3-AEA0-B57B1325537C}"/>
              </c:ext>
            </c:extLst>
          </c:dPt>
          <c:dLbls>
            <c:spPr>
              <a:noFill/>
              <a:ln>
                <a:noFill/>
              </a:ln>
              <a:effectLst/>
            </c:spPr>
            <c:txPr>
              <a:bodyPr rot="0" spcFirstLastPara="1" vertOverflow="ellipsis" vert="horz" wrap="square" anchor="ctr" anchorCtr="1"/>
              <a:lstStyle/>
              <a:p>
                <a:pPr>
                  <a:defRPr sz="1600" b="0" i="0" u="none" strike="noStrike" kern="1200" baseline="0">
                    <a:solidFill>
                      <a:schemeClr val="tx1">
                        <a:lumMod val="75000"/>
                        <a:lumOff val="25000"/>
                      </a:schemeClr>
                    </a:solidFill>
                    <a:latin typeface="+mj-lt"/>
                    <a:ea typeface="+mn-ea"/>
                    <a:cs typeface="+mn-cs"/>
                  </a:defRPr>
                </a:pPr>
                <a:endParaRPr lang="nl-NL"/>
              </a:p>
            </c:txPr>
            <c:dLblPos val="ct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Blad1!$A$66:$A$68</c:f>
              <c:strCache>
                <c:ptCount val="3"/>
                <c:pt idx="0">
                  <c:v>Tevreden</c:v>
                </c:pt>
                <c:pt idx="1">
                  <c:v>Neutraal</c:v>
                </c:pt>
                <c:pt idx="2">
                  <c:v>Ontevreden</c:v>
                </c:pt>
              </c:strCache>
            </c:strRef>
          </c:cat>
          <c:val>
            <c:numRef>
              <c:f>Blad1!$C$66:$C$68</c:f>
              <c:numCache>
                <c:formatCode>0%</c:formatCode>
                <c:ptCount val="3"/>
                <c:pt idx="0">
                  <c:v>0.66700000000000004</c:v>
                </c:pt>
                <c:pt idx="1">
                  <c:v>0.222</c:v>
                </c:pt>
                <c:pt idx="2">
                  <c:v>0.111</c:v>
                </c:pt>
              </c:numCache>
            </c:numRef>
          </c:val>
          <c:extLst>
            <c:ext xmlns:c16="http://schemas.microsoft.com/office/drawing/2014/chart" uri="{C3380CC4-5D6E-409C-BE32-E72D297353CC}">
              <c16:uniqueId val="{00000006-8684-4DB3-AEA0-B57B1325537C}"/>
            </c:ext>
          </c:extLst>
        </c:ser>
        <c:dLbls>
          <c:dLblPos val="ctr"/>
          <c:showLegendKey val="0"/>
          <c:showVal val="1"/>
          <c:showCatName val="0"/>
          <c:showSerName val="0"/>
          <c:showPercent val="0"/>
          <c:showBubbleSize val="0"/>
          <c:showLeaderLines val="1"/>
        </c:dLbls>
        <c:firstSliceAng val="0"/>
      </c:pieChart>
      <c:spPr>
        <a:noFill/>
        <a:ln>
          <a:noFill/>
        </a:ln>
        <a:effectLst/>
      </c:spPr>
    </c:plotArea>
    <c:legend>
      <c:legendPos val="b"/>
      <c:layout>
        <c:manualLayout>
          <c:xMode val="edge"/>
          <c:yMode val="edge"/>
          <c:x val="0.16741343443874321"/>
          <c:y val="0.88208414576900207"/>
          <c:w val="0.5776818501109019"/>
          <c:h val="6.8677630099556047E-2"/>
        </c:manualLayout>
      </c:layout>
      <c:overlay val="0"/>
      <c:spPr>
        <a:noFill/>
        <a:ln>
          <a:noFill/>
        </a:ln>
        <a:effectLst/>
      </c:spPr>
      <c:txPr>
        <a:bodyPr rot="0" spcFirstLastPara="1" vertOverflow="ellipsis" vert="horz" wrap="square" anchor="ctr" anchorCtr="1"/>
        <a:lstStyle/>
        <a:p>
          <a:pPr>
            <a:defRPr sz="1200" b="0" i="0" u="none" strike="noStrike" kern="1200" baseline="0">
              <a:solidFill>
                <a:schemeClr val="tx1">
                  <a:lumMod val="65000"/>
                  <a:lumOff val="35000"/>
                </a:schemeClr>
              </a:solidFill>
              <a:latin typeface="+mj-lt"/>
              <a:ea typeface="+mn-ea"/>
              <a:cs typeface="+mn-cs"/>
            </a:defRPr>
          </a:pPr>
          <a:endParaRPr lang="nl-NL"/>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latin typeface="+mj-lt"/>
        </a:defRPr>
      </a:pPr>
      <a:endParaRPr lang="nl-NL"/>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omments/comment1.xml><?xml version="1.0" encoding="utf-8"?>
<p:cmLst xmlns:a="http://schemas.openxmlformats.org/drawingml/2006/main" xmlns:r="http://schemas.openxmlformats.org/officeDocument/2006/relationships" xmlns:p="http://schemas.openxmlformats.org/presentationml/2006/main">
  <p:cm authorId="2" dt="2022-04-07T11:00:39.304" idx="6">
    <p:pos x="3195" y="776"/>
    <p:text>Hier wordt de vraag gesteld om dit nog iets breder in te steken. Kan ook een trekker worden in de vorm van EkoPlaza, of Cool Blue afhaallocatie. Als we daar ook plaatjes van laten zien, maken we duidleijker wat de bedoeling is van een trekker, Welke trekker moet nader gespecificeerd worden in de uitwerking. Dus graag nog 2 plaatjes toevoegen.</p:text>
    <p:extLst>
      <p:ext uri="{C676402C-5697-4E1C-873F-D02D1690AC5C}">
        <p15:threadingInfo xmlns:p15="http://schemas.microsoft.com/office/powerpoint/2012/main" timeZoneBias="-120"/>
      </p:ext>
    </p:extLst>
  </p:cm>
</p:cmLst>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jdelijke aanduiding voor koptekst 1"/>
          <p:cNvSpPr>
            <a:spLocks noGrp="1"/>
          </p:cNvSpPr>
          <p:nvPr>
            <p:ph type="hdr" sz="quarter"/>
          </p:nvPr>
        </p:nvSpPr>
        <p:spPr>
          <a:xfrm>
            <a:off x="0" y="0"/>
            <a:ext cx="3015139" cy="502676"/>
          </a:xfrm>
          <a:prstGeom prst="rect">
            <a:avLst/>
          </a:prstGeom>
        </p:spPr>
        <p:txBody>
          <a:bodyPr vert="horz" lIns="97009" tIns="48504" rIns="97009" bIns="48504" rtlCol="0"/>
          <a:lstStyle>
            <a:lvl1pPr algn="l">
              <a:defRPr sz="1300"/>
            </a:lvl1pPr>
          </a:lstStyle>
          <a:p>
            <a:endParaRPr lang="nl-NL"/>
          </a:p>
        </p:txBody>
      </p:sp>
      <p:sp>
        <p:nvSpPr>
          <p:cNvPr id="3" name="Tijdelijke aanduiding voor datum 2"/>
          <p:cNvSpPr>
            <a:spLocks noGrp="1"/>
          </p:cNvSpPr>
          <p:nvPr>
            <p:ph type="dt" idx="1"/>
          </p:nvPr>
        </p:nvSpPr>
        <p:spPr>
          <a:xfrm>
            <a:off x="3941264" y="0"/>
            <a:ext cx="3015139" cy="502676"/>
          </a:xfrm>
          <a:prstGeom prst="rect">
            <a:avLst/>
          </a:prstGeom>
        </p:spPr>
        <p:txBody>
          <a:bodyPr vert="horz" lIns="97009" tIns="48504" rIns="97009" bIns="48504" rtlCol="0"/>
          <a:lstStyle>
            <a:lvl1pPr algn="r">
              <a:defRPr sz="1300"/>
            </a:lvl1pPr>
          </a:lstStyle>
          <a:p>
            <a:fld id="{0D25B862-DD7C-483A-93FA-D15EDBCB3B27}" type="datetimeFigureOut">
              <a:rPr lang="nl-NL" smtClean="0"/>
              <a:t>20-4-2022</a:t>
            </a:fld>
            <a:endParaRPr lang="nl-NL"/>
          </a:p>
        </p:txBody>
      </p:sp>
      <p:sp>
        <p:nvSpPr>
          <p:cNvPr id="4" name="Tijdelijke aanduiding voor dia-afbeelding 3"/>
          <p:cNvSpPr>
            <a:spLocks noGrp="1" noRot="1" noChangeAspect="1"/>
          </p:cNvSpPr>
          <p:nvPr>
            <p:ph type="sldImg" idx="2"/>
          </p:nvPr>
        </p:nvSpPr>
        <p:spPr>
          <a:xfrm>
            <a:off x="474663" y="1252538"/>
            <a:ext cx="6008687" cy="3381375"/>
          </a:xfrm>
          <a:prstGeom prst="rect">
            <a:avLst/>
          </a:prstGeom>
          <a:noFill/>
          <a:ln w="12700">
            <a:solidFill>
              <a:prstClr val="black"/>
            </a:solidFill>
          </a:ln>
        </p:spPr>
        <p:txBody>
          <a:bodyPr vert="horz" lIns="97009" tIns="48504" rIns="97009" bIns="48504" rtlCol="0" anchor="ctr"/>
          <a:lstStyle/>
          <a:p>
            <a:endParaRPr lang="nl-NL"/>
          </a:p>
        </p:txBody>
      </p:sp>
      <p:sp>
        <p:nvSpPr>
          <p:cNvPr id="5" name="Tijdelijke aanduiding voor notities 4"/>
          <p:cNvSpPr>
            <a:spLocks noGrp="1"/>
          </p:cNvSpPr>
          <p:nvPr>
            <p:ph type="body" sz="quarter" idx="3"/>
          </p:nvPr>
        </p:nvSpPr>
        <p:spPr>
          <a:xfrm>
            <a:off x="695802" y="4821506"/>
            <a:ext cx="5566410" cy="3944868"/>
          </a:xfrm>
          <a:prstGeom prst="rect">
            <a:avLst/>
          </a:prstGeom>
        </p:spPr>
        <p:txBody>
          <a:bodyPr vert="horz" lIns="97009" tIns="48504" rIns="97009" bIns="48504" rtlCol="0"/>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6" name="Tijdelijke aanduiding voor voettekst 5"/>
          <p:cNvSpPr>
            <a:spLocks noGrp="1"/>
          </p:cNvSpPr>
          <p:nvPr>
            <p:ph type="ftr" sz="quarter" idx="4"/>
          </p:nvPr>
        </p:nvSpPr>
        <p:spPr>
          <a:xfrm>
            <a:off x="0" y="9516039"/>
            <a:ext cx="3015139" cy="502674"/>
          </a:xfrm>
          <a:prstGeom prst="rect">
            <a:avLst/>
          </a:prstGeom>
        </p:spPr>
        <p:txBody>
          <a:bodyPr vert="horz" lIns="97009" tIns="48504" rIns="97009" bIns="48504" rtlCol="0" anchor="b"/>
          <a:lstStyle>
            <a:lvl1pPr algn="l">
              <a:defRPr sz="1300"/>
            </a:lvl1pPr>
          </a:lstStyle>
          <a:p>
            <a:endParaRPr lang="nl-NL"/>
          </a:p>
        </p:txBody>
      </p:sp>
      <p:sp>
        <p:nvSpPr>
          <p:cNvPr id="7" name="Tijdelijke aanduiding voor dianummer 6"/>
          <p:cNvSpPr>
            <a:spLocks noGrp="1"/>
          </p:cNvSpPr>
          <p:nvPr>
            <p:ph type="sldNum" sz="quarter" idx="5"/>
          </p:nvPr>
        </p:nvSpPr>
        <p:spPr>
          <a:xfrm>
            <a:off x="3941264" y="9516039"/>
            <a:ext cx="3015139" cy="502674"/>
          </a:xfrm>
          <a:prstGeom prst="rect">
            <a:avLst/>
          </a:prstGeom>
        </p:spPr>
        <p:txBody>
          <a:bodyPr vert="horz" lIns="97009" tIns="48504" rIns="97009" bIns="48504" rtlCol="0" anchor="b"/>
          <a:lstStyle>
            <a:lvl1pPr algn="r">
              <a:defRPr sz="1300"/>
            </a:lvl1pPr>
          </a:lstStyle>
          <a:p>
            <a:fld id="{3F88565B-346B-4F14-A107-292239FE127C}" type="slidenum">
              <a:rPr lang="nl-NL" smtClean="0"/>
              <a:t>‹nr.›</a:t>
            </a:fld>
            <a:endParaRPr lang="nl-NL"/>
          </a:p>
        </p:txBody>
      </p:sp>
    </p:spTree>
    <p:extLst>
      <p:ext uri="{BB962C8B-B14F-4D97-AF65-F5344CB8AC3E}">
        <p14:creationId xmlns:p14="http://schemas.microsoft.com/office/powerpoint/2010/main" val="135630501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pPr marL="171450" indent="-171450">
              <a:buFontTx/>
              <a:buChar char="-"/>
            </a:pPr>
            <a:r>
              <a:rPr lang="nl-NL" dirty="0"/>
              <a:t>Kortom, ondernemers zijn vooral tevreden en zouden nogmaals kiezen voor de Hamershof. </a:t>
            </a:r>
          </a:p>
          <a:p>
            <a:pPr marL="171450" indent="-171450">
              <a:buFontTx/>
              <a:buChar char="-"/>
            </a:pPr>
            <a:r>
              <a:rPr lang="nl-NL" dirty="0"/>
              <a:t>Maar er zijn wel verbeterpunten. Van koopcentrum </a:t>
            </a:r>
          </a:p>
        </p:txBody>
      </p:sp>
      <p:sp>
        <p:nvSpPr>
          <p:cNvPr id="4" name="Tijdelijke aanduiding voor dianummer 3"/>
          <p:cNvSpPr>
            <a:spLocks noGrp="1"/>
          </p:cNvSpPr>
          <p:nvPr>
            <p:ph type="sldNum" sz="quarter" idx="5"/>
          </p:nvPr>
        </p:nvSpPr>
        <p:spPr/>
        <p:txBody>
          <a:bodyPr/>
          <a:lstStyle/>
          <a:p>
            <a:fld id="{3F88565B-346B-4F14-A107-292239FE127C}" type="slidenum">
              <a:rPr lang="nl-NL" smtClean="0"/>
              <a:t>8</a:t>
            </a:fld>
            <a:endParaRPr lang="nl-NL"/>
          </a:p>
        </p:txBody>
      </p:sp>
    </p:spTree>
    <p:extLst>
      <p:ext uri="{BB962C8B-B14F-4D97-AF65-F5344CB8AC3E}">
        <p14:creationId xmlns:p14="http://schemas.microsoft.com/office/powerpoint/2010/main" val="236799664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43514128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a:p>
        </p:txBody>
      </p:sp>
      <p:sp>
        <p:nvSpPr>
          <p:cNvPr id="4" name="Tijdelijke aanduiding voor dianummer 3"/>
          <p:cNvSpPr>
            <a:spLocks noGrp="1"/>
          </p:cNvSpPr>
          <p:nvPr>
            <p:ph type="sldNum" sz="quarter" idx="10"/>
          </p:nvPr>
        </p:nvSpPr>
        <p:spPr/>
        <p:txBody>
          <a:bodyPr/>
          <a:lstStyle/>
          <a:p>
            <a:fld id="{5E70ECC3-E94F-4B77-881B-A4677E12D63C}" type="slidenum">
              <a:rPr lang="nl-NL" smtClean="0"/>
              <a:t>24</a:t>
            </a:fld>
            <a:endParaRPr lang="nl-NL"/>
          </a:p>
        </p:txBody>
      </p:sp>
    </p:spTree>
    <p:extLst>
      <p:ext uri="{BB962C8B-B14F-4D97-AF65-F5344CB8AC3E}">
        <p14:creationId xmlns:p14="http://schemas.microsoft.com/office/powerpoint/2010/main" val="333127571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el">
    <p:spTree>
      <p:nvGrpSpPr>
        <p:cNvPr id="1" name=""/>
        <p:cNvGrpSpPr/>
        <p:nvPr/>
      </p:nvGrpSpPr>
      <p:grpSpPr>
        <a:xfrm>
          <a:off x="0" y="0"/>
          <a:ext cx="0" cy="0"/>
          <a:chOff x="0" y="0"/>
          <a:chExt cx="0" cy="0"/>
        </a:xfrm>
      </p:grpSpPr>
      <p:sp>
        <p:nvSpPr>
          <p:cNvPr id="9" name="Rechthoek 8">
            <a:extLst>
              <a:ext uri="{FF2B5EF4-FFF2-40B4-BE49-F238E27FC236}">
                <a16:creationId xmlns:a16="http://schemas.microsoft.com/office/drawing/2014/main" id="{4D758703-B4A6-48B8-AF58-A0ED7A7528F0}"/>
              </a:ext>
            </a:extLst>
          </p:cNvPr>
          <p:cNvSpPr/>
          <p:nvPr userDrawn="1"/>
        </p:nvSpPr>
        <p:spPr>
          <a:xfrm>
            <a:off x="8117457" y="6230983"/>
            <a:ext cx="3913435" cy="53557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420184952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ekst links en rechts met foto plus overlay">
    <p:spTree>
      <p:nvGrpSpPr>
        <p:cNvPr id="1" name=""/>
        <p:cNvGrpSpPr/>
        <p:nvPr/>
      </p:nvGrpSpPr>
      <p:grpSpPr>
        <a:xfrm>
          <a:off x="0" y="0"/>
          <a:ext cx="0" cy="0"/>
          <a:chOff x="0" y="0"/>
          <a:chExt cx="0" cy="0"/>
        </a:xfrm>
      </p:grpSpPr>
      <p:sp>
        <p:nvSpPr>
          <p:cNvPr id="9" name="Rechthoek 8">
            <a:extLst>
              <a:ext uri="{FF2B5EF4-FFF2-40B4-BE49-F238E27FC236}">
                <a16:creationId xmlns:a16="http://schemas.microsoft.com/office/drawing/2014/main" id="{4D758703-B4A6-48B8-AF58-A0ED7A7528F0}"/>
              </a:ext>
            </a:extLst>
          </p:cNvPr>
          <p:cNvSpPr/>
          <p:nvPr userDrawn="1"/>
        </p:nvSpPr>
        <p:spPr>
          <a:xfrm>
            <a:off x="8117457" y="6230983"/>
            <a:ext cx="3913435" cy="53557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348677260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Doelstelling">
    <p:spTree>
      <p:nvGrpSpPr>
        <p:cNvPr id="1" name=""/>
        <p:cNvGrpSpPr/>
        <p:nvPr/>
      </p:nvGrpSpPr>
      <p:grpSpPr>
        <a:xfrm>
          <a:off x="0" y="0"/>
          <a:ext cx="0" cy="0"/>
          <a:chOff x="0" y="0"/>
          <a:chExt cx="0" cy="0"/>
        </a:xfrm>
      </p:grpSpPr>
      <p:sp>
        <p:nvSpPr>
          <p:cNvPr id="9" name="Rechthoek 8">
            <a:extLst>
              <a:ext uri="{FF2B5EF4-FFF2-40B4-BE49-F238E27FC236}">
                <a16:creationId xmlns:a16="http://schemas.microsoft.com/office/drawing/2014/main" id="{4D758703-B4A6-48B8-AF58-A0ED7A7528F0}"/>
              </a:ext>
            </a:extLst>
          </p:cNvPr>
          <p:cNvSpPr/>
          <p:nvPr userDrawn="1"/>
        </p:nvSpPr>
        <p:spPr>
          <a:xfrm>
            <a:off x="8117457" y="6230983"/>
            <a:ext cx="3913435" cy="53557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220881966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jdspad en stappenplan">
    <p:spTree>
      <p:nvGrpSpPr>
        <p:cNvPr id="1" name=""/>
        <p:cNvGrpSpPr/>
        <p:nvPr/>
      </p:nvGrpSpPr>
      <p:grpSpPr>
        <a:xfrm>
          <a:off x="0" y="0"/>
          <a:ext cx="0" cy="0"/>
          <a:chOff x="0" y="0"/>
          <a:chExt cx="0" cy="0"/>
        </a:xfrm>
      </p:grpSpPr>
      <p:sp>
        <p:nvSpPr>
          <p:cNvPr id="9" name="Rechthoek 8">
            <a:extLst>
              <a:ext uri="{FF2B5EF4-FFF2-40B4-BE49-F238E27FC236}">
                <a16:creationId xmlns:a16="http://schemas.microsoft.com/office/drawing/2014/main" id="{4D758703-B4A6-48B8-AF58-A0ED7A7528F0}"/>
              </a:ext>
            </a:extLst>
          </p:cNvPr>
          <p:cNvSpPr/>
          <p:nvPr userDrawn="1"/>
        </p:nvSpPr>
        <p:spPr>
          <a:xfrm>
            <a:off x="8117457" y="6230983"/>
            <a:ext cx="3913435" cy="53557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229067256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Foto links tekst rechts">
    <p:spTree>
      <p:nvGrpSpPr>
        <p:cNvPr id="1" name=""/>
        <p:cNvGrpSpPr/>
        <p:nvPr/>
      </p:nvGrpSpPr>
      <p:grpSpPr>
        <a:xfrm>
          <a:off x="0" y="0"/>
          <a:ext cx="0" cy="0"/>
          <a:chOff x="0" y="0"/>
          <a:chExt cx="0" cy="0"/>
        </a:xfrm>
      </p:grpSpPr>
      <p:sp>
        <p:nvSpPr>
          <p:cNvPr id="9" name="Rechthoek 8">
            <a:extLst>
              <a:ext uri="{FF2B5EF4-FFF2-40B4-BE49-F238E27FC236}">
                <a16:creationId xmlns:a16="http://schemas.microsoft.com/office/drawing/2014/main" id="{4D758703-B4A6-48B8-AF58-A0ED7A7528F0}"/>
              </a:ext>
            </a:extLst>
          </p:cNvPr>
          <p:cNvSpPr/>
          <p:nvPr userDrawn="1"/>
        </p:nvSpPr>
        <p:spPr>
          <a:xfrm>
            <a:off x="8117457" y="6230983"/>
            <a:ext cx="3913435" cy="53557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98564479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Fotos links, 1 kolom tekst rechts">
    <p:spTree>
      <p:nvGrpSpPr>
        <p:cNvPr id="1" name=""/>
        <p:cNvGrpSpPr/>
        <p:nvPr/>
      </p:nvGrpSpPr>
      <p:grpSpPr>
        <a:xfrm>
          <a:off x="0" y="0"/>
          <a:ext cx="0" cy="0"/>
          <a:chOff x="0" y="0"/>
          <a:chExt cx="0" cy="0"/>
        </a:xfrm>
      </p:grpSpPr>
      <p:sp>
        <p:nvSpPr>
          <p:cNvPr id="9" name="Rechthoek 8">
            <a:extLst>
              <a:ext uri="{FF2B5EF4-FFF2-40B4-BE49-F238E27FC236}">
                <a16:creationId xmlns:a16="http://schemas.microsoft.com/office/drawing/2014/main" id="{4D758703-B4A6-48B8-AF58-A0ED7A7528F0}"/>
              </a:ext>
            </a:extLst>
          </p:cNvPr>
          <p:cNvSpPr/>
          <p:nvPr userDrawn="1"/>
        </p:nvSpPr>
        <p:spPr>
          <a:xfrm>
            <a:off x="8117457" y="6230983"/>
            <a:ext cx="3913435" cy="53557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174518297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2 kolommen tekst boven, fotos onder">
    <p:spTree>
      <p:nvGrpSpPr>
        <p:cNvPr id="1" name=""/>
        <p:cNvGrpSpPr/>
        <p:nvPr/>
      </p:nvGrpSpPr>
      <p:grpSpPr>
        <a:xfrm>
          <a:off x="0" y="0"/>
          <a:ext cx="0" cy="0"/>
          <a:chOff x="0" y="0"/>
          <a:chExt cx="0" cy="0"/>
        </a:xfrm>
      </p:grpSpPr>
      <p:sp>
        <p:nvSpPr>
          <p:cNvPr id="9" name="Rechthoek 8">
            <a:extLst>
              <a:ext uri="{FF2B5EF4-FFF2-40B4-BE49-F238E27FC236}">
                <a16:creationId xmlns:a16="http://schemas.microsoft.com/office/drawing/2014/main" id="{4D758703-B4A6-48B8-AF58-A0ED7A7528F0}"/>
              </a:ext>
            </a:extLst>
          </p:cNvPr>
          <p:cNvSpPr/>
          <p:nvPr userDrawn="1"/>
        </p:nvSpPr>
        <p:spPr>
          <a:xfrm>
            <a:off x="8117457" y="6230983"/>
            <a:ext cx="3913435" cy="53557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368825503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Hoofdstuk">
    <p:spTree>
      <p:nvGrpSpPr>
        <p:cNvPr id="1" name=""/>
        <p:cNvGrpSpPr/>
        <p:nvPr/>
      </p:nvGrpSpPr>
      <p:grpSpPr>
        <a:xfrm>
          <a:off x="0" y="0"/>
          <a:ext cx="0" cy="0"/>
          <a:chOff x="0" y="0"/>
          <a:chExt cx="0" cy="0"/>
        </a:xfrm>
      </p:grpSpPr>
      <p:sp>
        <p:nvSpPr>
          <p:cNvPr id="9" name="Rechthoek 8">
            <a:extLst>
              <a:ext uri="{FF2B5EF4-FFF2-40B4-BE49-F238E27FC236}">
                <a16:creationId xmlns:a16="http://schemas.microsoft.com/office/drawing/2014/main" id="{4D758703-B4A6-48B8-AF58-A0ED7A7528F0}"/>
              </a:ext>
            </a:extLst>
          </p:cNvPr>
          <p:cNvSpPr/>
          <p:nvPr userDrawn="1"/>
        </p:nvSpPr>
        <p:spPr>
          <a:xfrm>
            <a:off x="8117457" y="6230983"/>
            <a:ext cx="3913435" cy="53557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216979804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abellen en grafieken">
    <p:spTree>
      <p:nvGrpSpPr>
        <p:cNvPr id="1" name=""/>
        <p:cNvGrpSpPr/>
        <p:nvPr/>
      </p:nvGrpSpPr>
      <p:grpSpPr>
        <a:xfrm>
          <a:off x="0" y="0"/>
          <a:ext cx="0" cy="0"/>
          <a:chOff x="0" y="0"/>
          <a:chExt cx="0" cy="0"/>
        </a:xfrm>
      </p:grpSpPr>
      <p:sp>
        <p:nvSpPr>
          <p:cNvPr id="9" name="Rechthoek 8">
            <a:extLst>
              <a:ext uri="{FF2B5EF4-FFF2-40B4-BE49-F238E27FC236}">
                <a16:creationId xmlns:a16="http://schemas.microsoft.com/office/drawing/2014/main" id="{4D758703-B4A6-48B8-AF58-A0ED7A7528F0}"/>
              </a:ext>
            </a:extLst>
          </p:cNvPr>
          <p:cNvSpPr/>
          <p:nvPr userDrawn="1"/>
        </p:nvSpPr>
        <p:spPr>
          <a:xfrm>
            <a:off x="8117457" y="6230983"/>
            <a:ext cx="3913435" cy="53557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69573578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Lege slide">
    <p:spTree>
      <p:nvGrpSpPr>
        <p:cNvPr id="1" name=""/>
        <p:cNvGrpSpPr/>
        <p:nvPr/>
      </p:nvGrpSpPr>
      <p:grpSpPr>
        <a:xfrm>
          <a:off x="0" y="0"/>
          <a:ext cx="0" cy="0"/>
          <a:chOff x="0" y="0"/>
          <a:chExt cx="0" cy="0"/>
        </a:xfrm>
      </p:grpSpPr>
      <p:sp>
        <p:nvSpPr>
          <p:cNvPr id="9" name="Rechthoek 8">
            <a:extLst>
              <a:ext uri="{FF2B5EF4-FFF2-40B4-BE49-F238E27FC236}">
                <a16:creationId xmlns:a16="http://schemas.microsoft.com/office/drawing/2014/main" id="{4D758703-B4A6-48B8-AF58-A0ED7A7528F0}"/>
              </a:ext>
            </a:extLst>
          </p:cNvPr>
          <p:cNvSpPr/>
          <p:nvPr userDrawn="1"/>
        </p:nvSpPr>
        <p:spPr>
          <a:xfrm>
            <a:off x="8117457" y="6230983"/>
            <a:ext cx="3913435" cy="53557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362096957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V">
    <p:spTree>
      <p:nvGrpSpPr>
        <p:cNvPr id="1" name=""/>
        <p:cNvGrpSpPr/>
        <p:nvPr/>
      </p:nvGrpSpPr>
      <p:grpSpPr>
        <a:xfrm>
          <a:off x="0" y="0"/>
          <a:ext cx="0" cy="0"/>
          <a:chOff x="0" y="0"/>
          <a:chExt cx="0" cy="0"/>
        </a:xfrm>
      </p:grpSpPr>
      <p:sp>
        <p:nvSpPr>
          <p:cNvPr id="9" name="Rechthoek 8">
            <a:extLst>
              <a:ext uri="{FF2B5EF4-FFF2-40B4-BE49-F238E27FC236}">
                <a16:creationId xmlns:a16="http://schemas.microsoft.com/office/drawing/2014/main" id="{4D758703-B4A6-48B8-AF58-A0ED7A7528F0}"/>
              </a:ext>
            </a:extLst>
          </p:cNvPr>
          <p:cNvSpPr/>
          <p:nvPr userDrawn="1"/>
        </p:nvSpPr>
        <p:spPr>
          <a:xfrm>
            <a:off x="8117457" y="6230983"/>
            <a:ext cx="3913435" cy="53557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129395216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Inhoudsopgave links">
    <p:spTree>
      <p:nvGrpSpPr>
        <p:cNvPr id="1" name=""/>
        <p:cNvGrpSpPr/>
        <p:nvPr/>
      </p:nvGrpSpPr>
      <p:grpSpPr>
        <a:xfrm>
          <a:off x="0" y="0"/>
          <a:ext cx="0" cy="0"/>
          <a:chOff x="0" y="0"/>
          <a:chExt cx="0" cy="0"/>
        </a:xfrm>
      </p:grpSpPr>
      <p:sp>
        <p:nvSpPr>
          <p:cNvPr id="9" name="Rechthoek 8">
            <a:extLst>
              <a:ext uri="{FF2B5EF4-FFF2-40B4-BE49-F238E27FC236}">
                <a16:creationId xmlns:a16="http://schemas.microsoft.com/office/drawing/2014/main" id="{4D758703-B4A6-48B8-AF58-A0ED7A7528F0}"/>
              </a:ext>
            </a:extLst>
          </p:cNvPr>
          <p:cNvSpPr/>
          <p:nvPr userDrawn="1"/>
        </p:nvSpPr>
        <p:spPr>
          <a:xfrm>
            <a:off x="8117457" y="6230983"/>
            <a:ext cx="3913435" cy="53557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181141417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Kwadranten">
    <p:spTree>
      <p:nvGrpSpPr>
        <p:cNvPr id="1" name=""/>
        <p:cNvGrpSpPr/>
        <p:nvPr/>
      </p:nvGrpSpPr>
      <p:grpSpPr>
        <a:xfrm>
          <a:off x="0" y="0"/>
          <a:ext cx="0" cy="0"/>
          <a:chOff x="0" y="0"/>
          <a:chExt cx="0" cy="0"/>
        </a:xfrm>
      </p:grpSpPr>
      <p:sp>
        <p:nvSpPr>
          <p:cNvPr id="9" name="Rechthoek 8">
            <a:extLst>
              <a:ext uri="{FF2B5EF4-FFF2-40B4-BE49-F238E27FC236}">
                <a16:creationId xmlns:a16="http://schemas.microsoft.com/office/drawing/2014/main" id="{4D758703-B4A6-48B8-AF58-A0ED7A7528F0}"/>
              </a:ext>
            </a:extLst>
          </p:cNvPr>
          <p:cNvSpPr/>
          <p:nvPr userDrawn="1"/>
        </p:nvSpPr>
        <p:spPr>
          <a:xfrm>
            <a:off x="8117457" y="6230983"/>
            <a:ext cx="3913435" cy="53557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 name="Rechthoek 3">
            <a:extLst>
              <a:ext uri="{FF2B5EF4-FFF2-40B4-BE49-F238E27FC236}">
                <a16:creationId xmlns:a16="http://schemas.microsoft.com/office/drawing/2014/main" id="{46DD0540-23BC-4502-99B2-3459595F1D7F}"/>
              </a:ext>
            </a:extLst>
          </p:cNvPr>
          <p:cNvSpPr/>
          <p:nvPr userDrawn="1"/>
        </p:nvSpPr>
        <p:spPr>
          <a:xfrm>
            <a:off x="0" y="1"/>
            <a:ext cx="6096000" cy="3429000"/>
          </a:xfrm>
          <a:prstGeom prst="rect">
            <a:avLst/>
          </a:prstGeom>
          <a:solidFill>
            <a:srgbClr val="65B2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6" name="Rechthoek 5">
            <a:extLst>
              <a:ext uri="{FF2B5EF4-FFF2-40B4-BE49-F238E27FC236}">
                <a16:creationId xmlns:a16="http://schemas.microsoft.com/office/drawing/2014/main" id="{34B334F9-4F56-43D8-8121-42715DFB2014}"/>
              </a:ext>
            </a:extLst>
          </p:cNvPr>
          <p:cNvSpPr/>
          <p:nvPr userDrawn="1"/>
        </p:nvSpPr>
        <p:spPr>
          <a:xfrm>
            <a:off x="0" y="3429000"/>
            <a:ext cx="6096000" cy="3429000"/>
          </a:xfrm>
          <a:prstGeom prst="rect">
            <a:avLst/>
          </a:prstGeom>
          <a:solidFill>
            <a:srgbClr val="90D5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7" name="Rechthoek 6">
            <a:extLst>
              <a:ext uri="{FF2B5EF4-FFF2-40B4-BE49-F238E27FC236}">
                <a16:creationId xmlns:a16="http://schemas.microsoft.com/office/drawing/2014/main" id="{1033B6C7-F2D3-4ED9-8E00-3041AB197F32}"/>
              </a:ext>
            </a:extLst>
          </p:cNvPr>
          <p:cNvSpPr/>
          <p:nvPr userDrawn="1"/>
        </p:nvSpPr>
        <p:spPr>
          <a:xfrm>
            <a:off x="6096000" y="3429000"/>
            <a:ext cx="6096000" cy="3429000"/>
          </a:xfrm>
          <a:prstGeom prst="rect">
            <a:avLst/>
          </a:prstGeom>
          <a:solidFill>
            <a:srgbClr val="FF44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8" name="Rechthoek 7">
            <a:extLst>
              <a:ext uri="{FF2B5EF4-FFF2-40B4-BE49-F238E27FC236}">
                <a16:creationId xmlns:a16="http://schemas.microsoft.com/office/drawing/2014/main" id="{3EDF4691-42AD-4347-9247-945CBB33F039}"/>
              </a:ext>
            </a:extLst>
          </p:cNvPr>
          <p:cNvSpPr/>
          <p:nvPr userDrawn="1"/>
        </p:nvSpPr>
        <p:spPr>
          <a:xfrm>
            <a:off x="6096000" y="0"/>
            <a:ext cx="6096000" cy="3429000"/>
          </a:xfrm>
          <a:prstGeom prst="rect">
            <a:avLst/>
          </a:prstGeom>
          <a:solidFill>
            <a:srgbClr val="FAB30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Tree>
    <p:extLst>
      <p:ext uri="{BB962C8B-B14F-4D97-AF65-F5344CB8AC3E}">
        <p14:creationId xmlns:p14="http://schemas.microsoft.com/office/powerpoint/2010/main" val="292823321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Aquarium">
    <p:spTree>
      <p:nvGrpSpPr>
        <p:cNvPr id="1" name=""/>
        <p:cNvGrpSpPr/>
        <p:nvPr/>
      </p:nvGrpSpPr>
      <p:grpSpPr>
        <a:xfrm>
          <a:off x="0" y="0"/>
          <a:ext cx="0" cy="0"/>
          <a:chOff x="0" y="0"/>
          <a:chExt cx="0" cy="0"/>
        </a:xfrm>
      </p:grpSpPr>
      <p:sp>
        <p:nvSpPr>
          <p:cNvPr id="9" name="Rechthoek 8">
            <a:extLst>
              <a:ext uri="{FF2B5EF4-FFF2-40B4-BE49-F238E27FC236}">
                <a16:creationId xmlns:a16="http://schemas.microsoft.com/office/drawing/2014/main" id="{4D758703-B4A6-48B8-AF58-A0ED7A7528F0}"/>
              </a:ext>
            </a:extLst>
          </p:cNvPr>
          <p:cNvSpPr/>
          <p:nvPr userDrawn="1"/>
        </p:nvSpPr>
        <p:spPr>
          <a:xfrm>
            <a:off x="8117457" y="6230983"/>
            <a:ext cx="3913435" cy="53557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327180357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Samenvatting">
    <p:spTree>
      <p:nvGrpSpPr>
        <p:cNvPr id="1" name=""/>
        <p:cNvGrpSpPr/>
        <p:nvPr/>
      </p:nvGrpSpPr>
      <p:grpSpPr>
        <a:xfrm>
          <a:off x="0" y="0"/>
          <a:ext cx="0" cy="0"/>
          <a:chOff x="0" y="0"/>
          <a:chExt cx="0" cy="0"/>
        </a:xfrm>
      </p:grpSpPr>
      <p:sp>
        <p:nvSpPr>
          <p:cNvPr id="9" name="Rechthoek 8">
            <a:extLst>
              <a:ext uri="{FF2B5EF4-FFF2-40B4-BE49-F238E27FC236}">
                <a16:creationId xmlns:a16="http://schemas.microsoft.com/office/drawing/2014/main" id="{4D758703-B4A6-48B8-AF58-A0ED7A7528F0}"/>
              </a:ext>
            </a:extLst>
          </p:cNvPr>
          <p:cNvSpPr/>
          <p:nvPr userDrawn="1"/>
        </p:nvSpPr>
        <p:spPr>
          <a:xfrm>
            <a:off x="8117457" y="6230983"/>
            <a:ext cx="3913435" cy="53557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166506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Afsluiting">
    <p:spTree>
      <p:nvGrpSpPr>
        <p:cNvPr id="1" name=""/>
        <p:cNvGrpSpPr/>
        <p:nvPr/>
      </p:nvGrpSpPr>
      <p:grpSpPr>
        <a:xfrm>
          <a:off x="0" y="0"/>
          <a:ext cx="0" cy="0"/>
          <a:chOff x="0" y="0"/>
          <a:chExt cx="0" cy="0"/>
        </a:xfrm>
      </p:grpSpPr>
      <p:sp>
        <p:nvSpPr>
          <p:cNvPr id="9" name="Rechthoek 8">
            <a:extLst>
              <a:ext uri="{FF2B5EF4-FFF2-40B4-BE49-F238E27FC236}">
                <a16:creationId xmlns:a16="http://schemas.microsoft.com/office/drawing/2014/main" id="{4D758703-B4A6-48B8-AF58-A0ED7A7528F0}"/>
              </a:ext>
            </a:extLst>
          </p:cNvPr>
          <p:cNvSpPr/>
          <p:nvPr userDrawn="1"/>
        </p:nvSpPr>
        <p:spPr>
          <a:xfrm>
            <a:off x="8117457" y="6230983"/>
            <a:ext cx="3913435" cy="53557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374036038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Fotos6">
    <p:spTree>
      <p:nvGrpSpPr>
        <p:cNvPr id="1" name=""/>
        <p:cNvGrpSpPr/>
        <p:nvPr/>
      </p:nvGrpSpPr>
      <p:grpSpPr>
        <a:xfrm>
          <a:off x="0" y="0"/>
          <a:ext cx="0" cy="0"/>
          <a:chOff x="0" y="0"/>
          <a:chExt cx="0" cy="0"/>
        </a:xfrm>
      </p:grpSpPr>
      <p:sp>
        <p:nvSpPr>
          <p:cNvPr id="9" name="Rechthoek 8">
            <a:extLst>
              <a:ext uri="{FF2B5EF4-FFF2-40B4-BE49-F238E27FC236}">
                <a16:creationId xmlns:a16="http://schemas.microsoft.com/office/drawing/2014/main" id="{4D758703-B4A6-48B8-AF58-A0ED7A7528F0}"/>
              </a:ext>
            </a:extLst>
          </p:cNvPr>
          <p:cNvSpPr/>
          <p:nvPr userDrawn="1"/>
        </p:nvSpPr>
        <p:spPr>
          <a:xfrm>
            <a:off x="8117457" y="6230983"/>
            <a:ext cx="3913435" cy="53557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289331050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Hoofdstuk foto rechts">
    <p:spTree>
      <p:nvGrpSpPr>
        <p:cNvPr id="1" name=""/>
        <p:cNvGrpSpPr/>
        <p:nvPr/>
      </p:nvGrpSpPr>
      <p:grpSpPr>
        <a:xfrm>
          <a:off x="0" y="0"/>
          <a:ext cx="0" cy="0"/>
          <a:chOff x="0" y="0"/>
          <a:chExt cx="0" cy="0"/>
        </a:xfrm>
      </p:grpSpPr>
      <p:sp>
        <p:nvSpPr>
          <p:cNvPr id="9" name="Rechthoek 8">
            <a:extLst>
              <a:ext uri="{FF2B5EF4-FFF2-40B4-BE49-F238E27FC236}">
                <a16:creationId xmlns:a16="http://schemas.microsoft.com/office/drawing/2014/main" id="{4D758703-B4A6-48B8-AF58-A0ED7A7528F0}"/>
              </a:ext>
            </a:extLst>
          </p:cNvPr>
          <p:cNvSpPr/>
          <p:nvPr userDrawn="1"/>
        </p:nvSpPr>
        <p:spPr>
          <a:xfrm>
            <a:off x="8117457" y="6230983"/>
            <a:ext cx="3913435" cy="53557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229308838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Hoofdstuk foto links">
    <p:spTree>
      <p:nvGrpSpPr>
        <p:cNvPr id="1" name=""/>
        <p:cNvGrpSpPr/>
        <p:nvPr/>
      </p:nvGrpSpPr>
      <p:grpSpPr>
        <a:xfrm>
          <a:off x="0" y="0"/>
          <a:ext cx="0" cy="0"/>
          <a:chOff x="0" y="0"/>
          <a:chExt cx="0" cy="0"/>
        </a:xfrm>
      </p:grpSpPr>
      <p:sp>
        <p:nvSpPr>
          <p:cNvPr id="9" name="Rechthoek 8">
            <a:extLst>
              <a:ext uri="{FF2B5EF4-FFF2-40B4-BE49-F238E27FC236}">
                <a16:creationId xmlns:a16="http://schemas.microsoft.com/office/drawing/2014/main" id="{4D758703-B4A6-48B8-AF58-A0ED7A7528F0}"/>
              </a:ext>
            </a:extLst>
          </p:cNvPr>
          <p:cNvSpPr/>
          <p:nvPr userDrawn="1"/>
        </p:nvSpPr>
        <p:spPr>
          <a:xfrm>
            <a:off x="8117457" y="6230983"/>
            <a:ext cx="3913435" cy="53557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190770251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ubkop met twee kolommen links">
    <p:spTree>
      <p:nvGrpSpPr>
        <p:cNvPr id="1" name=""/>
        <p:cNvGrpSpPr/>
        <p:nvPr/>
      </p:nvGrpSpPr>
      <p:grpSpPr>
        <a:xfrm>
          <a:off x="0" y="0"/>
          <a:ext cx="0" cy="0"/>
          <a:chOff x="0" y="0"/>
          <a:chExt cx="0" cy="0"/>
        </a:xfrm>
      </p:grpSpPr>
    </p:spTree>
    <p:extLst>
      <p:ext uri="{BB962C8B-B14F-4D97-AF65-F5344CB8AC3E}">
        <p14:creationId xmlns:p14="http://schemas.microsoft.com/office/powerpoint/2010/main" val="80769391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ubkop met 1 kolom links">
    <p:spTree>
      <p:nvGrpSpPr>
        <p:cNvPr id="1" name=""/>
        <p:cNvGrpSpPr/>
        <p:nvPr/>
      </p:nvGrpSpPr>
      <p:grpSpPr>
        <a:xfrm>
          <a:off x="0" y="0"/>
          <a:ext cx="0" cy="0"/>
          <a:chOff x="0" y="0"/>
          <a:chExt cx="0" cy="0"/>
        </a:xfrm>
      </p:grpSpPr>
      <p:sp>
        <p:nvSpPr>
          <p:cNvPr id="9" name="Rechthoek 8">
            <a:extLst>
              <a:ext uri="{FF2B5EF4-FFF2-40B4-BE49-F238E27FC236}">
                <a16:creationId xmlns:a16="http://schemas.microsoft.com/office/drawing/2014/main" id="{4D758703-B4A6-48B8-AF58-A0ED7A7528F0}"/>
              </a:ext>
            </a:extLst>
          </p:cNvPr>
          <p:cNvSpPr/>
          <p:nvPr userDrawn="1"/>
        </p:nvSpPr>
        <p:spPr>
          <a:xfrm>
            <a:off x="8117457" y="6230983"/>
            <a:ext cx="3913435" cy="53557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217280819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ekst 2 kolommen foto rechts">
    <p:spTree>
      <p:nvGrpSpPr>
        <p:cNvPr id="1" name=""/>
        <p:cNvGrpSpPr/>
        <p:nvPr/>
      </p:nvGrpSpPr>
      <p:grpSpPr>
        <a:xfrm>
          <a:off x="0" y="0"/>
          <a:ext cx="0" cy="0"/>
          <a:chOff x="0" y="0"/>
          <a:chExt cx="0" cy="0"/>
        </a:xfrm>
      </p:grpSpPr>
      <p:sp>
        <p:nvSpPr>
          <p:cNvPr id="9" name="Rechthoek 8">
            <a:extLst>
              <a:ext uri="{FF2B5EF4-FFF2-40B4-BE49-F238E27FC236}">
                <a16:creationId xmlns:a16="http://schemas.microsoft.com/office/drawing/2014/main" id="{4D758703-B4A6-48B8-AF58-A0ED7A7528F0}"/>
              </a:ext>
            </a:extLst>
          </p:cNvPr>
          <p:cNvSpPr/>
          <p:nvPr userDrawn="1"/>
        </p:nvSpPr>
        <p:spPr>
          <a:xfrm>
            <a:off x="8117457" y="6230983"/>
            <a:ext cx="3913435" cy="53557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71580540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ekst met 1 kolom foto rechts">
    <p:spTree>
      <p:nvGrpSpPr>
        <p:cNvPr id="1" name=""/>
        <p:cNvGrpSpPr/>
        <p:nvPr/>
      </p:nvGrpSpPr>
      <p:grpSpPr>
        <a:xfrm>
          <a:off x="0" y="0"/>
          <a:ext cx="0" cy="0"/>
          <a:chOff x="0" y="0"/>
          <a:chExt cx="0" cy="0"/>
        </a:xfrm>
      </p:grpSpPr>
      <p:sp>
        <p:nvSpPr>
          <p:cNvPr id="9" name="Rechthoek 8">
            <a:extLst>
              <a:ext uri="{FF2B5EF4-FFF2-40B4-BE49-F238E27FC236}">
                <a16:creationId xmlns:a16="http://schemas.microsoft.com/office/drawing/2014/main" id="{4D758703-B4A6-48B8-AF58-A0ED7A7528F0}"/>
              </a:ext>
            </a:extLst>
          </p:cNvPr>
          <p:cNvSpPr/>
          <p:nvPr userDrawn="1"/>
        </p:nvSpPr>
        <p:spPr>
          <a:xfrm>
            <a:off x="8117457" y="6230983"/>
            <a:ext cx="3913435" cy="53557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393798026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Deel slide">
    <p:spTree>
      <p:nvGrpSpPr>
        <p:cNvPr id="1" name=""/>
        <p:cNvGrpSpPr/>
        <p:nvPr/>
      </p:nvGrpSpPr>
      <p:grpSpPr>
        <a:xfrm>
          <a:off x="0" y="0"/>
          <a:ext cx="0" cy="0"/>
          <a:chOff x="0" y="0"/>
          <a:chExt cx="0" cy="0"/>
        </a:xfrm>
      </p:grpSpPr>
      <p:sp>
        <p:nvSpPr>
          <p:cNvPr id="9" name="Rechthoek 8">
            <a:extLst>
              <a:ext uri="{FF2B5EF4-FFF2-40B4-BE49-F238E27FC236}">
                <a16:creationId xmlns:a16="http://schemas.microsoft.com/office/drawing/2014/main" id="{4D758703-B4A6-48B8-AF58-A0ED7A7528F0}"/>
              </a:ext>
            </a:extLst>
          </p:cNvPr>
          <p:cNvSpPr/>
          <p:nvPr userDrawn="1"/>
        </p:nvSpPr>
        <p:spPr>
          <a:xfrm>
            <a:off x="8117457" y="6230983"/>
            <a:ext cx="3913435" cy="53557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87697211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image" Target="../media/image1.png"/><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image" Target="../media/image3.png"/><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8" name="Afbeelding 7">
            <a:extLst>
              <a:ext uri="{FF2B5EF4-FFF2-40B4-BE49-F238E27FC236}">
                <a16:creationId xmlns:a16="http://schemas.microsoft.com/office/drawing/2014/main" id="{DF44F80D-6ABC-4D8D-AFBD-3D38CAD66620}"/>
              </a:ext>
            </a:extLst>
          </p:cNvPr>
          <p:cNvPicPr>
            <a:picLocks noChangeAspect="1"/>
          </p:cNvPicPr>
          <p:nvPr userDrawn="1"/>
        </p:nvPicPr>
        <p:blipFill>
          <a:blip r:embed="rId26" cstate="hqprint">
            <a:extLst>
              <a:ext uri="{28A0092B-C50C-407E-A947-70E740481C1C}">
                <a14:useLocalDpi xmlns:a14="http://schemas.microsoft.com/office/drawing/2010/main" val="0"/>
              </a:ext>
            </a:extLst>
          </a:blip>
          <a:stretch>
            <a:fillRect/>
          </a:stretch>
        </p:blipFill>
        <p:spPr>
          <a:xfrm>
            <a:off x="9982800" y="6408000"/>
            <a:ext cx="792482" cy="272797"/>
          </a:xfrm>
          <a:prstGeom prst="rect">
            <a:avLst/>
          </a:prstGeom>
        </p:spPr>
      </p:pic>
      <p:pic>
        <p:nvPicPr>
          <p:cNvPr id="9" name="Afbeelding 8">
            <a:extLst>
              <a:ext uri="{FF2B5EF4-FFF2-40B4-BE49-F238E27FC236}">
                <a16:creationId xmlns:a16="http://schemas.microsoft.com/office/drawing/2014/main" id="{2A9E40B6-8BCD-4A0B-BC0C-A20E73120304}"/>
              </a:ext>
            </a:extLst>
          </p:cNvPr>
          <p:cNvPicPr>
            <a:picLocks/>
          </p:cNvPicPr>
          <p:nvPr userDrawn="1"/>
        </p:nvPicPr>
        <p:blipFill>
          <a:blip r:embed="rId27"/>
          <a:stretch>
            <a:fillRect/>
          </a:stretch>
        </p:blipFill>
        <p:spPr>
          <a:xfrm flipH="1">
            <a:off x="10927595" y="6408001"/>
            <a:ext cx="21600" cy="241200"/>
          </a:xfrm>
          <a:prstGeom prst="rect">
            <a:avLst/>
          </a:prstGeom>
        </p:spPr>
      </p:pic>
      <p:pic>
        <p:nvPicPr>
          <p:cNvPr id="4" name="Logo">
            <a:extLst>
              <a:ext uri="{FF2B5EF4-FFF2-40B4-BE49-F238E27FC236}">
                <a16:creationId xmlns:a16="http://schemas.microsoft.com/office/drawing/2014/main" id="{922F5C0F-9B3D-4677-B124-90498F4A68B8}"/>
              </a:ext>
            </a:extLst>
          </p:cNvPr>
          <p:cNvPicPr>
            <a:picLocks noChangeAspect="1"/>
          </p:cNvPicPr>
          <p:nvPr userDrawn="1"/>
        </p:nvPicPr>
        <p:blipFill>
          <a:blip r:embed="rId28">
            <a:extLst>
              <a:ext uri="{28A0092B-C50C-407E-A947-70E740481C1C}">
                <a14:useLocalDpi xmlns:a14="http://schemas.microsoft.com/office/drawing/2010/main" val="0"/>
              </a:ext>
            </a:extLst>
          </a:blip>
          <a:stretch>
            <a:fillRect/>
          </a:stretch>
        </p:blipFill>
        <p:spPr>
          <a:xfrm>
            <a:off x="9418868" y="6270850"/>
            <a:ext cx="1547407" cy="456912"/>
          </a:xfrm>
          <a:prstGeom prst="rect">
            <a:avLst/>
          </a:prstGeom>
        </p:spPr>
      </p:pic>
    </p:spTree>
    <p:extLst>
      <p:ext uri="{BB962C8B-B14F-4D97-AF65-F5344CB8AC3E}">
        <p14:creationId xmlns:p14="http://schemas.microsoft.com/office/powerpoint/2010/main" val="1358586874"/>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9" r:id="rId10"/>
    <p:sldLayoutId id="2147483660" r:id="rId11"/>
    <p:sldLayoutId id="2147483661" r:id="rId12"/>
    <p:sldLayoutId id="2147483662" r:id="rId13"/>
    <p:sldLayoutId id="2147483663" r:id="rId14"/>
    <p:sldLayoutId id="2147483664" r:id="rId15"/>
    <p:sldLayoutId id="2147483666" r:id="rId16"/>
    <p:sldLayoutId id="2147483667" r:id="rId17"/>
    <p:sldLayoutId id="2147483668" r:id="rId18"/>
    <p:sldLayoutId id="2147483669" r:id="rId19"/>
    <p:sldLayoutId id="2147483658" r:id="rId20"/>
    <p:sldLayoutId id="2147483670" r:id="rId21"/>
    <p:sldLayoutId id="2147483671" r:id="rId22"/>
    <p:sldLayoutId id="2147483665" r:id="rId23"/>
    <p:sldLayoutId id="2147483672" r:id="rId24"/>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tags" Target="../tags/tag8.xml"/><Relationship Id="rId13" Type="http://schemas.openxmlformats.org/officeDocument/2006/relationships/image" Target="../media/image6.png"/><Relationship Id="rId3" Type="http://schemas.openxmlformats.org/officeDocument/2006/relationships/tags" Target="../tags/tag3.xml"/><Relationship Id="rId7" Type="http://schemas.openxmlformats.org/officeDocument/2006/relationships/tags" Target="../tags/tag7.xml"/><Relationship Id="rId12" Type="http://schemas.openxmlformats.org/officeDocument/2006/relationships/image" Target="../media/image5.png"/><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image" Target="../media/image4.png"/><Relationship Id="rId5" Type="http://schemas.openxmlformats.org/officeDocument/2006/relationships/tags" Target="../tags/tag5.xml"/><Relationship Id="rId10" Type="http://schemas.openxmlformats.org/officeDocument/2006/relationships/slideLayout" Target="../slideLayouts/slideLayout1.xml"/><Relationship Id="rId4" Type="http://schemas.openxmlformats.org/officeDocument/2006/relationships/tags" Target="../tags/tag4.xml"/><Relationship Id="rId9" Type="http://schemas.openxmlformats.org/officeDocument/2006/relationships/tags" Target="../tags/tag9.xml"/><Relationship Id="rId14" Type="http://schemas.openxmlformats.org/officeDocument/2006/relationships/image" Target="../media/image7.png"/></Relationships>
</file>

<file path=ppt/slides/_rels/slide10.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tags" Target="../tags/tag60.xml"/><Relationship Id="rId7" Type="http://schemas.openxmlformats.org/officeDocument/2006/relationships/slideLayout" Target="../slideLayouts/slideLayout16.xml"/><Relationship Id="rId2" Type="http://schemas.openxmlformats.org/officeDocument/2006/relationships/tags" Target="../tags/tag59.xml"/><Relationship Id="rId1" Type="http://schemas.openxmlformats.org/officeDocument/2006/relationships/tags" Target="../tags/tag58.xml"/><Relationship Id="rId6" Type="http://schemas.openxmlformats.org/officeDocument/2006/relationships/tags" Target="../tags/tag63.xml"/><Relationship Id="rId5" Type="http://schemas.openxmlformats.org/officeDocument/2006/relationships/tags" Target="../tags/tag62.xml"/><Relationship Id="rId4" Type="http://schemas.openxmlformats.org/officeDocument/2006/relationships/tags" Target="../tags/tag61.xml"/><Relationship Id="rId9" Type="http://schemas.openxmlformats.org/officeDocument/2006/relationships/image" Target="../media/image8.png"/></Relationships>
</file>

<file path=ppt/slides/_rels/slide11.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66.xml"/><Relationship Id="rId7" Type="http://schemas.openxmlformats.org/officeDocument/2006/relationships/slideLayout" Target="../slideLayouts/slideLayout15.xml"/><Relationship Id="rId2" Type="http://schemas.openxmlformats.org/officeDocument/2006/relationships/tags" Target="../tags/tag65.xml"/><Relationship Id="rId1" Type="http://schemas.openxmlformats.org/officeDocument/2006/relationships/tags" Target="../tags/tag64.xml"/><Relationship Id="rId6" Type="http://schemas.openxmlformats.org/officeDocument/2006/relationships/tags" Target="../tags/tag69.xml"/><Relationship Id="rId5" Type="http://schemas.openxmlformats.org/officeDocument/2006/relationships/tags" Target="../tags/tag68.xml"/><Relationship Id="rId4" Type="http://schemas.openxmlformats.org/officeDocument/2006/relationships/tags" Target="../tags/tag67.xml"/></Relationships>
</file>

<file path=ppt/slides/_rels/slide12.xml.rels><?xml version="1.0" encoding="UTF-8" standalone="yes"?>
<Relationships xmlns="http://schemas.openxmlformats.org/package/2006/relationships"><Relationship Id="rId8" Type="http://schemas.openxmlformats.org/officeDocument/2006/relationships/image" Target="../media/image12.jpeg"/><Relationship Id="rId3" Type="http://schemas.openxmlformats.org/officeDocument/2006/relationships/tags" Target="../tags/tag72.xml"/><Relationship Id="rId7" Type="http://schemas.openxmlformats.org/officeDocument/2006/relationships/slideLayout" Target="../slideLayouts/slideLayout8.xml"/><Relationship Id="rId2" Type="http://schemas.openxmlformats.org/officeDocument/2006/relationships/tags" Target="../tags/tag71.xml"/><Relationship Id="rId1" Type="http://schemas.openxmlformats.org/officeDocument/2006/relationships/tags" Target="../tags/tag70.xml"/><Relationship Id="rId6" Type="http://schemas.openxmlformats.org/officeDocument/2006/relationships/tags" Target="../tags/tag75.xml"/><Relationship Id="rId5" Type="http://schemas.openxmlformats.org/officeDocument/2006/relationships/tags" Target="../tags/tag74.xml"/><Relationship Id="rId4" Type="http://schemas.openxmlformats.org/officeDocument/2006/relationships/tags" Target="../tags/tag73.xml"/><Relationship Id="rId9" Type="http://schemas.openxmlformats.org/officeDocument/2006/relationships/image" Target="../media/image8.png"/></Relationships>
</file>

<file path=ppt/slides/_rels/slide13.xml.rels><?xml version="1.0" encoding="UTF-8" standalone="yes"?>
<Relationships xmlns="http://schemas.openxmlformats.org/package/2006/relationships"><Relationship Id="rId3" Type="http://schemas.openxmlformats.org/officeDocument/2006/relationships/tags" Target="../tags/tag78.xml"/><Relationship Id="rId7" Type="http://schemas.openxmlformats.org/officeDocument/2006/relationships/image" Target="../media/image8.png"/><Relationship Id="rId2" Type="http://schemas.openxmlformats.org/officeDocument/2006/relationships/tags" Target="../tags/tag77.xml"/><Relationship Id="rId1" Type="http://schemas.openxmlformats.org/officeDocument/2006/relationships/tags" Target="../tags/tag76.xml"/><Relationship Id="rId6" Type="http://schemas.openxmlformats.org/officeDocument/2006/relationships/image" Target="../media/image15.jpeg"/><Relationship Id="rId5" Type="http://schemas.openxmlformats.org/officeDocument/2006/relationships/slideLayout" Target="../slideLayouts/slideLayout14.xml"/><Relationship Id="rId4" Type="http://schemas.openxmlformats.org/officeDocument/2006/relationships/tags" Target="../tags/tag79.xml"/></Relationships>
</file>

<file path=ppt/slides/_rels/slide14.xml.rels><?xml version="1.0" encoding="UTF-8" standalone="yes"?>
<Relationships xmlns="http://schemas.openxmlformats.org/package/2006/relationships"><Relationship Id="rId8" Type="http://schemas.openxmlformats.org/officeDocument/2006/relationships/slideLayout" Target="../slideLayouts/slideLayout16.xml"/><Relationship Id="rId13" Type="http://schemas.openxmlformats.org/officeDocument/2006/relationships/image" Target="../media/image8.png"/><Relationship Id="rId3" Type="http://schemas.openxmlformats.org/officeDocument/2006/relationships/tags" Target="../tags/tag82.xml"/><Relationship Id="rId7" Type="http://schemas.openxmlformats.org/officeDocument/2006/relationships/tags" Target="../tags/tag86.xml"/><Relationship Id="rId12" Type="http://schemas.openxmlformats.org/officeDocument/2006/relationships/image" Target="../media/image19.jpeg"/><Relationship Id="rId2" Type="http://schemas.openxmlformats.org/officeDocument/2006/relationships/tags" Target="../tags/tag81.xml"/><Relationship Id="rId1" Type="http://schemas.openxmlformats.org/officeDocument/2006/relationships/tags" Target="../tags/tag80.xml"/><Relationship Id="rId6" Type="http://schemas.openxmlformats.org/officeDocument/2006/relationships/tags" Target="../tags/tag85.xml"/><Relationship Id="rId11" Type="http://schemas.openxmlformats.org/officeDocument/2006/relationships/image" Target="../media/image18.jpeg"/><Relationship Id="rId5" Type="http://schemas.openxmlformats.org/officeDocument/2006/relationships/tags" Target="../tags/tag84.xml"/><Relationship Id="rId10" Type="http://schemas.openxmlformats.org/officeDocument/2006/relationships/image" Target="../media/image17.jpeg"/><Relationship Id="rId4" Type="http://schemas.openxmlformats.org/officeDocument/2006/relationships/tags" Target="../tags/tag83.xml"/><Relationship Id="rId9" Type="http://schemas.openxmlformats.org/officeDocument/2006/relationships/image" Target="../media/image16.jpeg"/></Relationships>
</file>

<file path=ppt/slides/_rels/slide15.xml.rels><?xml version="1.0" encoding="UTF-8" standalone="yes"?>
<Relationships xmlns="http://schemas.openxmlformats.org/package/2006/relationships"><Relationship Id="rId8" Type="http://schemas.openxmlformats.org/officeDocument/2006/relationships/tags" Target="../tags/tag94.xml"/><Relationship Id="rId3" Type="http://schemas.openxmlformats.org/officeDocument/2006/relationships/tags" Target="../tags/tag89.xml"/><Relationship Id="rId7" Type="http://schemas.openxmlformats.org/officeDocument/2006/relationships/tags" Target="../tags/tag93.xml"/><Relationship Id="rId12" Type="http://schemas.openxmlformats.org/officeDocument/2006/relationships/image" Target="../media/image8.png"/><Relationship Id="rId2" Type="http://schemas.openxmlformats.org/officeDocument/2006/relationships/tags" Target="../tags/tag88.xml"/><Relationship Id="rId1" Type="http://schemas.openxmlformats.org/officeDocument/2006/relationships/tags" Target="../tags/tag87.xml"/><Relationship Id="rId6" Type="http://schemas.openxmlformats.org/officeDocument/2006/relationships/tags" Target="../tags/tag92.xml"/><Relationship Id="rId11" Type="http://schemas.openxmlformats.org/officeDocument/2006/relationships/image" Target="../media/image16.jpeg"/><Relationship Id="rId5" Type="http://schemas.openxmlformats.org/officeDocument/2006/relationships/tags" Target="../tags/tag91.xml"/><Relationship Id="rId10" Type="http://schemas.openxmlformats.org/officeDocument/2006/relationships/slideLayout" Target="../slideLayouts/slideLayout16.xml"/><Relationship Id="rId4" Type="http://schemas.openxmlformats.org/officeDocument/2006/relationships/tags" Target="../tags/tag90.xml"/><Relationship Id="rId9" Type="http://schemas.openxmlformats.org/officeDocument/2006/relationships/tags" Target="../tags/tag95.xml"/></Relationships>
</file>

<file path=ppt/slides/_rels/slide16.xml.rels><?xml version="1.0" encoding="UTF-8" standalone="yes"?>
<Relationships xmlns="http://schemas.openxmlformats.org/package/2006/relationships"><Relationship Id="rId8" Type="http://schemas.openxmlformats.org/officeDocument/2006/relationships/tags" Target="../tags/tag103.xml"/><Relationship Id="rId13" Type="http://schemas.openxmlformats.org/officeDocument/2006/relationships/tags" Target="../tags/tag108.xml"/><Relationship Id="rId18" Type="http://schemas.openxmlformats.org/officeDocument/2006/relationships/image" Target="../media/image22.jpeg"/><Relationship Id="rId3" Type="http://schemas.openxmlformats.org/officeDocument/2006/relationships/tags" Target="../tags/tag98.xml"/><Relationship Id="rId7" Type="http://schemas.openxmlformats.org/officeDocument/2006/relationships/tags" Target="../tags/tag102.xml"/><Relationship Id="rId12" Type="http://schemas.openxmlformats.org/officeDocument/2006/relationships/tags" Target="../tags/tag107.xml"/><Relationship Id="rId17" Type="http://schemas.openxmlformats.org/officeDocument/2006/relationships/image" Target="../media/image21.jpeg"/><Relationship Id="rId2" Type="http://schemas.openxmlformats.org/officeDocument/2006/relationships/tags" Target="../tags/tag97.xml"/><Relationship Id="rId16" Type="http://schemas.openxmlformats.org/officeDocument/2006/relationships/image" Target="../media/image20.jpeg"/><Relationship Id="rId1" Type="http://schemas.openxmlformats.org/officeDocument/2006/relationships/tags" Target="../tags/tag96.xml"/><Relationship Id="rId6" Type="http://schemas.openxmlformats.org/officeDocument/2006/relationships/tags" Target="../tags/tag101.xml"/><Relationship Id="rId11" Type="http://schemas.openxmlformats.org/officeDocument/2006/relationships/tags" Target="../tags/tag106.xml"/><Relationship Id="rId5" Type="http://schemas.openxmlformats.org/officeDocument/2006/relationships/tags" Target="../tags/tag100.xml"/><Relationship Id="rId15" Type="http://schemas.openxmlformats.org/officeDocument/2006/relationships/image" Target="../media/image16.jpeg"/><Relationship Id="rId10" Type="http://schemas.openxmlformats.org/officeDocument/2006/relationships/tags" Target="../tags/tag105.xml"/><Relationship Id="rId19" Type="http://schemas.openxmlformats.org/officeDocument/2006/relationships/image" Target="../media/image8.png"/><Relationship Id="rId4" Type="http://schemas.openxmlformats.org/officeDocument/2006/relationships/tags" Target="../tags/tag99.xml"/><Relationship Id="rId9" Type="http://schemas.openxmlformats.org/officeDocument/2006/relationships/tags" Target="../tags/tag104.xml"/><Relationship Id="rId14" Type="http://schemas.openxmlformats.org/officeDocument/2006/relationships/slideLayout" Target="../slideLayouts/slideLayout16.xml"/></Relationships>
</file>

<file path=ppt/slides/_rels/slide17.xml.rels><?xml version="1.0" encoding="UTF-8" standalone="yes"?>
<Relationships xmlns="http://schemas.openxmlformats.org/package/2006/relationships"><Relationship Id="rId13" Type="http://schemas.openxmlformats.org/officeDocument/2006/relationships/tags" Target="../tags/tag121.xml"/><Relationship Id="rId18" Type="http://schemas.openxmlformats.org/officeDocument/2006/relationships/tags" Target="../tags/tag126.xml"/><Relationship Id="rId26" Type="http://schemas.openxmlformats.org/officeDocument/2006/relationships/tags" Target="../tags/tag134.xml"/><Relationship Id="rId39" Type="http://schemas.openxmlformats.org/officeDocument/2006/relationships/tags" Target="../tags/tag147.xml"/><Relationship Id="rId21" Type="http://schemas.openxmlformats.org/officeDocument/2006/relationships/tags" Target="../tags/tag129.xml"/><Relationship Id="rId34" Type="http://schemas.openxmlformats.org/officeDocument/2006/relationships/tags" Target="../tags/tag142.xml"/><Relationship Id="rId42" Type="http://schemas.openxmlformats.org/officeDocument/2006/relationships/tags" Target="../tags/tag150.xml"/><Relationship Id="rId47" Type="http://schemas.openxmlformats.org/officeDocument/2006/relationships/tags" Target="../tags/tag155.xml"/><Relationship Id="rId50" Type="http://schemas.openxmlformats.org/officeDocument/2006/relationships/tags" Target="../tags/tag158.xml"/><Relationship Id="rId55" Type="http://schemas.openxmlformats.org/officeDocument/2006/relationships/image" Target="../media/image16.jpeg"/><Relationship Id="rId7" Type="http://schemas.openxmlformats.org/officeDocument/2006/relationships/tags" Target="../tags/tag115.xml"/><Relationship Id="rId12" Type="http://schemas.openxmlformats.org/officeDocument/2006/relationships/tags" Target="../tags/tag120.xml"/><Relationship Id="rId17" Type="http://schemas.openxmlformats.org/officeDocument/2006/relationships/tags" Target="../tags/tag125.xml"/><Relationship Id="rId25" Type="http://schemas.openxmlformats.org/officeDocument/2006/relationships/tags" Target="../tags/tag133.xml"/><Relationship Id="rId33" Type="http://schemas.openxmlformats.org/officeDocument/2006/relationships/tags" Target="../tags/tag141.xml"/><Relationship Id="rId38" Type="http://schemas.openxmlformats.org/officeDocument/2006/relationships/tags" Target="../tags/tag146.xml"/><Relationship Id="rId46" Type="http://schemas.openxmlformats.org/officeDocument/2006/relationships/tags" Target="../tags/tag154.xml"/><Relationship Id="rId2" Type="http://schemas.openxmlformats.org/officeDocument/2006/relationships/tags" Target="../tags/tag110.xml"/><Relationship Id="rId16" Type="http://schemas.openxmlformats.org/officeDocument/2006/relationships/tags" Target="../tags/tag124.xml"/><Relationship Id="rId20" Type="http://schemas.openxmlformats.org/officeDocument/2006/relationships/tags" Target="../tags/tag128.xml"/><Relationship Id="rId29" Type="http://schemas.openxmlformats.org/officeDocument/2006/relationships/tags" Target="../tags/tag137.xml"/><Relationship Id="rId41" Type="http://schemas.openxmlformats.org/officeDocument/2006/relationships/tags" Target="../tags/tag149.xml"/><Relationship Id="rId54" Type="http://schemas.openxmlformats.org/officeDocument/2006/relationships/slideLayout" Target="../slideLayouts/slideLayout16.xml"/><Relationship Id="rId1" Type="http://schemas.openxmlformats.org/officeDocument/2006/relationships/tags" Target="../tags/tag109.xml"/><Relationship Id="rId6" Type="http://schemas.openxmlformats.org/officeDocument/2006/relationships/tags" Target="../tags/tag114.xml"/><Relationship Id="rId11" Type="http://schemas.openxmlformats.org/officeDocument/2006/relationships/tags" Target="../tags/tag119.xml"/><Relationship Id="rId24" Type="http://schemas.openxmlformats.org/officeDocument/2006/relationships/tags" Target="../tags/tag132.xml"/><Relationship Id="rId32" Type="http://schemas.openxmlformats.org/officeDocument/2006/relationships/tags" Target="../tags/tag140.xml"/><Relationship Id="rId37" Type="http://schemas.openxmlformats.org/officeDocument/2006/relationships/tags" Target="../tags/tag145.xml"/><Relationship Id="rId40" Type="http://schemas.openxmlformats.org/officeDocument/2006/relationships/tags" Target="../tags/tag148.xml"/><Relationship Id="rId45" Type="http://schemas.openxmlformats.org/officeDocument/2006/relationships/tags" Target="../tags/tag153.xml"/><Relationship Id="rId53" Type="http://schemas.openxmlformats.org/officeDocument/2006/relationships/tags" Target="../tags/tag161.xml"/><Relationship Id="rId5" Type="http://schemas.openxmlformats.org/officeDocument/2006/relationships/tags" Target="../tags/tag113.xml"/><Relationship Id="rId15" Type="http://schemas.openxmlformats.org/officeDocument/2006/relationships/tags" Target="../tags/tag123.xml"/><Relationship Id="rId23" Type="http://schemas.openxmlformats.org/officeDocument/2006/relationships/tags" Target="../tags/tag131.xml"/><Relationship Id="rId28" Type="http://schemas.openxmlformats.org/officeDocument/2006/relationships/tags" Target="../tags/tag136.xml"/><Relationship Id="rId36" Type="http://schemas.openxmlformats.org/officeDocument/2006/relationships/tags" Target="../tags/tag144.xml"/><Relationship Id="rId49" Type="http://schemas.openxmlformats.org/officeDocument/2006/relationships/tags" Target="../tags/tag157.xml"/><Relationship Id="rId10" Type="http://schemas.openxmlformats.org/officeDocument/2006/relationships/tags" Target="../tags/tag118.xml"/><Relationship Id="rId19" Type="http://schemas.openxmlformats.org/officeDocument/2006/relationships/tags" Target="../tags/tag127.xml"/><Relationship Id="rId31" Type="http://schemas.openxmlformats.org/officeDocument/2006/relationships/tags" Target="../tags/tag139.xml"/><Relationship Id="rId44" Type="http://schemas.openxmlformats.org/officeDocument/2006/relationships/tags" Target="../tags/tag152.xml"/><Relationship Id="rId52" Type="http://schemas.openxmlformats.org/officeDocument/2006/relationships/tags" Target="../tags/tag160.xml"/><Relationship Id="rId4" Type="http://schemas.openxmlformats.org/officeDocument/2006/relationships/tags" Target="../tags/tag112.xml"/><Relationship Id="rId9" Type="http://schemas.openxmlformats.org/officeDocument/2006/relationships/tags" Target="../tags/tag117.xml"/><Relationship Id="rId14" Type="http://schemas.openxmlformats.org/officeDocument/2006/relationships/tags" Target="../tags/tag122.xml"/><Relationship Id="rId22" Type="http://schemas.openxmlformats.org/officeDocument/2006/relationships/tags" Target="../tags/tag130.xml"/><Relationship Id="rId27" Type="http://schemas.openxmlformats.org/officeDocument/2006/relationships/tags" Target="../tags/tag135.xml"/><Relationship Id="rId30" Type="http://schemas.openxmlformats.org/officeDocument/2006/relationships/tags" Target="../tags/tag138.xml"/><Relationship Id="rId35" Type="http://schemas.openxmlformats.org/officeDocument/2006/relationships/tags" Target="../tags/tag143.xml"/><Relationship Id="rId43" Type="http://schemas.openxmlformats.org/officeDocument/2006/relationships/tags" Target="../tags/tag151.xml"/><Relationship Id="rId48" Type="http://schemas.openxmlformats.org/officeDocument/2006/relationships/tags" Target="../tags/tag156.xml"/><Relationship Id="rId56" Type="http://schemas.openxmlformats.org/officeDocument/2006/relationships/image" Target="../media/image8.png"/><Relationship Id="rId8" Type="http://schemas.openxmlformats.org/officeDocument/2006/relationships/tags" Target="../tags/tag116.xml"/><Relationship Id="rId51" Type="http://schemas.openxmlformats.org/officeDocument/2006/relationships/tags" Target="../tags/tag159.xml"/><Relationship Id="rId3" Type="http://schemas.openxmlformats.org/officeDocument/2006/relationships/tags" Target="../tags/tag111.xml"/></Relationships>
</file>

<file path=ppt/slides/_rels/slide18.xml.rels><?xml version="1.0" encoding="UTF-8" standalone="yes"?>
<Relationships xmlns="http://schemas.openxmlformats.org/package/2006/relationships"><Relationship Id="rId13" Type="http://schemas.openxmlformats.org/officeDocument/2006/relationships/tags" Target="../tags/tag174.xml"/><Relationship Id="rId18" Type="http://schemas.openxmlformats.org/officeDocument/2006/relationships/tags" Target="../tags/tag179.xml"/><Relationship Id="rId26" Type="http://schemas.openxmlformats.org/officeDocument/2006/relationships/tags" Target="../tags/tag187.xml"/><Relationship Id="rId39" Type="http://schemas.openxmlformats.org/officeDocument/2006/relationships/tags" Target="../tags/tag200.xml"/><Relationship Id="rId21" Type="http://schemas.openxmlformats.org/officeDocument/2006/relationships/tags" Target="../tags/tag182.xml"/><Relationship Id="rId34" Type="http://schemas.openxmlformats.org/officeDocument/2006/relationships/tags" Target="../tags/tag195.xml"/><Relationship Id="rId42" Type="http://schemas.openxmlformats.org/officeDocument/2006/relationships/tags" Target="../tags/tag203.xml"/><Relationship Id="rId47" Type="http://schemas.openxmlformats.org/officeDocument/2006/relationships/tags" Target="../tags/tag208.xml"/><Relationship Id="rId50" Type="http://schemas.openxmlformats.org/officeDocument/2006/relationships/tags" Target="../tags/tag211.xml"/><Relationship Id="rId55" Type="http://schemas.openxmlformats.org/officeDocument/2006/relationships/image" Target="../media/image8.png"/><Relationship Id="rId7" Type="http://schemas.openxmlformats.org/officeDocument/2006/relationships/tags" Target="../tags/tag168.xml"/><Relationship Id="rId12" Type="http://schemas.openxmlformats.org/officeDocument/2006/relationships/tags" Target="../tags/tag173.xml"/><Relationship Id="rId17" Type="http://schemas.openxmlformats.org/officeDocument/2006/relationships/tags" Target="../tags/tag178.xml"/><Relationship Id="rId25" Type="http://schemas.openxmlformats.org/officeDocument/2006/relationships/tags" Target="../tags/tag186.xml"/><Relationship Id="rId33" Type="http://schemas.openxmlformats.org/officeDocument/2006/relationships/tags" Target="../tags/tag194.xml"/><Relationship Id="rId38" Type="http://schemas.openxmlformats.org/officeDocument/2006/relationships/tags" Target="../tags/tag199.xml"/><Relationship Id="rId46" Type="http://schemas.openxmlformats.org/officeDocument/2006/relationships/tags" Target="../tags/tag207.xml"/><Relationship Id="rId2" Type="http://schemas.openxmlformats.org/officeDocument/2006/relationships/tags" Target="../tags/tag163.xml"/><Relationship Id="rId16" Type="http://schemas.openxmlformats.org/officeDocument/2006/relationships/tags" Target="../tags/tag177.xml"/><Relationship Id="rId20" Type="http://schemas.openxmlformats.org/officeDocument/2006/relationships/tags" Target="../tags/tag181.xml"/><Relationship Id="rId29" Type="http://schemas.openxmlformats.org/officeDocument/2006/relationships/tags" Target="../tags/tag190.xml"/><Relationship Id="rId41" Type="http://schemas.openxmlformats.org/officeDocument/2006/relationships/tags" Target="../tags/tag202.xml"/><Relationship Id="rId54" Type="http://schemas.openxmlformats.org/officeDocument/2006/relationships/image" Target="../media/image16.jpeg"/><Relationship Id="rId1" Type="http://schemas.openxmlformats.org/officeDocument/2006/relationships/tags" Target="../tags/tag162.xml"/><Relationship Id="rId6" Type="http://schemas.openxmlformats.org/officeDocument/2006/relationships/tags" Target="../tags/tag167.xml"/><Relationship Id="rId11" Type="http://schemas.openxmlformats.org/officeDocument/2006/relationships/tags" Target="../tags/tag172.xml"/><Relationship Id="rId24" Type="http://schemas.openxmlformats.org/officeDocument/2006/relationships/tags" Target="../tags/tag185.xml"/><Relationship Id="rId32" Type="http://schemas.openxmlformats.org/officeDocument/2006/relationships/tags" Target="../tags/tag193.xml"/><Relationship Id="rId37" Type="http://schemas.openxmlformats.org/officeDocument/2006/relationships/tags" Target="../tags/tag198.xml"/><Relationship Id="rId40" Type="http://schemas.openxmlformats.org/officeDocument/2006/relationships/tags" Target="../tags/tag201.xml"/><Relationship Id="rId45" Type="http://schemas.openxmlformats.org/officeDocument/2006/relationships/tags" Target="../tags/tag206.xml"/><Relationship Id="rId53" Type="http://schemas.openxmlformats.org/officeDocument/2006/relationships/slideLayout" Target="../slideLayouts/slideLayout16.xml"/><Relationship Id="rId5" Type="http://schemas.openxmlformats.org/officeDocument/2006/relationships/tags" Target="../tags/tag166.xml"/><Relationship Id="rId15" Type="http://schemas.openxmlformats.org/officeDocument/2006/relationships/tags" Target="../tags/tag176.xml"/><Relationship Id="rId23" Type="http://schemas.openxmlformats.org/officeDocument/2006/relationships/tags" Target="../tags/tag184.xml"/><Relationship Id="rId28" Type="http://schemas.openxmlformats.org/officeDocument/2006/relationships/tags" Target="../tags/tag189.xml"/><Relationship Id="rId36" Type="http://schemas.openxmlformats.org/officeDocument/2006/relationships/tags" Target="../tags/tag197.xml"/><Relationship Id="rId49" Type="http://schemas.openxmlformats.org/officeDocument/2006/relationships/tags" Target="../tags/tag210.xml"/><Relationship Id="rId10" Type="http://schemas.openxmlformats.org/officeDocument/2006/relationships/tags" Target="../tags/tag171.xml"/><Relationship Id="rId19" Type="http://schemas.openxmlformats.org/officeDocument/2006/relationships/tags" Target="../tags/tag180.xml"/><Relationship Id="rId31" Type="http://schemas.openxmlformats.org/officeDocument/2006/relationships/tags" Target="../tags/tag192.xml"/><Relationship Id="rId44" Type="http://schemas.openxmlformats.org/officeDocument/2006/relationships/tags" Target="../tags/tag205.xml"/><Relationship Id="rId52" Type="http://schemas.openxmlformats.org/officeDocument/2006/relationships/tags" Target="../tags/tag213.xml"/><Relationship Id="rId4" Type="http://schemas.openxmlformats.org/officeDocument/2006/relationships/tags" Target="../tags/tag165.xml"/><Relationship Id="rId9" Type="http://schemas.openxmlformats.org/officeDocument/2006/relationships/tags" Target="../tags/tag170.xml"/><Relationship Id="rId14" Type="http://schemas.openxmlformats.org/officeDocument/2006/relationships/tags" Target="../tags/tag175.xml"/><Relationship Id="rId22" Type="http://schemas.openxmlformats.org/officeDocument/2006/relationships/tags" Target="../tags/tag183.xml"/><Relationship Id="rId27" Type="http://schemas.openxmlformats.org/officeDocument/2006/relationships/tags" Target="../tags/tag188.xml"/><Relationship Id="rId30" Type="http://schemas.openxmlformats.org/officeDocument/2006/relationships/tags" Target="../tags/tag191.xml"/><Relationship Id="rId35" Type="http://schemas.openxmlformats.org/officeDocument/2006/relationships/tags" Target="../tags/tag196.xml"/><Relationship Id="rId43" Type="http://schemas.openxmlformats.org/officeDocument/2006/relationships/tags" Target="../tags/tag204.xml"/><Relationship Id="rId48" Type="http://schemas.openxmlformats.org/officeDocument/2006/relationships/tags" Target="../tags/tag209.xml"/><Relationship Id="rId8" Type="http://schemas.openxmlformats.org/officeDocument/2006/relationships/tags" Target="../tags/tag169.xml"/><Relationship Id="rId51" Type="http://schemas.openxmlformats.org/officeDocument/2006/relationships/tags" Target="../tags/tag212.xml"/><Relationship Id="rId3" Type="http://schemas.openxmlformats.org/officeDocument/2006/relationships/tags" Target="../tags/tag164.xml"/></Relationships>
</file>

<file path=ppt/slides/_rels/slide19.xml.rels><?xml version="1.0" encoding="UTF-8" standalone="yes"?>
<Relationships xmlns="http://schemas.openxmlformats.org/package/2006/relationships"><Relationship Id="rId3" Type="http://schemas.openxmlformats.org/officeDocument/2006/relationships/tags" Target="../tags/tag216.xml"/><Relationship Id="rId2" Type="http://schemas.openxmlformats.org/officeDocument/2006/relationships/tags" Target="../tags/tag215.xml"/><Relationship Id="rId1" Type="http://schemas.openxmlformats.org/officeDocument/2006/relationships/tags" Target="../tags/tag214.xml"/><Relationship Id="rId6" Type="http://schemas.openxmlformats.org/officeDocument/2006/relationships/image" Target="../media/image8.png"/><Relationship Id="rId5" Type="http://schemas.openxmlformats.org/officeDocument/2006/relationships/image" Target="../media/image23.jpeg"/><Relationship Id="rId4" Type="http://schemas.openxmlformats.org/officeDocument/2006/relationships/slideLayout" Target="../slideLayouts/slideLayout16.xml"/></Relationships>
</file>

<file path=ppt/slides/_rels/slide2.xml.rels><?xml version="1.0" encoding="UTF-8" standalone="yes"?>
<Relationships xmlns="http://schemas.openxmlformats.org/package/2006/relationships"><Relationship Id="rId8" Type="http://schemas.openxmlformats.org/officeDocument/2006/relationships/tags" Target="../tags/tag17.xml"/><Relationship Id="rId3" Type="http://schemas.openxmlformats.org/officeDocument/2006/relationships/tags" Target="../tags/tag12.xml"/><Relationship Id="rId7" Type="http://schemas.openxmlformats.org/officeDocument/2006/relationships/tags" Target="../tags/tag16.xml"/><Relationship Id="rId12" Type="http://schemas.openxmlformats.org/officeDocument/2006/relationships/image" Target="../media/image10.png"/><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tags" Target="../tags/tag15.xml"/><Relationship Id="rId11" Type="http://schemas.openxmlformats.org/officeDocument/2006/relationships/image" Target="../media/image9.jpeg"/><Relationship Id="rId5" Type="http://schemas.openxmlformats.org/officeDocument/2006/relationships/tags" Target="../tags/tag14.xml"/><Relationship Id="rId10" Type="http://schemas.openxmlformats.org/officeDocument/2006/relationships/image" Target="../media/image8.png"/><Relationship Id="rId4" Type="http://schemas.openxmlformats.org/officeDocument/2006/relationships/tags" Target="../tags/tag13.xml"/><Relationship Id="rId9" Type="http://schemas.openxmlformats.org/officeDocument/2006/relationships/slideLayout" Target="../slideLayouts/slideLayout8.xml"/></Relationships>
</file>

<file path=ppt/slides/_rels/slide20.xml.rels><?xml version="1.0" encoding="UTF-8" standalone="yes"?>
<Relationships xmlns="http://schemas.openxmlformats.org/package/2006/relationships"><Relationship Id="rId13" Type="http://schemas.openxmlformats.org/officeDocument/2006/relationships/tags" Target="../tags/tag229.xml"/><Relationship Id="rId18" Type="http://schemas.openxmlformats.org/officeDocument/2006/relationships/tags" Target="../tags/tag234.xml"/><Relationship Id="rId26" Type="http://schemas.openxmlformats.org/officeDocument/2006/relationships/tags" Target="../tags/tag242.xml"/><Relationship Id="rId39" Type="http://schemas.openxmlformats.org/officeDocument/2006/relationships/tags" Target="../tags/tag255.xml"/><Relationship Id="rId21" Type="http://schemas.openxmlformats.org/officeDocument/2006/relationships/tags" Target="../tags/tag237.xml"/><Relationship Id="rId34" Type="http://schemas.openxmlformats.org/officeDocument/2006/relationships/tags" Target="../tags/tag250.xml"/><Relationship Id="rId42" Type="http://schemas.openxmlformats.org/officeDocument/2006/relationships/tags" Target="../tags/tag258.xml"/><Relationship Id="rId47" Type="http://schemas.openxmlformats.org/officeDocument/2006/relationships/tags" Target="../tags/tag263.xml"/><Relationship Id="rId50" Type="http://schemas.openxmlformats.org/officeDocument/2006/relationships/tags" Target="../tags/tag266.xml"/><Relationship Id="rId55" Type="http://schemas.openxmlformats.org/officeDocument/2006/relationships/image" Target="../media/image16.jpeg"/><Relationship Id="rId7" Type="http://schemas.openxmlformats.org/officeDocument/2006/relationships/tags" Target="../tags/tag223.xml"/><Relationship Id="rId12" Type="http://schemas.openxmlformats.org/officeDocument/2006/relationships/tags" Target="../tags/tag228.xml"/><Relationship Id="rId17" Type="http://schemas.openxmlformats.org/officeDocument/2006/relationships/tags" Target="../tags/tag233.xml"/><Relationship Id="rId25" Type="http://schemas.openxmlformats.org/officeDocument/2006/relationships/tags" Target="../tags/tag241.xml"/><Relationship Id="rId33" Type="http://schemas.openxmlformats.org/officeDocument/2006/relationships/tags" Target="../tags/tag249.xml"/><Relationship Id="rId38" Type="http://schemas.openxmlformats.org/officeDocument/2006/relationships/tags" Target="../tags/tag254.xml"/><Relationship Id="rId46" Type="http://schemas.openxmlformats.org/officeDocument/2006/relationships/tags" Target="../tags/tag262.xml"/><Relationship Id="rId2" Type="http://schemas.openxmlformats.org/officeDocument/2006/relationships/tags" Target="../tags/tag218.xml"/><Relationship Id="rId16" Type="http://schemas.openxmlformats.org/officeDocument/2006/relationships/tags" Target="../tags/tag232.xml"/><Relationship Id="rId20" Type="http://schemas.openxmlformats.org/officeDocument/2006/relationships/tags" Target="../tags/tag236.xml"/><Relationship Id="rId29" Type="http://schemas.openxmlformats.org/officeDocument/2006/relationships/tags" Target="../tags/tag245.xml"/><Relationship Id="rId41" Type="http://schemas.openxmlformats.org/officeDocument/2006/relationships/tags" Target="../tags/tag257.xml"/><Relationship Id="rId54" Type="http://schemas.openxmlformats.org/officeDocument/2006/relationships/slideLayout" Target="../slideLayouts/slideLayout16.xml"/><Relationship Id="rId1" Type="http://schemas.openxmlformats.org/officeDocument/2006/relationships/tags" Target="../tags/tag217.xml"/><Relationship Id="rId6" Type="http://schemas.openxmlformats.org/officeDocument/2006/relationships/tags" Target="../tags/tag222.xml"/><Relationship Id="rId11" Type="http://schemas.openxmlformats.org/officeDocument/2006/relationships/tags" Target="../tags/tag227.xml"/><Relationship Id="rId24" Type="http://schemas.openxmlformats.org/officeDocument/2006/relationships/tags" Target="../tags/tag240.xml"/><Relationship Id="rId32" Type="http://schemas.openxmlformats.org/officeDocument/2006/relationships/tags" Target="../tags/tag248.xml"/><Relationship Id="rId37" Type="http://schemas.openxmlformats.org/officeDocument/2006/relationships/tags" Target="../tags/tag253.xml"/><Relationship Id="rId40" Type="http://schemas.openxmlformats.org/officeDocument/2006/relationships/tags" Target="../tags/tag256.xml"/><Relationship Id="rId45" Type="http://schemas.openxmlformats.org/officeDocument/2006/relationships/tags" Target="../tags/tag261.xml"/><Relationship Id="rId53" Type="http://schemas.openxmlformats.org/officeDocument/2006/relationships/tags" Target="../tags/tag269.xml"/><Relationship Id="rId5" Type="http://schemas.openxmlformats.org/officeDocument/2006/relationships/tags" Target="../tags/tag221.xml"/><Relationship Id="rId15" Type="http://schemas.openxmlformats.org/officeDocument/2006/relationships/tags" Target="../tags/tag231.xml"/><Relationship Id="rId23" Type="http://schemas.openxmlformats.org/officeDocument/2006/relationships/tags" Target="../tags/tag239.xml"/><Relationship Id="rId28" Type="http://schemas.openxmlformats.org/officeDocument/2006/relationships/tags" Target="../tags/tag244.xml"/><Relationship Id="rId36" Type="http://schemas.openxmlformats.org/officeDocument/2006/relationships/tags" Target="../tags/tag252.xml"/><Relationship Id="rId49" Type="http://schemas.openxmlformats.org/officeDocument/2006/relationships/tags" Target="../tags/tag265.xml"/><Relationship Id="rId10" Type="http://schemas.openxmlformats.org/officeDocument/2006/relationships/tags" Target="../tags/tag226.xml"/><Relationship Id="rId19" Type="http://schemas.openxmlformats.org/officeDocument/2006/relationships/tags" Target="../tags/tag235.xml"/><Relationship Id="rId31" Type="http://schemas.openxmlformats.org/officeDocument/2006/relationships/tags" Target="../tags/tag247.xml"/><Relationship Id="rId44" Type="http://schemas.openxmlformats.org/officeDocument/2006/relationships/tags" Target="../tags/tag260.xml"/><Relationship Id="rId52" Type="http://schemas.openxmlformats.org/officeDocument/2006/relationships/tags" Target="../tags/tag268.xml"/><Relationship Id="rId4" Type="http://schemas.openxmlformats.org/officeDocument/2006/relationships/tags" Target="../tags/tag220.xml"/><Relationship Id="rId9" Type="http://schemas.openxmlformats.org/officeDocument/2006/relationships/tags" Target="../tags/tag225.xml"/><Relationship Id="rId14" Type="http://schemas.openxmlformats.org/officeDocument/2006/relationships/tags" Target="../tags/tag230.xml"/><Relationship Id="rId22" Type="http://schemas.openxmlformats.org/officeDocument/2006/relationships/tags" Target="../tags/tag238.xml"/><Relationship Id="rId27" Type="http://schemas.openxmlformats.org/officeDocument/2006/relationships/tags" Target="../tags/tag243.xml"/><Relationship Id="rId30" Type="http://schemas.openxmlformats.org/officeDocument/2006/relationships/tags" Target="../tags/tag246.xml"/><Relationship Id="rId35" Type="http://schemas.openxmlformats.org/officeDocument/2006/relationships/tags" Target="../tags/tag251.xml"/><Relationship Id="rId43" Type="http://schemas.openxmlformats.org/officeDocument/2006/relationships/tags" Target="../tags/tag259.xml"/><Relationship Id="rId48" Type="http://schemas.openxmlformats.org/officeDocument/2006/relationships/tags" Target="../tags/tag264.xml"/><Relationship Id="rId56" Type="http://schemas.openxmlformats.org/officeDocument/2006/relationships/image" Target="../media/image8.png"/><Relationship Id="rId8" Type="http://schemas.openxmlformats.org/officeDocument/2006/relationships/tags" Target="../tags/tag224.xml"/><Relationship Id="rId51" Type="http://schemas.openxmlformats.org/officeDocument/2006/relationships/tags" Target="../tags/tag267.xml"/><Relationship Id="rId3" Type="http://schemas.openxmlformats.org/officeDocument/2006/relationships/tags" Target="../tags/tag219.xml"/></Relationships>
</file>

<file path=ppt/slides/_rels/slide21.xml.rels><?xml version="1.0" encoding="UTF-8" standalone="yes"?>
<Relationships xmlns="http://schemas.openxmlformats.org/package/2006/relationships"><Relationship Id="rId8" Type="http://schemas.openxmlformats.org/officeDocument/2006/relationships/image" Target="../media/image26.jpeg"/><Relationship Id="rId3" Type="http://schemas.openxmlformats.org/officeDocument/2006/relationships/tags" Target="../tags/tag272.xml"/><Relationship Id="rId7" Type="http://schemas.openxmlformats.org/officeDocument/2006/relationships/image" Target="../media/image8.png"/><Relationship Id="rId2" Type="http://schemas.openxmlformats.org/officeDocument/2006/relationships/tags" Target="../tags/tag271.xml"/><Relationship Id="rId1" Type="http://schemas.openxmlformats.org/officeDocument/2006/relationships/tags" Target="../tags/tag270.xml"/><Relationship Id="rId6" Type="http://schemas.openxmlformats.org/officeDocument/2006/relationships/image" Target="../media/image25.jpeg"/><Relationship Id="rId5" Type="http://schemas.openxmlformats.org/officeDocument/2006/relationships/image" Target="../media/image24.jpeg"/><Relationship Id="rId10" Type="http://schemas.openxmlformats.org/officeDocument/2006/relationships/comments" Target="../comments/comment1.xml"/><Relationship Id="rId4" Type="http://schemas.openxmlformats.org/officeDocument/2006/relationships/slideLayout" Target="../slideLayouts/slideLayout16.xml"/><Relationship Id="rId9" Type="http://schemas.openxmlformats.org/officeDocument/2006/relationships/image" Target="../media/image27.jpeg"/></Relationships>
</file>

<file path=ppt/slides/_rels/slide22.xml.rels><?xml version="1.0" encoding="UTF-8" standalone="yes"?>
<Relationships xmlns="http://schemas.openxmlformats.org/package/2006/relationships"><Relationship Id="rId8" Type="http://schemas.openxmlformats.org/officeDocument/2006/relationships/image" Target="../media/image28.jpg"/><Relationship Id="rId3" Type="http://schemas.openxmlformats.org/officeDocument/2006/relationships/tags" Target="../tags/tag275.xml"/><Relationship Id="rId7" Type="http://schemas.openxmlformats.org/officeDocument/2006/relationships/slideLayout" Target="../slideLayouts/slideLayout16.xml"/><Relationship Id="rId2" Type="http://schemas.openxmlformats.org/officeDocument/2006/relationships/tags" Target="../tags/tag274.xml"/><Relationship Id="rId1" Type="http://schemas.openxmlformats.org/officeDocument/2006/relationships/tags" Target="../tags/tag273.xml"/><Relationship Id="rId6" Type="http://schemas.openxmlformats.org/officeDocument/2006/relationships/tags" Target="../tags/tag278.xml"/><Relationship Id="rId5" Type="http://schemas.openxmlformats.org/officeDocument/2006/relationships/tags" Target="../tags/tag277.xml"/><Relationship Id="rId4" Type="http://schemas.openxmlformats.org/officeDocument/2006/relationships/tags" Target="../tags/tag276.xml"/><Relationship Id="rId9" Type="http://schemas.openxmlformats.org/officeDocument/2006/relationships/image" Target="../media/image8.png"/></Relationships>
</file>

<file path=ppt/slides/_rels/slide23.xml.rels><?xml version="1.0" encoding="UTF-8" standalone="yes"?>
<Relationships xmlns="http://schemas.openxmlformats.org/package/2006/relationships"><Relationship Id="rId8" Type="http://schemas.openxmlformats.org/officeDocument/2006/relationships/image" Target="../media/image29.png"/><Relationship Id="rId3" Type="http://schemas.openxmlformats.org/officeDocument/2006/relationships/tags" Target="../tags/tag281.xml"/><Relationship Id="rId7" Type="http://schemas.openxmlformats.org/officeDocument/2006/relationships/notesSlide" Target="../notesSlides/notesSlide2.xml"/><Relationship Id="rId2" Type="http://schemas.openxmlformats.org/officeDocument/2006/relationships/tags" Target="../tags/tag280.xml"/><Relationship Id="rId1" Type="http://schemas.openxmlformats.org/officeDocument/2006/relationships/tags" Target="../tags/tag279.xml"/><Relationship Id="rId6" Type="http://schemas.openxmlformats.org/officeDocument/2006/relationships/slideLayout" Target="../slideLayouts/slideLayout8.xml"/><Relationship Id="rId5" Type="http://schemas.openxmlformats.org/officeDocument/2006/relationships/tags" Target="../tags/tag283.xml"/><Relationship Id="rId4" Type="http://schemas.openxmlformats.org/officeDocument/2006/relationships/tags" Target="../tags/tag282.xml"/><Relationship Id="rId9" Type="http://schemas.openxmlformats.org/officeDocument/2006/relationships/image" Target="../media/image8.png"/></Relationships>
</file>

<file path=ppt/slides/_rels/slide24.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286.xml"/><Relationship Id="rId7" Type="http://schemas.openxmlformats.org/officeDocument/2006/relationships/notesSlide" Target="../notesSlides/notesSlide3.xml"/><Relationship Id="rId2" Type="http://schemas.openxmlformats.org/officeDocument/2006/relationships/tags" Target="../tags/tag285.xml"/><Relationship Id="rId1" Type="http://schemas.openxmlformats.org/officeDocument/2006/relationships/tags" Target="../tags/tag284.xml"/><Relationship Id="rId6" Type="http://schemas.openxmlformats.org/officeDocument/2006/relationships/slideLayout" Target="../slideLayouts/slideLayout8.xml"/><Relationship Id="rId5" Type="http://schemas.openxmlformats.org/officeDocument/2006/relationships/tags" Target="../tags/tag288.xml"/><Relationship Id="rId4" Type="http://schemas.openxmlformats.org/officeDocument/2006/relationships/tags" Target="../tags/tag287.xml"/></Relationships>
</file>

<file path=ppt/slides/_rels/slide25.xml.rels><?xml version="1.0" encoding="UTF-8" standalone="yes"?>
<Relationships xmlns="http://schemas.openxmlformats.org/package/2006/relationships"><Relationship Id="rId8" Type="http://schemas.openxmlformats.org/officeDocument/2006/relationships/tags" Target="../tags/tag296.xml"/><Relationship Id="rId13" Type="http://schemas.openxmlformats.org/officeDocument/2006/relationships/image" Target="../media/image7.png"/><Relationship Id="rId3" Type="http://schemas.openxmlformats.org/officeDocument/2006/relationships/tags" Target="../tags/tag291.xml"/><Relationship Id="rId7" Type="http://schemas.openxmlformats.org/officeDocument/2006/relationships/tags" Target="../tags/tag295.xml"/><Relationship Id="rId12" Type="http://schemas.openxmlformats.org/officeDocument/2006/relationships/image" Target="../media/image31.png"/><Relationship Id="rId2" Type="http://schemas.openxmlformats.org/officeDocument/2006/relationships/tags" Target="../tags/tag290.xml"/><Relationship Id="rId1" Type="http://schemas.openxmlformats.org/officeDocument/2006/relationships/tags" Target="../tags/tag289.xml"/><Relationship Id="rId6" Type="http://schemas.openxmlformats.org/officeDocument/2006/relationships/tags" Target="../tags/tag294.xml"/><Relationship Id="rId11" Type="http://schemas.openxmlformats.org/officeDocument/2006/relationships/image" Target="../media/image6.png"/><Relationship Id="rId5" Type="http://schemas.openxmlformats.org/officeDocument/2006/relationships/tags" Target="../tags/tag293.xml"/><Relationship Id="rId10" Type="http://schemas.openxmlformats.org/officeDocument/2006/relationships/image" Target="../media/image30.png"/><Relationship Id="rId4" Type="http://schemas.openxmlformats.org/officeDocument/2006/relationships/tags" Target="../tags/tag292.xml"/><Relationship Id="rId9" Type="http://schemas.openxmlformats.org/officeDocument/2006/relationships/slideLayout" Target="../slideLayouts/slideLayout23.xml"/></Relationships>
</file>

<file path=ppt/slides/_rels/slide3.xml.rels><?xml version="1.0" encoding="UTF-8" standalone="yes"?>
<Relationships xmlns="http://schemas.openxmlformats.org/package/2006/relationships"><Relationship Id="rId3" Type="http://schemas.openxmlformats.org/officeDocument/2006/relationships/tags" Target="../tags/tag20.xml"/><Relationship Id="rId7" Type="http://schemas.openxmlformats.org/officeDocument/2006/relationships/image" Target="../media/image8.png"/><Relationship Id="rId2" Type="http://schemas.openxmlformats.org/officeDocument/2006/relationships/tags" Target="../tags/tag19.xml"/><Relationship Id="rId1" Type="http://schemas.openxmlformats.org/officeDocument/2006/relationships/tags" Target="../tags/tag18.xml"/><Relationship Id="rId6" Type="http://schemas.openxmlformats.org/officeDocument/2006/relationships/slideLayout" Target="../slideLayouts/slideLayout8.xml"/><Relationship Id="rId5" Type="http://schemas.openxmlformats.org/officeDocument/2006/relationships/tags" Target="../tags/tag22.xml"/><Relationship Id="rId4" Type="http://schemas.openxmlformats.org/officeDocument/2006/relationships/tags" Target="../tags/tag21.xml"/></Relationships>
</file>

<file path=ppt/slides/_rels/slide4.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25.xml"/><Relationship Id="rId7" Type="http://schemas.openxmlformats.org/officeDocument/2006/relationships/image" Target="../media/image11.jpeg"/><Relationship Id="rId2" Type="http://schemas.openxmlformats.org/officeDocument/2006/relationships/tags" Target="../tags/tag24.xml"/><Relationship Id="rId1" Type="http://schemas.openxmlformats.org/officeDocument/2006/relationships/tags" Target="../tags/tag23.xml"/><Relationship Id="rId6" Type="http://schemas.openxmlformats.org/officeDocument/2006/relationships/slideLayout" Target="../slideLayouts/slideLayout6.xml"/><Relationship Id="rId5" Type="http://schemas.openxmlformats.org/officeDocument/2006/relationships/tags" Target="../tags/tag27.xml"/><Relationship Id="rId4" Type="http://schemas.openxmlformats.org/officeDocument/2006/relationships/tags" Target="../tags/tag26.xml"/></Relationships>
</file>

<file path=ppt/slides/_rels/slide5.xml.rels><?xml version="1.0" encoding="UTF-8" standalone="yes"?>
<Relationships xmlns="http://schemas.openxmlformats.org/package/2006/relationships"><Relationship Id="rId8" Type="http://schemas.openxmlformats.org/officeDocument/2006/relationships/image" Target="../media/image12.jpeg"/><Relationship Id="rId3" Type="http://schemas.openxmlformats.org/officeDocument/2006/relationships/tags" Target="../tags/tag30.xml"/><Relationship Id="rId7" Type="http://schemas.openxmlformats.org/officeDocument/2006/relationships/slideLayout" Target="../slideLayouts/slideLayout8.xml"/><Relationship Id="rId2" Type="http://schemas.openxmlformats.org/officeDocument/2006/relationships/tags" Target="../tags/tag29.xml"/><Relationship Id="rId1" Type="http://schemas.openxmlformats.org/officeDocument/2006/relationships/tags" Target="../tags/tag28.xml"/><Relationship Id="rId6" Type="http://schemas.openxmlformats.org/officeDocument/2006/relationships/tags" Target="../tags/tag33.xml"/><Relationship Id="rId5" Type="http://schemas.openxmlformats.org/officeDocument/2006/relationships/tags" Target="../tags/tag32.xml"/><Relationship Id="rId4" Type="http://schemas.openxmlformats.org/officeDocument/2006/relationships/tags" Target="../tags/tag31.xml"/><Relationship Id="rId9" Type="http://schemas.openxmlformats.org/officeDocument/2006/relationships/image" Target="../media/image8.png"/></Relationships>
</file>

<file path=ppt/slides/_rels/slide6.xml.rels><?xml version="1.0" encoding="UTF-8" standalone="yes"?>
<Relationships xmlns="http://schemas.openxmlformats.org/package/2006/relationships"><Relationship Id="rId3" Type="http://schemas.openxmlformats.org/officeDocument/2006/relationships/tags" Target="../tags/tag36.xml"/><Relationship Id="rId7" Type="http://schemas.openxmlformats.org/officeDocument/2006/relationships/image" Target="../media/image8.png"/><Relationship Id="rId2" Type="http://schemas.openxmlformats.org/officeDocument/2006/relationships/tags" Target="../tags/tag35.xml"/><Relationship Id="rId1" Type="http://schemas.openxmlformats.org/officeDocument/2006/relationships/tags" Target="../tags/tag34.xml"/><Relationship Id="rId6" Type="http://schemas.openxmlformats.org/officeDocument/2006/relationships/image" Target="../media/image13.png"/><Relationship Id="rId5" Type="http://schemas.openxmlformats.org/officeDocument/2006/relationships/slideLayout" Target="../slideLayouts/slideLayout16.xml"/><Relationship Id="rId4" Type="http://schemas.openxmlformats.org/officeDocument/2006/relationships/tags" Target="../tags/tag37.xml"/></Relationships>
</file>

<file path=ppt/slides/_rels/slide7.xml.rels><?xml version="1.0" encoding="UTF-8" standalone="yes"?>
<Relationships xmlns="http://schemas.openxmlformats.org/package/2006/relationships"><Relationship Id="rId3" Type="http://schemas.openxmlformats.org/officeDocument/2006/relationships/tags" Target="../tags/tag40.xml"/><Relationship Id="rId7" Type="http://schemas.openxmlformats.org/officeDocument/2006/relationships/image" Target="../media/image8.png"/><Relationship Id="rId2" Type="http://schemas.openxmlformats.org/officeDocument/2006/relationships/tags" Target="../tags/tag39.xml"/><Relationship Id="rId1" Type="http://schemas.openxmlformats.org/officeDocument/2006/relationships/tags" Target="../tags/tag38.xml"/><Relationship Id="rId6" Type="http://schemas.openxmlformats.org/officeDocument/2006/relationships/slideLayout" Target="../slideLayouts/slideLayout16.xml"/><Relationship Id="rId5" Type="http://schemas.openxmlformats.org/officeDocument/2006/relationships/tags" Target="../tags/tag42.xml"/><Relationship Id="rId4" Type="http://schemas.openxmlformats.org/officeDocument/2006/relationships/tags" Target="../tags/tag41.xml"/></Relationships>
</file>

<file path=ppt/slides/_rels/slide8.xml.rels><?xml version="1.0" encoding="UTF-8" standalone="yes"?>
<Relationships xmlns="http://schemas.openxmlformats.org/package/2006/relationships"><Relationship Id="rId8" Type="http://schemas.openxmlformats.org/officeDocument/2006/relationships/tags" Target="../tags/tag50.xml"/><Relationship Id="rId13" Type="http://schemas.openxmlformats.org/officeDocument/2006/relationships/notesSlide" Target="../notesSlides/notesSlide1.xml"/><Relationship Id="rId3" Type="http://schemas.openxmlformats.org/officeDocument/2006/relationships/tags" Target="../tags/tag45.xml"/><Relationship Id="rId7" Type="http://schemas.openxmlformats.org/officeDocument/2006/relationships/tags" Target="../tags/tag49.xml"/><Relationship Id="rId12" Type="http://schemas.openxmlformats.org/officeDocument/2006/relationships/slideLayout" Target="../slideLayouts/slideLayout16.xml"/><Relationship Id="rId2" Type="http://schemas.openxmlformats.org/officeDocument/2006/relationships/tags" Target="../tags/tag44.xml"/><Relationship Id="rId1" Type="http://schemas.openxmlformats.org/officeDocument/2006/relationships/tags" Target="../tags/tag43.xml"/><Relationship Id="rId6" Type="http://schemas.openxmlformats.org/officeDocument/2006/relationships/tags" Target="../tags/tag48.xml"/><Relationship Id="rId11" Type="http://schemas.openxmlformats.org/officeDocument/2006/relationships/tags" Target="../tags/tag53.xml"/><Relationship Id="rId5" Type="http://schemas.openxmlformats.org/officeDocument/2006/relationships/tags" Target="../tags/tag47.xml"/><Relationship Id="rId15" Type="http://schemas.openxmlformats.org/officeDocument/2006/relationships/image" Target="../media/image8.png"/><Relationship Id="rId10" Type="http://schemas.openxmlformats.org/officeDocument/2006/relationships/tags" Target="../tags/tag52.xml"/><Relationship Id="rId4" Type="http://schemas.openxmlformats.org/officeDocument/2006/relationships/tags" Target="../tags/tag46.xml"/><Relationship Id="rId9" Type="http://schemas.openxmlformats.org/officeDocument/2006/relationships/tags" Target="../tags/tag51.xml"/><Relationship Id="rId14" Type="http://schemas.openxmlformats.org/officeDocument/2006/relationships/chart" Target="../charts/chart1.xml"/></Relationships>
</file>

<file path=ppt/slides/_rels/slide9.xml.rels><?xml version="1.0" encoding="UTF-8" standalone="yes"?>
<Relationships xmlns="http://schemas.openxmlformats.org/package/2006/relationships"><Relationship Id="rId3" Type="http://schemas.openxmlformats.org/officeDocument/2006/relationships/tags" Target="../tags/tag56.xml"/><Relationship Id="rId7" Type="http://schemas.openxmlformats.org/officeDocument/2006/relationships/image" Target="../media/image8.png"/><Relationship Id="rId2" Type="http://schemas.openxmlformats.org/officeDocument/2006/relationships/tags" Target="../tags/tag55.xml"/><Relationship Id="rId1" Type="http://schemas.openxmlformats.org/officeDocument/2006/relationships/tags" Target="../tags/tag54.xml"/><Relationship Id="rId6" Type="http://schemas.openxmlformats.org/officeDocument/2006/relationships/image" Target="../media/image13.png"/><Relationship Id="rId5" Type="http://schemas.openxmlformats.org/officeDocument/2006/relationships/slideLayout" Target="../slideLayouts/slideLayout16.xml"/><Relationship Id="rId4" Type="http://schemas.openxmlformats.org/officeDocument/2006/relationships/tags" Target="../tags/tag5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Afbeelding 15">
            <a:extLst>
              <a:ext uri="{FF2B5EF4-FFF2-40B4-BE49-F238E27FC236}">
                <a16:creationId xmlns:a16="http://schemas.microsoft.com/office/drawing/2014/main" id="{170E384A-0893-45F1-BCE5-65A216256FA4}"/>
              </a:ext>
            </a:extLst>
          </p:cNvPr>
          <p:cNvPicPr>
            <a:picLocks noChangeAspect="1"/>
          </p:cNvPicPr>
          <p:nvPr/>
        </p:nvPicPr>
        <p:blipFill>
          <a:blip r:embed="rId11"/>
          <a:stretch>
            <a:fillRect/>
          </a:stretch>
        </p:blipFill>
        <p:spPr>
          <a:xfrm>
            <a:off x="0" y="13219"/>
            <a:ext cx="11306175" cy="6200775"/>
          </a:xfrm>
          <a:prstGeom prst="rect">
            <a:avLst/>
          </a:prstGeom>
        </p:spPr>
      </p:pic>
      <p:pic>
        <p:nvPicPr>
          <p:cNvPr id="17" name="Diap 1">
            <a:extLst>
              <a:ext uri="{FF2B5EF4-FFF2-40B4-BE49-F238E27FC236}">
                <a16:creationId xmlns:a16="http://schemas.microsoft.com/office/drawing/2014/main" id="{FDC4BF01-C3A9-444D-998A-A7C3F3852D0F}"/>
              </a:ext>
            </a:extLst>
          </p:cNvPr>
          <p:cNvPicPr>
            <a:picLocks noChangeAspect="1"/>
          </p:cNvPicPr>
          <p:nvPr>
            <p:custDataLst>
              <p:tags r:id="rId1"/>
            </p:custDataLst>
          </p:nvPr>
        </p:nvPicPr>
        <p:blipFill>
          <a:blip r:embed="rId12">
            <a:extLst>
              <a:ext uri="{28A0092B-C50C-407E-A947-70E740481C1C}">
                <a14:useLocalDpi xmlns:a14="http://schemas.microsoft.com/office/drawing/2010/main" val="0"/>
              </a:ext>
            </a:extLst>
          </a:blip>
          <a:stretch>
            <a:fillRect/>
          </a:stretch>
        </p:blipFill>
        <p:spPr>
          <a:xfrm>
            <a:off x="0" y="-13219"/>
            <a:ext cx="12192000" cy="6858000"/>
          </a:xfrm>
          <a:prstGeom prst="rect">
            <a:avLst/>
          </a:prstGeom>
        </p:spPr>
      </p:pic>
      <p:pic>
        <p:nvPicPr>
          <p:cNvPr id="18" name="Logo Seinpost">
            <a:extLst>
              <a:ext uri="{FF2B5EF4-FFF2-40B4-BE49-F238E27FC236}">
                <a16:creationId xmlns:a16="http://schemas.microsoft.com/office/drawing/2014/main" id="{B7F0C42C-A1FA-4086-8FD5-0FF2966D872D}"/>
              </a:ext>
            </a:extLst>
          </p:cNvPr>
          <p:cNvPicPr>
            <a:picLocks noChangeAspect="1"/>
          </p:cNvPicPr>
          <p:nvPr>
            <p:custDataLst>
              <p:tags r:id="rId2"/>
            </p:custDataLst>
          </p:nvPr>
        </p:nvPicPr>
        <p:blipFill>
          <a:blip r:embed="rId13">
            <a:extLst>
              <a:ext uri="{28A0092B-C50C-407E-A947-70E740481C1C}">
                <a14:useLocalDpi xmlns:a14="http://schemas.microsoft.com/office/drawing/2010/main" val="0"/>
              </a:ext>
            </a:extLst>
          </a:blip>
          <a:stretch>
            <a:fillRect/>
          </a:stretch>
        </p:blipFill>
        <p:spPr>
          <a:xfrm>
            <a:off x="9612016" y="5245208"/>
            <a:ext cx="2127603" cy="1173534"/>
          </a:xfrm>
          <a:prstGeom prst="rect">
            <a:avLst/>
          </a:prstGeom>
        </p:spPr>
      </p:pic>
      <p:pic>
        <p:nvPicPr>
          <p:cNvPr id="19" name="Vorm-4-Seinpost-A-T-P1">
            <a:extLst>
              <a:ext uri="{FF2B5EF4-FFF2-40B4-BE49-F238E27FC236}">
                <a16:creationId xmlns:a16="http://schemas.microsoft.com/office/drawing/2014/main" id="{44282093-E212-4B4B-8887-EF7A325A4DBD}"/>
              </a:ext>
            </a:extLst>
          </p:cNvPr>
          <p:cNvPicPr>
            <a:picLocks noChangeAspect="1"/>
          </p:cNvPicPr>
          <p:nvPr>
            <p:custDataLst>
              <p:tags r:id="rId3"/>
            </p:custDataLst>
          </p:nvPr>
        </p:nvPicPr>
        <p:blipFill>
          <a:blip r:embed="rId14">
            <a:extLst>
              <a:ext uri="{28A0092B-C50C-407E-A947-70E740481C1C}">
                <a14:useLocalDpi xmlns:a14="http://schemas.microsoft.com/office/drawing/2010/main" val="0"/>
              </a:ext>
            </a:extLst>
          </a:blip>
          <a:stretch>
            <a:fillRect/>
          </a:stretch>
        </p:blipFill>
        <p:spPr>
          <a:xfrm>
            <a:off x="0" y="5119207"/>
            <a:ext cx="7516812" cy="1377778"/>
          </a:xfrm>
          <a:prstGeom prst="rect">
            <a:avLst/>
          </a:prstGeom>
        </p:spPr>
      </p:pic>
      <p:pic>
        <p:nvPicPr>
          <p:cNvPr id="23" name="Vorm-4-Seinpost-A-T-P1">
            <a:extLst>
              <a:ext uri="{FF2B5EF4-FFF2-40B4-BE49-F238E27FC236}">
                <a16:creationId xmlns:a16="http://schemas.microsoft.com/office/drawing/2014/main" id="{09A40EED-BE30-425A-A59D-7420815D5D7D}"/>
              </a:ext>
            </a:extLst>
          </p:cNvPr>
          <p:cNvPicPr>
            <a:picLocks noChangeAspect="1"/>
          </p:cNvPicPr>
          <p:nvPr>
            <p:custDataLst>
              <p:tags r:id="rId4"/>
            </p:custDataLst>
          </p:nvPr>
        </p:nvPicPr>
        <p:blipFill>
          <a:blip r:embed="rId14">
            <a:extLst>
              <a:ext uri="{28A0092B-C50C-407E-A947-70E740481C1C}">
                <a14:useLocalDpi xmlns:a14="http://schemas.microsoft.com/office/drawing/2010/main" val="0"/>
              </a:ext>
            </a:extLst>
          </a:blip>
          <a:stretch>
            <a:fillRect/>
          </a:stretch>
        </p:blipFill>
        <p:spPr>
          <a:xfrm>
            <a:off x="11521" y="389966"/>
            <a:ext cx="7516812" cy="1377778"/>
          </a:xfrm>
          <a:prstGeom prst="rect">
            <a:avLst/>
          </a:prstGeom>
        </p:spPr>
      </p:pic>
      <p:sp>
        <p:nvSpPr>
          <p:cNvPr id="24" name="Subtitel">
            <a:extLst>
              <a:ext uri="{FF2B5EF4-FFF2-40B4-BE49-F238E27FC236}">
                <a16:creationId xmlns:a16="http://schemas.microsoft.com/office/drawing/2014/main" id="{56D10BA5-225F-4490-82DD-8188745E5472}"/>
              </a:ext>
            </a:extLst>
          </p:cNvPr>
          <p:cNvSpPr txBox="1"/>
          <p:nvPr>
            <p:custDataLst>
              <p:tags r:id="rId5"/>
            </p:custDataLst>
          </p:nvPr>
        </p:nvSpPr>
        <p:spPr>
          <a:xfrm>
            <a:off x="389926" y="5346481"/>
            <a:ext cx="7072599" cy="417854"/>
          </a:xfrm>
          <a:prstGeom prst="rect">
            <a:avLst/>
          </a:prstGeom>
          <a:noFill/>
        </p:spPr>
        <p:txBody>
          <a:bodyPr vert="horz" lIns="89943" tIns="46771" rIns="89943" bIns="46771" rtlCol="0" anchor="t">
            <a:noAutofit/>
          </a:bodyPr>
          <a:lstStyle/>
          <a:p>
            <a:pPr>
              <a:lnSpc>
                <a:spcPts val="1800"/>
              </a:lnSpc>
            </a:pPr>
            <a:r>
              <a:rPr lang="nl-NL" b="1">
                <a:solidFill>
                  <a:schemeClr val="bg1"/>
                </a:solidFill>
                <a:latin typeface="Open Sans" panose="020B0606030504020204" pitchFamily="34" charset="0"/>
              </a:rPr>
              <a:t>Ruimtelijke visie en brancheringsplan </a:t>
            </a:r>
          </a:p>
        </p:txBody>
      </p:sp>
      <p:sp>
        <p:nvSpPr>
          <p:cNvPr id="29" name="Datum">
            <a:extLst>
              <a:ext uri="{FF2B5EF4-FFF2-40B4-BE49-F238E27FC236}">
                <a16:creationId xmlns:a16="http://schemas.microsoft.com/office/drawing/2014/main" id="{387AB122-A6B7-4823-AA9F-9CDC00406326}"/>
              </a:ext>
            </a:extLst>
          </p:cNvPr>
          <p:cNvSpPr txBox="1"/>
          <p:nvPr>
            <p:custDataLst>
              <p:tags r:id="rId6"/>
            </p:custDataLst>
          </p:nvPr>
        </p:nvSpPr>
        <p:spPr>
          <a:xfrm>
            <a:off x="990001" y="2354405"/>
            <a:ext cx="5400008" cy="360001"/>
          </a:xfrm>
          <a:prstGeom prst="rect">
            <a:avLst/>
          </a:prstGeom>
          <a:noFill/>
        </p:spPr>
        <p:txBody>
          <a:bodyPr vert="horz" lIns="90000" tIns="46800" rIns="90000" bIns="46800" rtlCol="0" anchor="t">
            <a:noAutofit/>
          </a:bodyPr>
          <a:lstStyle/>
          <a:p>
            <a:pPr>
              <a:lnSpc>
                <a:spcPts val="2100"/>
              </a:lnSpc>
            </a:pPr>
            <a:r>
              <a:rPr lang="nl-NL" sz="900">
                <a:solidFill>
                  <a:srgbClr val="FFFFFF"/>
                </a:solidFill>
                <a:latin typeface="Open Sans" panose="020B0606030504020204" pitchFamily="34" charset="0"/>
              </a:rPr>
              <a:t>  |  </a:t>
            </a:r>
          </a:p>
        </p:txBody>
      </p:sp>
      <p:sp>
        <p:nvSpPr>
          <p:cNvPr id="30" name="Titel">
            <a:extLst>
              <a:ext uri="{FF2B5EF4-FFF2-40B4-BE49-F238E27FC236}">
                <a16:creationId xmlns:a16="http://schemas.microsoft.com/office/drawing/2014/main" id="{F7204831-1384-4402-B5DD-4EAA74AC6BBE}"/>
              </a:ext>
            </a:extLst>
          </p:cNvPr>
          <p:cNvSpPr txBox="1"/>
          <p:nvPr>
            <p:custDataLst>
              <p:tags r:id="rId7"/>
            </p:custDataLst>
          </p:nvPr>
        </p:nvSpPr>
        <p:spPr>
          <a:xfrm>
            <a:off x="389926" y="493559"/>
            <a:ext cx="10080016" cy="1170591"/>
          </a:xfrm>
          <a:prstGeom prst="rect">
            <a:avLst/>
          </a:prstGeom>
          <a:noFill/>
        </p:spPr>
        <p:txBody>
          <a:bodyPr vert="horz" lIns="90000" tIns="46800" rIns="90000" bIns="46800" rtlCol="0" anchor="t">
            <a:noAutofit/>
          </a:bodyPr>
          <a:lstStyle/>
          <a:p>
            <a:pPr>
              <a:lnSpc>
                <a:spcPts val="4200"/>
              </a:lnSpc>
            </a:pPr>
            <a:r>
              <a:rPr lang="nl-NL" sz="2800" b="1" dirty="0">
                <a:solidFill>
                  <a:srgbClr val="92D5AC"/>
                </a:solidFill>
                <a:latin typeface="Open Sans" panose="020B0606030504020204" pitchFamily="34" charset="0"/>
              </a:rPr>
              <a:t>Op weg naar een toekomstbestendig </a:t>
            </a:r>
            <a:br>
              <a:rPr lang="nl-NL" sz="2800" b="1" dirty="0">
                <a:solidFill>
                  <a:srgbClr val="92D5AC"/>
                </a:solidFill>
                <a:latin typeface="Open Sans" panose="020B0606030504020204" pitchFamily="34" charset="0"/>
              </a:rPr>
            </a:br>
            <a:r>
              <a:rPr lang="nl-NL" sz="2800" b="1" dirty="0">
                <a:solidFill>
                  <a:srgbClr val="92D5AC"/>
                </a:solidFill>
                <a:latin typeface="Open Sans" panose="020B0606030504020204" pitchFamily="34" charset="0"/>
              </a:rPr>
              <a:t>dorpshart van Leusden!</a:t>
            </a:r>
          </a:p>
        </p:txBody>
      </p:sp>
      <p:sp>
        <p:nvSpPr>
          <p:cNvPr id="31" name="Subtitel">
            <a:extLst>
              <a:ext uri="{FF2B5EF4-FFF2-40B4-BE49-F238E27FC236}">
                <a16:creationId xmlns:a16="http://schemas.microsoft.com/office/drawing/2014/main" id="{720D9DCD-F8BC-4819-8D26-BC9A06D3AB19}"/>
              </a:ext>
            </a:extLst>
          </p:cNvPr>
          <p:cNvSpPr txBox="1"/>
          <p:nvPr>
            <p:custDataLst>
              <p:tags r:id="rId8"/>
            </p:custDataLst>
          </p:nvPr>
        </p:nvSpPr>
        <p:spPr>
          <a:xfrm>
            <a:off x="389926" y="5717836"/>
            <a:ext cx="5272686" cy="288558"/>
          </a:xfrm>
          <a:prstGeom prst="rect">
            <a:avLst/>
          </a:prstGeom>
          <a:noFill/>
        </p:spPr>
        <p:txBody>
          <a:bodyPr vert="horz" lIns="90000" tIns="46800" rIns="90000" bIns="46800" rtlCol="0" anchor="t">
            <a:noAutofit/>
          </a:bodyPr>
          <a:lstStyle/>
          <a:p>
            <a:pPr>
              <a:lnSpc>
                <a:spcPts val="1800"/>
              </a:lnSpc>
            </a:pPr>
            <a:r>
              <a:rPr lang="nl-NL" sz="1500" b="1" i="1">
                <a:solidFill>
                  <a:srgbClr val="FFFFFF"/>
                </a:solidFill>
                <a:latin typeface="Open Sans" panose="020B0606030504020204" pitchFamily="34" charset="0"/>
              </a:rPr>
              <a:t>Stakeholdersbijeenkomst 13 april</a:t>
            </a:r>
          </a:p>
        </p:txBody>
      </p:sp>
      <p:sp>
        <p:nvSpPr>
          <p:cNvPr id="32" name="Ondertitel">
            <a:extLst>
              <a:ext uri="{FF2B5EF4-FFF2-40B4-BE49-F238E27FC236}">
                <a16:creationId xmlns:a16="http://schemas.microsoft.com/office/drawing/2014/main" id="{DAFA1929-EA66-4644-A576-CCF65FCD3D6F}"/>
              </a:ext>
            </a:extLst>
          </p:cNvPr>
          <p:cNvSpPr txBox="1"/>
          <p:nvPr>
            <p:custDataLst>
              <p:tags r:id="rId9"/>
            </p:custDataLst>
          </p:nvPr>
        </p:nvSpPr>
        <p:spPr>
          <a:xfrm>
            <a:off x="602401" y="5941210"/>
            <a:ext cx="5400008" cy="360001"/>
          </a:xfrm>
          <a:prstGeom prst="rect">
            <a:avLst/>
          </a:prstGeom>
          <a:noFill/>
        </p:spPr>
        <p:txBody>
          <a:bodyPr vert="horz" lIns="90000" tIns="46800" rIns="90000" bIns="46800" rtlCol="0" anchor="t">
            <a:noAutofit/>
          </a:bodyPr>
          <a:lstStyle/>
          <a:p>
            <a:pPr>
              <a:lnSpc>
                <a:spcPts val="1800"/>
              </a:lnSpc>
            </a:pPr>
            <a:r>
              <a:rPr lang="nl-NL" sz="1500">
                <a:solidFill>
                  <a:srgbClr val="FFFFFF"/>
                </a:solidFill>
                <a:latin typeface="Open Sans Light" panose="020B0306030504020204" pitchFamily="34" charset="0"/>
              </a:rPr>
              <a:t> </a:t>
            </a:r>
          </a:p>
        </p:txBody>
      </p:sp>
    </p:spTree>
    <p:extLst>
      <p:ext uri="{BB962C8B-B14F-4D97-AF65-F5344CB8AC3E}">
        <p14:creationId xmlns:p14="http://schemas.microsoft.com/office/powerpoint/2010/main" val="278236761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2 Kolommen breed">
            <a:extLst>
              <a:ext uri="{FF2B5EF4-FFF2-40B4-BE49-F238E27FC236}">
                <a16:creationId xmlns:a16="http://schemas.microsoft.com/office/drawing/2014/main" id="{3E2F18E8-1E8F-44D9-8F38-C029E572887B}"/>
              </a:ext>
            </a:extLst>
          </p:cNvPr>
          <p:cNvSpPr txBox="1"/>
          <p:nvPr>
            <p:custDataLst>
              <p:tags r:id="rId1"/>
            </p:custDataLst>
          </p:nvPr>
        </p:nvSpPr>
        <p:spPr>
          <a:xfrm>
            <a:off x="1079321" y="1285876"/>
            <a:ext cx="4726056" cy="5375798"/>
          </a:xfrm>
          <a:prstGeom prst="rect">
            <a:avLst/>
          </a:prstGeom>
          <a:noFill/>
        </p:spPr>
        <p:txBody>
          <a:bodyPr vert="horz" lIns="0" tIns="0" rIns="0" bIns="0" rtlCol="0" anchor="t">
            <a:noAutofit/>
          </a:bodyPr>
          <a:lstStyle/>
          <a:p>
            <a:pPr lvl="0"/>
            <a:endParaRPr lang="nl-NL" sz="1600" b="1" dirty="0">
              <a:solidFill>
                <a:schemeClr val="accent3"/>
              </a:solidFill>
              <a:latin typeface="Open Sans" panose="020B0606030504020204"/>
            </a:endParaRPr>
          </a:p>
          <a:p>
            <a:pPr lvl="0"/>
            <a:r>
              <a:rPr lang="nl-NL" sz="1600" b="1" dirty="0">
                <a:solidFill>
                  <a:schemeClr val="accent3"/>
                </a:solidFill>
                <a:latin typeface="Open Sans" panose="020B0606030504020204"/>
              </a:rPr>
              <a:t>Detailhandel</a:t>
            </a:r>
          </a:p>
          <a:p>
            <a:pPr marL="285750" indent="-285750">
              <a:buFont typeface="Arial" panose="020B0604020202020204" pitchFamily="34" charset="0"/>
              <a:buChar char="•"/>
            </a:pPr>
            <a:r>
              <a:rPr lang="nl-NL" sz="1600" dirty="0">
                <a:latin typeface="Open Sans" panose="020B0606030504020204"/>
              </a:rPr>
              <a:t>De verwachting was dat de leegstand fors zou toenemen met een overschot aan winkels als gevolg; </a:t>
            </a:r>
          </a:p>
          <a:p>
            <a:pPr marL="285750" indent="-285750">
              <a:buFont typeface="Arial" panose="020B0604020202020204" pitchFamily="34" charset="0"/>
              <a:buChar char="•"/>
            </a:pPr>
            <a:endParaRPr lang="nl-NL" sz="1600" dirty="0">
              <a:latin typeface="Open Sans" panose="020B0606030504020204"/>
            </a:endParaRPr>
          </a:p>
          <a:p>
            <a:pPr marL="285750" indent="-285750">
              <a:buFont typeface="Arial" panose="020B0604020202020204" pitchFamily="34" charset="0"/>
              <a:buChar char="•"/>
            </a:pPr>
            <a:r>
              <a:rPr lang="nl-NL" sz="1600" dirty="0">
                <a:latin typeface="Open Sans" panose="020B0606030504020204"/>
              </a:rPr>
              <a:t>Deze ontwikkeling heeft niet doorgezet. Veel leegstaande winkelpanden zijn weer gevuld met detailhandel of, na verloop van tijd, met andere functies;</a:t>
            </a:r>
          </a:p>
          <a:p>
            <a:pPr marL="285750" indent="-285750">
              <a:buFont typeface="Arial" panose="020B0604020202020204" pitchFamily="34" charset="0"/>
              <a:buChar char="•"/>
            </a:pPr>
            <a:endParaRPr lang="nl-NL" sz="1600" dirty="0">
              <a:latin typeface="Open Sans" panose="020B0606030504020204"/>
            </a:endParaRPr>
          </a:p>
          <a:p>
            <a:pPr marL="285750" indent="-285750">
              <a:buFont typeface="Arial" panose="020B0604020202020204" pitchFamily="34" charset="0"/>
              <a:buChar char="•"/>
            </a:pPr>
            <a:r>
              <a:rPr lang="nl-NL" sz="1600" dirty="0">
                <a:latin typeface="Open Sans" panose="020B0606030504020204"/>
              </a:rPr>
              <a:t>Er blijft ook in de toekomst ruimte voor winkels in de Hamershof. </a:t>
            </a:r>
          </a:p>
          <a:p>
            <a:endParaRPr lang="nl-NL" sz="1600" dirty="0">
              <a:latin typeface="Open Sans" panose="020B0606030504020204"/>
            </a:endParaRPr>
          </a:p>
          <a:p>
            <a:endParaRPr lang="nl-NL" sz="1600" dirty="0">
              <a:latin typeface="Open Sans" panose="020B0606030504020204"/>
            </a:endParaRPr>
          </a:p>
          <a:p>
            <a:r>
              <a:rPr lang="nl-NL" sz="1600" b="1" dirty="0">
                <a:solidFill>
                  <a:schemeClr val="accent3"/>
                </a:solidFill>
                <a:latin typeface="Open Sans" panose="020B0606030504020204"/>
              </a:rPr>
              <a:t>Horeca</a:t>
            </a:r>
          </a:p>
          <a:p>
            <a:pPr marL="285750" lvl="0" indent="-285750">
              <a:buFont typeface="Arial" panose="020B0604020202020204" pitchFamily="34" charset="0"/>
              <a:buChar char="•"/>
            </a:pPr>
            <a:r>
              <a:rPr lang="nl-NL" sz="1600" dirty="0">
                <a:latin typeface="Open Sans" panose="020B0606030504020204"/>
              </a:rPr>
              <a:t>Er is beperkte ruimte voor meer horeca in de gemeente. Voornamelijk een kwalitatieve verbetering (onderscheidend vermogen). </a:t>
            </a:r>
            <a:endParaRPr lang="nl-NL" sz="1600" dirty="0"/>
          </a:p>
          <a:p>
            <a:pPr marL="285750" indent="-285750">
              <a:buFont typeface="Arial" panose="020B0604020202020204" pitchFamily="34" charset="0"/>
              <a:buChar char="•"/>
            </a:pPr>
            <a:endParaRPr lang="nl-NL" sz="1600" dirty="0">
              <a:latin typeface="Open Sans" panose="020B0606030504020204"/>
            </a:endParaRPr>
          </a:p>
          <a:p>
            <a:pPr marL="285750" lvl="0" indent="-285750">
              <a:buFont typeface="Arial" panose="020B0604020202020204" pitchFamily="34" charset="0"/>
              <a:buChar char="•"/>
            </a:pPr>
            <a:endParaRPr lang="nl-NL" sz="1600" dirty="0">
              <a:latin typeface="Open Sans" panose="020B0606030504020204"/>
            </a:endParaRPr>
          </a:p>
          <a:p>
            <a:pPr marL="285750" lvl="0" indent="-285750">
              <a:buFont typeface="Arial" panose="020B0604020202020204" pitchFamily="34" charset="0"/>
              <a:buChar char="•"/>
            </a:pPr>
            <a:endParaRPr lang="nl-NL" sz="1600" dirty="0"/>
          </a:p>
        </p:txBody>
      </p:sp>
      <p:sp>
        <p:nvSpPr>
          <p:cNvPr id="7" name="Paragraaf titel hoog">
            <a:extLst>
              <a:ext uri="{FF2B5EF4-FFF2-40B4-BE49-F238E27FC236}">
                <a16:creationId xmlns:a16="http://schemas.microsoft.com/office/drawing/2014/main" id="{C9E8354B-A67B-40AF-95D5-E1733ECB2E0A}"/>
              </a:ext>
            </a:extLst>
          </p:cNvPr>
          <p:cNvSpPr txBox="1"/>
          <p:nvPr>
            <p:custDataLst>
              <p:tags r:id="rId2"/>
            </p:custDataLst>
          </p:nvPr>
        </p:nvSpPr>
        <p:spPr>
          <a:xfrm>
            <a:off x="1080001" y="473386"/>
            <a:ext cx="9554131" cy="432001"/>
          </a:xfrm>
          <a:prstGeom prst="rect">
            <a:avLst/>
          </a:prstGeom>
          <a:noFill/>
        </p:spPr>
        <p:txBody>
          <a:bodyPr vert="horz" lIns="0" tIns="0" rIns="0" bIns="0" rtlCol="0" anchor="t">
            <a:noAutofit/>
          </a:bodyPr>
          <a:lstStyle/>
          <a:p>
            <a:pPr>
              <a:lnSpc>
                <a:spcPts val="3200"/>
              </a:lnSpc>
            </a:pPr>
            <a:r>
              <a:rPr lang="nl-NL" sz="3000" b="1" dirty="0">
                <a:solidFill>
                  <a:srgbClr val="62366E"/>
                </a:solidFill>
                <a:latin typeface="Open Sans"/>
              </a:rPr>
              <a:t>Is er ruimte voor meer functies? </a:t>
            </a:r>
          </a:p>
        </p:txBody>
      </p:sp>
      <p:sp>
        <p:nvSpPr>
          <p:cNvPr id="13" name="2 Kolommen breed">
            <a:extLst>
              <a:ext uri="{FF2B5EF4-FFF2-40B4-BE49-F238E27FC236}">
                <a16:creationId xmlns:a16="http://schemas.microsoft.com/office/drawing/2014/main" id="{1FB4C8EE-EB18-48DF-A367-A3BCFF1F7A71}"/>
              </a:ext>
            </a:extLst>
          </p:cNvPr>
          <p:cNvSpPr txBox="1"/>
          <p:nvPr>
            <p:custDataLst>
              <p:tags r:id="rId3"/>
            </p:custDataLst>
          </p:nvPr>
        </p:nvSpPr>
        <p:spPr>
          <a:xfrm>
            <a:off x="6469756" y="1283650"/>
            <a:ext cx="5349062" cy="4992361"/>
          </a:xfrm>
          <a:prstGeom prst="rect">
            <a:avLst/>
          </a:prstGeom>
          <a:noFill/>
        </p:spPr>
        <p:txBody>
          <a:bodyPr vert="horz" lIns="0" tIns="0" rIns="0" bIns="0" rtlCol="0" anchor="t">
            <a:noAutofit/>
          </a:bodyPr>
          <a:lstStyle/>
          <a:p>
            <a:pPr marL="285750" lvl="0" indent="-285750">
              <a:buFontTx/>
              <a:buChar char="-"/>
            </a:pPr>
            <a:endParaRPr lang="nl-NL" sz="1600"/>
          </a:p>
        </p:txBody>
      </p:sp>
      <p:pic>
        <p:nvPicPr>
          <p:cNvPr id="14" name="Afbeelding 13">
            <a:extLst>
              <a:ext uri="{FF2B5EF4-FFF2-40B4-BE49-F238E27FC236}">
                <a16:creationId xmlns:a16="http://schemas.microsoft.com/office/drawing/2014/main" id="{26895924-DC7E-434C-AC4E-5E35B850CEBF}"/>
              </a:ext>
            </a:extLst>
          </p:cNvPr>
          <p:cNvPicPr>
            <a:picLocks noChangeAspect="1"/>
          </p:cNvPicPr>
          <p:nvPr/>
        </p:nvPicPr>
        <p:blipFill>
          <a:blip r:embed="rId8"/>
          <a:stretch>
            <a:fillRect/>
          </a:stretch>
        </p:blipFill>
        <p:spPr>
          <a:xfrm>
            <a:off x="7046716" y="1438670"/>
            <a:ext cx="4750220" cy="3692426"/>
          </a:xfrm>
          <a:prstGeom prst="rect">
            <a:avLst/>
          </a:prstGeom>
        </p:spPr>
      </p:pic>
      <p:sp>
        <p:nvSpPr>
          <p:cNvPr id="16" name="Rechthoek 15">
            <a:extLst>
              <a:ext uri="{FF2B5EF4-FFF2-40B4-BE49-F238E27FC236}">
                <a16:creationId xmlns:a16="http://schemas.microsoft.com/office/drawing/2014/main" id="{E4D11233-E483-49C6-A937-084D6026D335}"/>
              </a:ext>
            </a:extLst>
          </p:cNvPr>
          <p:cNvSpPr/>
          <p:nvPr/>
        </p:nvSpPr>
        <p:spPr>
          <a:xfrm>
            <a:off x="7542436" y="4468747"/>
            <a:ext cx="4119880" cy="33941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7" name="Tekstvak 16">
            <a:extLst>
              <a:ext uri="{FF2B5EF4-FFF2-40B4-BE49-F238E27FC236}">
                <a16:creationId xmlns:a16="http://schemas.microsoft.com/office/drawing/2014/main" id="{92FD873E-ECD1-4C89-8943-032ABA214C8B}"/>
              </a:ext>
            </a:extLst>
          </p:cNvPr>
          <p:cNvSpPr txBox="1"/>
          <p:nvPr/>
        </p:nvSpPr>
        <p:spPr>
          <a:xfrm>
            <a:off x="8599092" y="4390902"/>
            <a:ext cx="949944" cy="261610"/>
          </a:xfrm>
          <a:prstGeom prst="rect">
            <a:avLst/>
          </a:prstGeom>
          <a:noFill/>
        </p:spPr>
        <p:txBody>
          <a:bodyPr wrap="square" rtlCol="0">
            <a:spAutoFit/>
          </a:bodyPr>
          <a:lstStyle/>
          <a:p>
            <a:r>
              <a:rPr lang="nl-NL" sz="1100">
                <a:latin typeface="Calibri" panose="020F0502020204030204" pitchFamily="34" charset="0"/>
                <a:cs typeface="Calibri" panose="020F0502020204030204" pitchFamily="34" charset="0"/>
              </a:rPr>
              <a:t>Restaurants</a:t>
            </a:r>
          </a:p>
        </p:txBody>
      </p:sp>
      <p:sp>
        <p:nvSpPr>
          <p:cNvPr id="18" name="Tekstvak 17">
            <a:extLst>
              <a:ext uri="{FF2B5EF4-FFF2-40B4-BE49-F238E27FC236}">
                <a16:creationId xmlns:a16="http://schemas.microsoft.com/office/drawing/2014/main" id="{D6F4912B-BAA0-44A1-B903-70F64847FF0C}"/>
              </a:ext>
            </a:extLst>
          </p:cNvPr>
          <p:cNvSpPr txBox="1"/>
          <p:nvPr/>
        </p:nvSpPr>
        <p:spPr>
          <a:xfrm>
            <a:off x="9655748" y="4391660"/>
            <a:ext cx="949944" cy="261610"/>
          </a:xfrm>
          <a:prstGeom prst="rect">
            <a:avLst/>
          </a:prstGeom>
          <a:noFill/>
        </p:spPr>
        <p:txBody>
          <a:bodyPr wrap="square" rtlCol="0">
            <a:spAutoFit/>
          </a:bodyPr>
          <a:lstStyle/>
          <a:p>
            <a:r>
              <a:rPr lang="nl-NL" sz="1100">
                <a:latin typeface="Calibri" panose="020F0502020204030204" pitchFamily="34" charset="0"/>
                <a:cs typeface="Calibri" panose="020F0502020204030204" pitchFamily="34" charset="0"/>
              </a:rPr>
              <a:t>Fastservice</a:t>
            </a:r>
          </a:p>
        </p:txBody>
      </p:sp>
      <p:sp>
        <p:nvSpPr>
          <p:cNvPr id="19" name="Rechthoek 18">
            <a:extLst>
              <a:ext uri="{FF2B5EF4-FFF2-40B4-BE49-F238E27FC236}">
                <a16:creationId xmlns:a16="http://schemas.microsoft.com/office/drawing/2014/main" id="{5A37FA35-F219-4A70-8224-24F38978DFFC}"/>
              </a:ext>
            </a:extLst>
          </p:cNvPr>
          <p:cNvSpPr/>
          <p:nvPr/>
        </p:nvSpPr>
        <p:spPr>
          <a:xfrm>
            <a:off x="10712403" y="1669312"/>
            <a:ext cx="1053275" cy="312266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0" name="Tekstvak 19">
            <a:extLst>
              <a:ext uri="{FF2B5EF4-FFF2-40B4-BE49-F238E27FC236}">
                <a16:creationId xmlns:a16="http://schemas.microsoft.com/office/drawing/2014/main" id="{139D56C7-0B64-443C-9188-BCBEB5A7F4E2}"/>
              </a:ext>
            </a:extLst>
          </p:cNvPr>
          <p:cNvSpPr txBox="1"/>
          <p:nvPr/>
        </p:nvSpPr>
        <p:spPr>
          <a:xfrm>
            <a:off x="7514528" y="4390902"/>
            <a:ext cx="949944" cy="261610"/>
          </a:xfrm>
          <a:prstGeom prst="rect">
            <a:avLst/>
          </a:prstGeom>
          <a:noFill/>
        </p:spPr>
        <p:txBody>
          <a:bodyPr wrap="square" rtlCol="0">
            <a:spAutoFit/>
          </a:bodyPr>
          <a:lstStyle/>
          <a:p>
            <a:r>
              <a:rPr lang="nl-NL" sz="1100">
                <a:latin typeface="Calibri" panose="020F0502020204030204" pitchFamily="34" charset="0"/>
                <a:cs typeface="Calibri" panose="020F0502020204030204" pitchFamily="34" charset="0"/>
              </a:rPr>
              <a:t>Dranken</a:t>
            </a:r>
          </a:p>
        </p:txBody>
      </p:sp>
      <p:sp>
        <p:nvSpPr>
          <p:cNvPr id="8" name="Paginanummer Seinpost">
            <a:extLst>
              <a:ext uri="{FF2B5EF4-FFF2-40B4-BE49-F238E27FC236}">
                <a16:creationId xmlns:a16="http://schemas.microsoft.com/office/drawing/2014/main" id="{CA13E79C-F9E1-4B83-BA85-60DF9D06CDDF}"/>
              </a:ext>
            </a:extLst>
          </p:cNvPr>
          <p:cNvSpPr txBox="1">
            <a:spLocks/>
          </p:cNvSpPr>
          <p:nvPr>
            <p:custDataLst>
              <p:tags r:id="rId4"/>
            </p:custDataLst>
          </p:nvPr>
        </p:nvSpPr>
        <p:spPr>
          <a:xfrm>
            <a:off x="11628018" y="252000"/>
            <a:ext cx="381601" cy="244800"/>
          </a:xfrm>
          <a:prstGeom prst="rect">
            <a:avLst/>
          </a:prstGeom>
          <a:noFill/>
        </p:spPr>
        <p:txBody>
          <a:bodyPr vert="horz" lIns="0" tIns="0" rIns="0" bIns="0" rtlCol="0" anchor="t">
            <a:noAutofit/>
          </a:bodyPr>
          <a:lstStyle/>
          <a:p>
            <a:pPr algn="ctr"/>
            <a:r>
              <a:rPr lang="nl-NL" sz="1000" b="1">
                <a:solidFill>
                  <a:srgbClr val="62366E"/>
                </a:solidFill>
                <a:latin typeface="Open Sans" panose="020B0606030504020204" pitchFamily="34" charset="0"/>
              </a:rPr>
              <a:t>11</a:t>
            </a:r>
          </a:p>
        </p:txBody>
      </p:sp>
      <p:pic>
        <p:nvPicPr>
          <p:cNvPr id="10" name="Paginanummer Seinpost">
            <a:extLst>
              <a:ext uri="{FF2B5EF4-FFF2-40B4-BE49-F238E27FC236}">
                <a16:creationId xmlns:a16="http://schemas.microsoft.com/office/drawing/2014/main" id="{FACAFE5E-0E35-4192-A1C3-28A1D168CF22}"/>
              </a:ext>
            </a:extLst>
          </p:cNvPr>
          <p:cNvPicPr>
            <a:picLocks noChangeAspect="1"/>
          </p:cNvPicPr>
          <p:nvPr>
            <p:custDataLst>
              <p:tags r:id="rId5"/>
            </p:custDataLst>
          </p:nvPr>
        </p:nvPicPr>
        <p:blipFill>
          <a:blip r:embed="rId9">
            <a:extLst>
              <a:ext uri="{28A0092B-C50C-407E-A947-70E740481C1C}">
                <a14:useLocalDpi xmlns:a14="http://schemas.microsoft.com/office/drawing/2010/main" val="0"/>
              </a:ext>
            </a:extLst>
          </a:blip>
          <a:stretch>
            <a:fillRect/>
          </a:stretch>
        </p:blipFill>
        <p:spPr>
          <a:xfrm>
            <a:off x="11674818" y="172800"/>
            <a:ext cx="298705" cy="289561"/>
          </a:xfrm>
          <a:prstGeom prst="rect">
            <a:avLst/>
          </a:prstGeom>
        </p:spPr>
      </p:pic>
      <p:sp>
        <p:nvSpPr>
          <p:cNvPr id="11" name="Paginanummer Seinpost">
            <a:extLst>
              <a:ext uri="{FF2B5EF4-FFF2-40B4-BE49-F238E27FC236}">
                <a16:creationId xmlns:a16="http://schemas.microsoft.com/office/drawing/2014/main" id="{C6DB0ACB-4B7D-4589-9397-66E37DB84334}"/>
              </a:ext>
            </a:extLst>
          </p:cNvPr>
          <p:cNvSpPr txBox="1">
            <a:spLocks/>
          </p:cNvSpPr>
          <p:nvPr>
            <p:custDataLst>
              <p:tags r:id="rId6"/>
            </p:custDataLst>
          </p:nvPr>
        </p:nvSpPr>
        <p:spPr>
          <a:xfrm>
            <a:off x="11628018" y="252000"/>
            <a:ext cx="381601" cy="244800"/>
          </a:xfrm>
          <a:prstGeom prst="rect">
            <a:avLst/>
          </a:prstGeom>
          <a:noFill/>
        </p:spPr>
        <p:txBody>
          <a:bodyPr vert="horz" lIns="0" tIns="0" rIns="0" bIns="0" rtlCol="0" anchor="t">
            <a:noAutofit/>
          </a:bodyPr>
          <a:lstStyle/>
          <a:p>
            <a:pPr algn="ctr"/>
            <a:r>
              <a:rPr lang="nl-NL" sz="1000" b="1">
                <a:solidFill>
                  <a:srgbClr val="62366E"/>
                </a:solidFill>
                <a:latin typeface="Open Sans" panose="020B0606030504020204" pitchFamily="34" charset="0"/>
              </a:rPr>
              <a:t>10</a:t>
            </a:r>
          </a:p>
        </p:txBody>
      </p:sp>
    </p:spTree>
    <p:extLst>
      <p:ext uri="{BB962C8B-B14F-4D97-AF65-F5344CB8AC3E}">
        <p14:creationId xmlns:p14="http://schemas.microsoft.com/office/powerpoint/2010/main" val="181510680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1 Kolom breed links hoog">
            <a:extLst>
              <a:ext uri="{FF2B5EF4-FFF2-40B4-BE49-F238E27FC236}">
                <a16:creationId xmlns:a16="http://schemas.microsoft.com/office/drawing/2014/main" id="{F2549EDC-0CA3-4C33-98CB-10BA785DA3A0}"/>
              </a:ext>
            </a:extLst>
          </p:cNvPr>
          <p:cNvSpPr txBox="1"/>
          <p:nvPr>
            <p:custDataLst>
              <p:tags r:id="rId1"/>
            </p:custDataLst>
          </p:nvPr>
        </p:nvSpPr>
        <p:spPr>
          <a:xfrm>
            <a:off x="997057" y="1492959"/>
            <a:ext cx="5091530" cy="4680007"/>
          </a:xfrm>
          <a:prstGeom prst="rect">
            <a:avLst/>
          </a:prstGeom>
          <a:noFill/>
        </p:spPr>
        <p:txBody>
          <a:bodyPr vert="horz" lIns="0" tIns="0" rIns="0" bIns="0" rtlCol="0" anchor="t">
            <a:noAutofit/>
          </a:bodyPr>
          <a:lstStyle/>
          <a:p>
            <a:pPr lvl="0"/>
            <a:r>
              <a:rPr lang="nl-NL" sz="1700" b="1" dirty="0">
                <a:latin typeface="Open Sans" panose="020B0606030504020204"/>
              </a:rPr>
              <a:t>STERK/KANS </a:t>
            </a:r>
          </a:p>
          <a:p>
            <a:pPr lvl="0"/>
            <a:endParaRPr lang="nl-NL" sz="1700" dirty="0">
              <a:latin typeface="Open Sans" panose="020B0606030504020204"/>
            </a:endParaRPr>
          </a:p>
          <a:p>
            <a:endParaRPr lang="nl-NL" sz="1600" dirty="0">
              <a:latin typeface="Open Sans" panose="020B0606030504020204"/>
            </a:endParaRPr>
          </a:p>
          <a:p>
            <a:pPr marL="285750" indent="-285750">
              <a:buFont typeface="Arial" panose="020B0604020202020204" pitchFamily="34" charset="0"/>
              <a:buChar char="•"/>
            </a:pPr>
            <a:r>
              <a:rPr lang="nl-NL" sz="1600" dirty="0">
                <a:latin typeface="Open Sans" panose="020B0606030504020204"/>
              </a:rPr>
              <a:t>Zowel ondernemers en consumenten zijn </a:t>
            </a:r>
            <a:r>
              <a:rPr lang="nl-NL" sz="1600" b="1" dirty="0">
                <a:latin typeface="Open Sans" panose="020B0606030504020204"/>
              </a:rPr>
              <a:t>tevreden over de renovatie</a:t>
            </a:r>
            <a:r>
              <a:rPr lang="nl-NL" sz="1600" dirty="0">
                <a:latin typeface="Open Sans" panose="020B0606030504020204"/>
              </a:rPr>
              <a:t>; het gaat nu (relatief) goed met de Hamershof, maar leegstand kan de komende periode weer toenemen; </a:t>
            </a:r>
          </a:p>
          <a:p>
            <a:endParaRPr lang="nl-NL" sz="1600" dirty="0">
              <a:latin typeface="Open Sans" panose="020B0606030504020204"/>
            </a:endParaRPr>
          </a:p>
          <a:p>
            <a:endParaRPr lang="nl-NL" sz="1600" dirty="0">
              <a:latin typeface="Open Sans" panose="020B0606030504020204"/>
            </a:endParaRPr>
          </a:p>
          <a:p>
            <a:pPr marL="285750" indent="-285750">
              <a:buFont typeface="Arial" panose="020B0604020202020204" pitchFamily="34" charset="0"/>
              <a:buChar char="•"/>
            </a:pPr>
            <a:r>
              <a:rPr lang="nl-NL" sz="1600" dirty="0">
                <a:latin typeface="Open Sans" panose="020B0606030504020204"/>
              </a:rPr>
              <a:t>De Hamershof heeft een duidelijke hoofdstructuur: </a:t>
            </a:r>
            <a:r>
              <a:rPr lang="nl-NL" sz="1600" b="1" dirty="0">
                <a:latin typeface="Open Sans" panose="020B0606030504020204"/>
              </a:rPr>
              <a:t>twee boodschappenclusters</a:t>
            </a:r>
            <a:r>
              <a:rPr lang="nl-NL" sz="1600" dirty="0">
                <a:latin typeface="Open Sans" panose="020B0606030504020204"/>
              </a:rPr>
              <a:t> en </a:t>
            </a:r>
            <a:r>
              <a:rPr lang="nl-NL" sz="1600" b="1" dirty="0">
                <a:latin typeface="Open Sans" panose="020B0606030504020204"/>
              </a:rPr>
              <a:t>één krachtige </a:t>
            </a:r>
            <a:r>
              <a:rPr lang="nl-NL" sz="1600" b="1" dirty="0" err="1">
                <a:latin typeface="Open Sans" panose="020B0606030504020204"/>
              </a:rPr>
              <a:t>verbindingsas</a:t>
            </a:r>
            <a:r>
              <a:rPr lang="nl-NL" sz="1600" b="1" dirty="0">
                <a:latin typeface="Open Sans" panose="020B0606030504020204"/>
              </a:rPr>
              <a:t>. </a:t>
            </a:r>
          </a:p>
          <a:p>
            <a:endParaRPr lang="nl-NL" sz="1600" dirty="0">
              <a:solidFill>
                <a:srgbClr val="000000"/>
              </a:solidFill>
              <a:latin typeface="Open Sans" panose="020B0606030504020204"/>
            </a:endParaRPr>
          </a:p>
          <a:p>
            <a:endParaRPr lang="nl-NL" sz="1600" dirty="0">
              <a:solidFill>
                <a:srgbClr val="000000"/>
              </a:solidFill>
              <a:latin typeface="Open Sans" panose="020B0606030504020204"/>
            </a:endParaRPr>
          </a:p>
          <a:p>
            <a:pPr marL="285750" indent="-285750">
              <a:buFont typeface="Arial" panose="020B0604020202020204" pitchFamily="34" charset="0"/>
              <a:buChar char="•"/>
            </a:pPr>
            <a:r>
              <a:rPr lang="nl-NL" sz="1600" dirty="0">
                <a:latin typeface="Open Sans" panose="020B0606030504020204"/>
              </a:rPr>
              <a:t>De Kooikersgracht heeft de potentie zich als verblijfsgebied sterker te positioneren;</a:t>
            </a:r>
          </a:p>
          <a:p>
            <a:pPr marL="285750" indent="-285750">
              <a:buFont typeface="Arial" panose="020B0604020202020204" pitchFamily="34" charset="0"/>
              <a:buChar char="•"/>
            </a:pPr>
            <a:endParaRPr lang="nl-NL" sz="1600" dirty="0">
              <a:latin typeface="Open Sans" panose="020B0606030504020204"/>
            </a:endParaRPr>
          </a:p>
          <a:p>
            <a:pPr marL="285750" indent="-285750">
              <a:buFont typeface="Arial" panose="020B0604020202020204" pitchFamily="34" charset="0"/>
              <a:buChar char="•"/>
            </a:pPr>
            <a:endParaRPr lang="nl-NL" sz="1600" dirty="0">
              <a:latin typeface="Open Sans" panose="020B0606030504020204"/>
            </a:endParaRPr>
          </a:p>
          <a:p>
            <a:pPr marL="285750" indent="-285750">
              <a:buFont typeface="Arial" panose="020B0604020202020204" pitchFamily="34" charset="0"/>
              <a:buChar char="•"/>
            </a:pPr>
            <a:endParaRPr lang="nl-NL" sz="1600" dirty="0">
              <a:latin typeface="Open Sans" panose="020B0606030504020204"/>
            </a:endParaRPr>
          </a:p>
          <a:p>
            <a:endParaRPr lang="nl-NL" sz="1400" dirty="0">
              <a:solidFill>
                <a:srgbClr val="FF0000"/>
              </a:solidFill>
              <a:latin typeface="Open Sans" panose="020B0606030504020204"/>
              <a:ea typeface="Open Sans"/>
              <a:cs typeface="Open Sans"/>
            </a:endParaRPr>
          </a:p>
          <a:p>
            <a:pPr marL="228600" lvl="1" indent="-228600">
              <a:lnSpc>
                <a:spcPct val="150000"/>
              </a:lnSpc>
              <a:buClr>
                <a:srgbClr val="000000"/>
              </a:buClr>
              <a:buSzPct val="100000"/>
              <a:buFontTx/>
              <a:buChar char="•"/>
            </a:pPr>
            <a:endParaRPr lang="nl-NL" sz="1400" dirty="0">
              <a:latin typeface="Open Sans" panose="020B0606030504020204"/>
            </a:endParaRPr>
          </a:p>
          <a:p>
            <a:pPr marL="285750" lvl="0" indent="-285750">
              <a:buFont typeface="Arial" panose="020B0604020202020204" pitchFamily="34" charset="0"/>
              <a:buChar char="•"/>
            </a:pPr>
            <a:endParaRPr lang="nl-NL" sz="1400" dirty="0">
              <a:latin typeface="Open Sans" panose="020B0606030504020204"/>
            </a:endParaRPr>
          </a:p>
          <a:p>
            <a:pPr marL="285750" lvl="0" indent="-285750">
              <a:buFont typeface="Arial" panose="020B0604020202020204" pitchFamily="34" charset="0"/>
              <a:buChar char="•"/>
            </a:pPr>
            <a:endParaRPr lang="nl-NL" sz="1400" dirty="0">
              <a:latin typeface="Open Sans" panose="020B0606030504020204"/>
            </a:endParaRPr>
          </a:p>
          <a:p>
            <a:pPr marL="228600" lvl="1" indent="-228600">
              <a:lnSpc>
                <a:spcPct val="150000"/>
              </a:lnSpc>
              <a:buClr>
                <a:srgbClr val="000000"/>
              </a:buClr>
              <a:buSzPct val="100000"/>
              <a:buChar char="•"/>
            </a:pPr>
            <a:endParaRPr lang="nl-NL" sz="1700" dirty="0">
              <a:solidFill>
                <a:srgbClr val="000000"/>
              </a:solidFill>
              <a:latin typeface="Open Sans" panose="020B0606030504020204"/>
            </a:endParaRPr>
          </a:p>
        </p:txBody>
      </p:sp>
      <p:sp>
        <p:nvSpPr>
          <p:cNvPr id="28" name="Paragraaf titel hoog">
            <a:extLst>
              <a:ext uri="{FF2B5EF4-FFF2-40B4-BE49-F238E27FC236}">
                <a16:creationId xmlns:a16="http://schemas.microsoft.com/office/drawing/2014/main" id="{BA50999A-07FE-433F-90F7-6EA870EA7E4A}"/>
              </a:ext>
            </a:extLst>
          </p:cNvPr>
          <p:cNvSpPr txBox="1"/>
          <p:nvPr>
            <p:custDataLst>
              <p:tags r:id="rId2"/>
            </p:custDataLst>
          </p:nvPr>
        </p:nvSpPr>
        <p:spPr>
          <a:xfrm>
            <a:off x="1080001" y="473386"/>
            <a:ext cx="9554131" cy="432001"/>
          </a:xfrm>
          <a:prstGeom prst="rect">
            <a:avLst/>
          </a:prstGeom>
          <a:noFill/>
        </p:spPr>
        <p:txBody>
          <a:bodyPr vert="horz" lIns="0" tIns="0" rIns="0" bIns="0" rtlCol="0" anchor="t">
            <a:noAutofit/>
          </a:bodyPr>
          <a:lstStyle/>
          <a:p>
            <a:pPr>
              <a:lnSpc>
                <a:spcPts val="3200"/>
              </a:lnSpc>
            </a:pPr>
            <a:r>
              <a:rPr lang="nl-NL" sz="3000" b="1" dirty="0">
                <a:solidFill>
                  <a:srgbClr val="62366E"/>
                </a:solidFill>
                <a:latin typeface="Open Sans"/>
              </a:rPr>
              <a:t>Belangrijkste conclusies en aandachtspunten  </a:t>
            </a:r>
            <a:endParaRPr lang="nl-NL" sz="3000" b="1" dirty="0">
              <a:solidFill>
                <a:srgbClr val="62366E"/>
              </a:solidFill>
              <a:latin typeface="Open Sans" panose="020B0606030504020204" pitchFamily="34" charset="0"/>
            </a:endParaRPr>
          </a:p>
          <a:p>
            <a:pPr>
              <a:lnSpc>
                <a:spcPts val="3200"/>
              </a:lnSpc>
            </a:pPr>
            <a:r>
              <a:rPr lang="nl-NL" sz="2400" b="1" dirty="0">
                <a:solidFill>
                  <a:schemeClr val="accent3"/>
                </a:solidFill>
                <a:latin typeface="Open Sans" panose="020B0606030504020204" pitchFamily="34" charset="0"/>
              </a:rPr>
              <a:t>Op basis van alle onderzoeken</a:t>
            </a:r>
          </a:p>
        </p:txBody>
      </p:sp>
      <p:sp>
        <p:nvSpPr>
          <p:cNvPr id="8" name="1 Kolom breed links hoog">
            <a:extLst>
              <a:ext uri="{FF2B5EF4-FFF2-40B4-BE49-F238E27FC236}">
                <a16:creationId xmlns:a16="http://schemas.microsoft.com/office/drawing/2014/main" id="{2C91B6A1-3264-4362-8B09-19B4E8C09E47}"/>
              </a:ext>
            </a:extLst>
          </p:cNvPr>
          <p:cNvSpPr txBox="1"/>
          <p:nvPr>
            <p:custDataLst>
              <p:tags r:id="rId3"/>
            </p:custDataLst>
          </p:nvPr>
        </p:nvSpPr>
        <p:spPr>
          <a:xfrm>
            <a:off x="6526092" y="1492957"/>
            <a:ext cx="5371382" cy="4680007"/>
          </a:xfrm>
          <a:prstGeom prst="rect">
            <a:avLst/>
          </a:prstGeom>
          <a:noFill/>
        </p:spPr>
        <p:txBody>
          <a:bodyPr vert="horz" lIns="0" tIns="0" rIns="0" bIns="0" rtlCol="0" anchor="t">
            <a:noAutofit/>
          </a:bodyPr>
          <a:lstStyle/>
          <a:p>
            <a:pPr lvl="0"/>
            <a:r>
              <a:rPr lang="nl-NL" sz="1600" b="1" dirty="0">
                <a:latin typeface="Open Sans" panose="020B0606030504020204"/>
              </a:rPr>
              <a:t>ZWAK/BEDREIGING</a:t>
            </a:r>
          </a:p>
          <a:p>
            <a:pPr marL="285750" lvl="0" indent="-285750">
              <a:buFont typeface="Arial" panose="020B0604020202020204" pitchFamily="34" charset="0"/>
              <a:buChar char="•"/>
            </a:pPr>
            <a:endParaRPr lang="nl-NL" sz="1600" dirty="0">
              <a:latin typeface="Open Sans" panose="020B0606030504020204"/>
            </a:endParaRPr>
          </a:p>
          <a:p>
            <a:pPr marL="285750" indent="-285750">
              <a:buFont typeface="Arial" panose="020B0604020202020204" pitchFamily="34" charset="0"/>
              <a:buChar char="•"/>
            </a:pPr>
            <a:endParaRPr lang="nl-NL" sz="1600" dirty="0">
              <a:solidFill>
                <a:srgbClr val="000000"/>
              </a:solidFill>
              <a:latin typeface="Open Sans" panose="020B0606030504020204"/>
            </a:endParaRPr>
          </a:p>
          <a:p>
            <a:pPr marL="285750" indent="-285750">
              <a:buFont typeface="Arial" panose="020B0604020202020204" pitchFamily="34" charset="0"/>
              <a:buChar char="•"/>
            </a:pPr>
            <a:r>
              <a:rPr lang="nl-NL" sz="1600" dirty="0">
                <a:solidFill>
                  <a:srgbClr val="000000"/>
                </a:solidFill>
                <a:latin typeface="Open Sans" panose="020B0606030504020204"/>
              </a:rPr>
              <a:t>Zwakke Oost-West as;</a:t>
            </a:r>
          </a:p>
          <a:p>
            <a:pPr marL="285750" indent="-285750">
              <a:buFont typeface="Arial" panose="020B0604020202020204" pitchFamily="34" charset="0"/>
              <a:buChar char="•"/>
            </a:pPr>
            <a:endParaRPr lang="nl-NL" sz="1600" dirty="0">
              <a:solidFill>
                <a:srgbClr val="000000"/>
              </a:solidFill>
              <a:latin typeface="Open Sans" panose="020B0606030504020204"/>
            </a:endParaRPr>
          </a:p>
          <a:p>
            <a:pPr marL="285750" indent="-285750">
              <a:buFont typeface="Arial" panose="020B0604020202020204" pitchFamily="34" charset="0"/>
              <a:buChar char="•"/>
            </a:pPr>
            <a:endParaRPr lang="nl-NL" sz="1600" dirty="0">
              <a:solidFill>
                <a:srgbClr val="000000"/>
              </a:solidFill>
              <a:latin typeface="Open Sans" panose="020B0606030504020204"/>
            </a:endParaRPr>
          </a:p>
          <a:p>
            <a:pPr marL="285750" indent="-285750">
              <a:buFont typeface="Arial" panose="020B0604020202020204" pitchFamily="34" charset="0"/>
              <a:buChar char="•"/>
            </a:pPr>
            <a:r>
              <a:rPr lang="nl-NL" sz="1600" dirty="0">
                <a:latin typeface="Open Sans" panose="020B0606030504020204"/>
              </a:rPr>
              <a:t>Consumenten bezoeken het centrum niet als een recreatief winkelgebied. Hamershof wordt vooral </a:t>
            </a:r>
            <a:r>
              <a:rPr lang="nl-NL" sz="1600" b="1" dirty="0">
                <a:latin typeface="Open Sans" panose="020B0606030504020204"/>
              </a:rPr>
              <a:t>doelgericht</a:t>
            </a:r>
            <a:r>
              <a:rPr lang="nl-NL" sz="1600" dirty="0">
                <a:latin typeface="Open Sans" panose="020B0606030504020204"/>
              </a:rPr>
              <a:t> bezocht; </a:t>
            </a:r>
          </a:p>
          <a:p>
            <a:pPr marL="285750" indent="-285750">
              <a:buFont typeface="Arial" panose="020B0604020202020204" pitchFamily="34" charset="0"/>
              <a:buChar char="•"/>
            </a:pPr>
            <a:endParaRPr lang="nl-NL" sz="1600" dirty="0">
              <a:latin typeface="Open Sans" panose="020B0606030504020204"/>
            </a:endParaRPr>
          </a:p>
          <a:p>
            <a:pPr marL="285750" indent="-285750">
              <a:buFont typeface="Arial" panose="020B0604020202020204" pitchFamily="34" charset="0"/>
              <a:buChar char="•"/>
            </a:pPr>
            <a:endParaRPr lang="nl-NL" sz="1600" dirty="0">
              <a:latin typeface="Open Sans" panose="020B0606030504020204"/>
            </a:endParaRPr>
          </a:p>
          <a:p>
            <a:pPr marL="285750" indent="-285750">
              <a:buFont typeface="Arial" panose="020B0604020202020204" pitchFamily="34" charset="0"/>
              <a:buChar char="•"/>
            </a:pPr>
            <a:r>
              <a:rPr lang="nl-NL" sz="1600" b="1" dirty="0">
                <a:latin typeface="Open Sans" panose="020B0606030504020204"/>
              </a:rPr>
              <a:t>De passage vraagt om aandacht</a:t>
            </a:r>
            <a:r>
              <a:rPr lang="nl-NL" sz="1600" dirty="0">
                <a:latin typeface="Open Sans" panose="020B0606030504020204"/>
              </a:rPr>
              <a:t>. De passage is vrij donker, veel van de zelfde winkels en enigszins unheimisch (niet prettig winkelen);</a:t>
            </a:r>
          </a:p>
          <a:p>
            <a:pPr marL="285750" indent="-285750">
              <a:buFont typeface="Arial" panose="020B0604020202020204" pitchFamily="34" charset="0"/>
              <a:buChar char="•"/>
            </a:pPr>
            <a:endParaRPr lang="nl-NL" sz="1600" dirty="0">
              <a:latin typeface="Open Sans" panose="020B0606030504020204"/>
            </a:endParaRPr>
          </a:p>
          <a:p>
            <a:pPr marL="285750" lvl="0" indent="-285750">
              <a:buFont typeface="Arial" panose="020B0604020202020204" pitchFamily="34" charset="0"/>
              <a:buChar char="•"/>
            </a:pPr>
            <a:endParaRPr lang="nl-NL" sz="1600" dirty="0">
              <a:solidFill>
                <a:srgbClr val="000000"/>
              </a:solidFill>
              <a:latin typeface="Open Sans" panose="020B0606030504020204"/>
            </a:endParaRPr>
          </a:p>
          <a:p>
            <a:pPr marL="285750" indent="-285750">
              <a:buFont typeface="Arial" panose="020B0604020202020204" pitchFamily="34" charset="0"/>
              <a:buChar char="•"/>
            </a:pPr>
            <a:endParaRPr lang="nl-NL" sz="1600" dirty="0">
              <a:latin typeface="Open Sans" panose="020B0606030504020204"/>
            </a:endParaRPr>
          </a:p>
          <a:p>
            <a:pPr marL="285750" indent="-285750">
              <a:buFont typeface="Arial" panose="020B0604020202020204" pitchFamily="34" charset="0"/>
              <a:buChar char="•"/>
            </a:pPr>
            <a:endParaRPr lang="nl-NL" sz="1600" dirty="0">
              <a:latin typeface="Open Sans" panose="020B0606030504020204"/>
            </a:endParaRPr>
          </a:p>
          <a:p>
            <a:pPr marL="285750" indent="-285750">
              <a:buFont typeface="Arial" panose="020B0604020202020204" pitchFamily="34" charset="0"/>
              <a:buChar char="•"/>
            </a:pPr>
            <a:endParaRPr lang="nl-NL" sz="1600" dirty="0">
              <a:latin typeface="Open Sans" panose="020B0606030504020204"/>
            </a:endParaRPr>
          </a:p>
          <a:p>
            <a:pPr marL="0" lvl="1">
              <a:buClr>
                <a:srgbClr val="000000"/>
              </a:buClr>
              <a:buSzPct val="100000"/>
            </a:pPr>
            <a:endParaRPr lang="nl-NL" sz="1400" dirty="0">
              <a:latin typeface="Open Sans" panose="020B0606030504020204"/>
            </a:endParaRPr>
          </a:p>
          <a:p>
            <a:pPr marL="228600" lvl="1" indent="-228600">
              <a:lnSpc>
                <a:spcPct val="150000"/>
              </a:lnSpc>
              <a:buClr>
                <a:srgbClr val="000000"/>
              </a:buClr>
              <a:buSzPct val="100000"/>
              <a:buFontTx/>
              <a:buChar char="•"/>
            </a:pPr>
            <a:endParaRPr lang="nl-NL" sz="1400" dirty="0">
              <a:latin typeface="Open Sans" panose="020B0606030504020204"/>
            </a:endParaRPr>
          </a:p>
          <a:p>
            <a:pPr marL="285750" lvl="0" indent="-285750">
              <a:buFont typeface="Arial" panose="020B0604020202020204" pitchFamily="34" charset="0"/>
              <a:buChar char="•"/>
            </a:pPr>
            <a:endParaRPr lang="nl-NL" sz="1400" dirty="0">
              <a:latin typeface="Open Sans" panose="020B0606030504020204"/>
            </a:endParaRPr>
          </a:p>
        </p:txBody>
      </p:sp>
      <p:sp>
        <p:nvSpPr>
          <p:cNvPr id="9" name="Paginanummer Seinpost">
            <a:extLst>
              <a:ext uri="{FF2B5EF4-FFF2-40B4-BE49-F238E27FC236}">
                <a16:creationId xmlns:a16="http://schemas.microsoft.com/office/drawing/2014/main" id="{B3BBD4C2-22D3-44C0-8E6E-86E5224D4725}"/>
              </a:ext>
            </a:extLst>
          </p:cNvPr>
          <p:cNvSpPr txBox="1">
            <a:spLocks/>
          </p:cNvSpPr>
          <p:nvPr>
            <p:custDataLst>
              <p:tags r:id="rId4"/>
            </p:custDataLst>
          </p:nvPr>
        </p:nvSpPr>
        <p:spPr>
          <a:xfrm>
            <a:off x="11628018" y="252000"/>
            <a:ext cx="381601" cy="244800"/>
          </a:xfrm>
          <a:prstGeom prst="rect">
            <a:avLst/>
          </a:prstGeom>
          <a:noFill/>
        </p:spPr>
        <p:txBody>
          <a:bodyPr vert="horz" lIns="0" tIns="0" rIns="0" bIns="0" rtlCol="0" anchor="t">
            <a:noAutofit/>
          </a:bodyPr>
          <a:lstStyle/>
          <a:p>
            <a:pPr algn="ctr"/>
            <a:r>
              <a:rPr lang="nl-NL" sz="1000" b="1">
                <a:solidFill>
                  <a:srgbClr val="62366E"/>
                </a:solidFill>
                <a:latin typeface="Open Sans" panose="020B0606030504020204" pitchFamily="34" charset="0"/>
              </a:rPr>
              <a:t>12</a:t>
            </a:r>
          </a:p>
        </p:txBody>
      </p:sp>
      <p:pic>
        <p:nvPicPr>
          <p:cNvPr id="11" name="Paginanummer Seinpost">
            <a:extLst>
              <a:ext uri="{FF2B5EF4-FFF2-40B4-BE49-F238E27FC236}">
                <a16:creationId xmlns:a16="http://schemas.microsoft.com/office/drawing/2014/main" id="{C8959803-21A5-494D-A196-E64006C95A2A}"/>
              </a:ext>
            </a:extLst>
          </p:cNvPr>
          <p:cNvPicPr>
            <a:picLocks noChangeAspect="1"/>
          </p:cNvPicPr>
          <p:nvPr>
            <p:custDataLst>
              <p:tags r:id="rId5"/>
            </p:custDataLst>
          </p:nvPr>
        </p:nvPicPr>
        <p:blipFill>
          <a:blip r:embed="rId8">
            <a:extLst>
              <a:ext uri="{28A0092B-C50C-407E-A947-70E740481C1C}">
                <a14:useLocalDpi xmlns:a14="http://schemas.microsoft.com/office/drawing/2010/main" val="0"/>
              </a:ext>
            </a:extLst>
          </a:blip>
          <a:stretch>
            <a:fillRect/>
          </a:stretch>
        </p:blipFill>
        <p:spPr>
          <a:xfrm>
            <a:off x="11674818" y="172800"/>
            <a:ext cx="298705" cy="289561"/>
          </a:xfrm>
          <a:prstGeom prst="rect">
            <a:avLst/>
          </a:prstGeom>
        </p:spPr>
      </p:pic>
      <p:sp>
        <p:nvSpPr>
          <p:cNvPr id="12" name="Paginanummer Seinpost">
            <a:extLst>
              <a:ext uri="{FF2B5EF4-FFF2-40B4-BE49-F238E27FC236}">
                <a16:creationId xmlns:a16="http://schemas.microsoft.com/office/drawing/2014/main" id="{4253494B-168A-4D41-BDDB-107BBB42741D}"/>
              </a:ext>
            </a:extLst>
          </p:cNvPr>
          <p:cNvSpPr txBox="1">
            <a:spLocks/>
          </p:cNvSpPr>
          <p:nvPr>
            <p:custDataLst>
              <p:tags r:id="rId6"/>
            </p:custDataLst>
          </p:nvPr>
        </p:nvSpPr>
        <p:spPr>
          <a:xfrm>
            <a:off x="11628018" y="252000"/>
            <a:ext cx="381601" cy="244800"/>
          </a:xfrm>
          <a:prstGeom prst="rect">
            <a:avLst/>
          </a:prstGeom>
          <a:noFill/>
        </p:spPr>
        <p:txBody>
          <a:bodyPr vert="horz" lIns="0" tIns="0" rIns="0" bIns="0" rtlCol="0" anchor="t">
            <a:noAutofit/>
          </a:bodyPr>
          <a:lstStyle/>
          <a:p>
            <a:pPr algn="ctr"/>
            <a:r>
              <a:rPr lang="nl-NL" sz="1000" b="1">
                <a:solidFill>
                  <a:srgbClr val="62366E"/>
                </a:solidFill>
                <a:latin typeface="Open Sans" panose="020B0606030504020204" pitchFamily="34" charset="0"/>
              </a:rPr>
              <a:t>11</a:t>
            </a:r>
          </a:p>
        </p:txBody>
      </p:sp>
    </p:spTree>
    <p:extLst>
      <p:ext uri="{BB962C8B-B14F-4D97-AF65-F5344CB8AC3E}">
        <p14:creationId xmlns:p14="http://schemas.microsoft.com/office/powerpoint/2010/main" val="69446119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3">
                                            <p:txEl>
                                              <p:pRg st="3" end="3"/>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3">
                                            <p:txEl>
                                              <p:pRg st="6" end="6"/>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23">
                                            <p:txEl>
                                              <p:pRg st="9" end="9"/>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8">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8">
                                            <p:txEl>
                                              <p:pRg st="6" end="6"/>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8">
                                            <p:txEl>
                                              <p:pRg st="9" end="9"/>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Grote afbeelding">
            <a:extLst>
              <a:ext uri="{FF2B5EF4-FFF2-40B4-BE49-F238E27FC236}">
                <a16:creationId xmlns:a16="http://schemas.microsoft.com/office/drawing/2014/main" id="{3C5763BE-785F-4E1E-931B-C80001325F9D}"/>
              </a:ext>
            </a:extLst>
          </p:cNvPr>
          <p:cNvPicPr>
            <a:picLocks noChangeAspect="1"/>
          </p:cNvPicPr>
          <p:nvPr>
            <p:custDataLst>
              <p:tags r:id="rId1"/>
            </p:custDataLst>
          </p:nvPr>
        </p:nvPicPr>
        <p:blipFill rotWithShape="1">
          <a:blip r:embed="rId8" cstate="print">
            <a:extLst>
              <a:ext uri="{28A0092B-C50C-407E-A947-70E740481C1C}">
                <a14:useLocalDpi xmlns:a14="http://schemas.microsoft.com/office/drawing/2010/main" val="0"/>
              </a:ext>
            </a:extLst>
          </a:blip>
          <a:srcRect t="12504" b="12504"/>
          <a:stretch/>
        </p:blipFill>
        <p:spPr>
          <a:xfrm>
            <a:off x="0" y="0"/>
            <a:ext cx="12193219" cy="6858011"/>
          </a:xfrm>
          <a:prstGeom prst="rect">
            <a:avLst/>
          </a:prstGeom>
        </p:spPr>
      </p:pic>
      <p:sp>
        <p:nvSpPr>
          <p:cNvPr id="2" name="Rechthoek 1">
            <a:extLst>
              <a:ext uri="{FF2B5EF4-FFF2-40B4-BE49-F238E27FC236}">
                <a16:creationId xmlns:a16="http://schemas.microsoft.com/office/drawing/2014/main" id="{7B44AD7E-E771-4E52-9617-ABEF60D8A4CC}"/>
              </a:ext>
            </a:extLst>
          </p:cNvPr>
          <p:cNvSpPr/>
          <p:nvPr/>
        </p:nvSpPr>
        <p:spPr>
          <a:xfrm>
            <a:off x="0" y="0"/>
            <a:ext cx="12192000" cy="6858000"/>
          </a:xfrm>
          <a:prstGeom prst="rect">
            <a:avLst/>
          </a:prstGeom>
          <a:solidFill>
            <a:srgbClr val="FFFFFF">
              <a:alpha val="6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2" name="2 Kolommen breed">
            <a:extLst>
              <a:ext uri="{FF2B5EF4-FFF2-40B4-BE49-F238E27FC236}">
                <a16:creationId xmlns:a16="http://schemas.microsoft.com/office/drawing/2014/main" id="{600723C6-5540-4AA4-9C9B-EEB046093195}"/>
              </a:ext>
            </a:extLst>
          </p:cNvPr>
          <p:cNvSpPr txBox="1"/>
          <p:nvPr>
            <p:custDataLst>
              <p:tags r:id="rId2"/>
            </p:custDataLst>
          </p:nvPr>
        </p:nvSpPr>
        <p:spPr>
          <a:xfrm>
            <a:off x="1079320" y="1322961"/>
            <a:ext cx="5349760" cy="5013367"/>
          </a:xfrm>
          <a:prstGeom prst="rect">
            <a:avLst/>
          </a:prstGeom>
          <a:noFill/>
        </p:spPr>
        <p:txBody>
          <a:bodyPr vert="horz" lIns="0" tIns="0" rIns="0" bIns="0" rtlCol="0" anchor="t">
            <a:noAutofit/>
          </a:bodyPr>
          <a:lstStyle/>
          <a:p>
            <a:pPr>
              <a:lnSpc>
                <a:spcPts val="3200"/>
              </a:lnSpc>
            </a:pPr>
            <a:endParaRPr lang="nl-NL" sz="2000">
              <a:solidFill>
                <a:schemeClr val="accent4"/>
              </a:solidFill>
              <a:latin typeface="Open Sans" panose="020B0606030504020204" pitchFamily="34" charset="0"/>
              <a:ea typeface="Open Sans" panose="020B0606030504020204" pitchFamily="34" charset="0"/>
              <a:cs typeface="Open Sans" panose="020B0606030504020204" pitchFamily="34" charset="0"/>
            </a:endParaRPr>
          </a:p>
        </p:txBody>
      </p:sp>
      <p:sp>
        <p:nvSpPr>
          <p:cNvPr id="4" name="Paragraaf titel hoog"/>
          <p:cNvSpPr txBox="1"/>
          <p:nvPr>
            <p:custDataLst>
              <p:tags r:id="rId3"/>
            </p:custDataLst>
          </p:nvPr>
        </p:nvSpPr>
        <p:spPr>
          <a:xfrm>
            <a:off x="1622245" y="1419226"/>
            <a:ext cx="9267838" cy="2728912"/>
          </a:xfrm>
          <a:prstGeom prst="rect">
            <a:avLst/>
          </a:prstGeom>
          <a:noFill/>
        </p:spPr>
        <p:txBody>
          <a:bodyPr vert="horz" lIns="0" tIns="0" rIns="0" bIns="0" rtlCol="0" anchor="t">
            <a:noAutofit/>
          </a:bodyPr>
          <a:lstStyle/>
          <a:p>
            <a:pPr algn="ctr">
              <a:lnSpc>
                <a:spcPct val="150000"/>
              </a:lnSpc>
              <a:defRPr/>
            </a:pPr>
            <a:r>
              <a:rPr lang="nl-NL" sz="4000" b="1" dirty="0">
                <a:solidFill>
                  <a:srgbClr val="62366E"/>
                </a:solidFill>
                <a:latin typeface="+mj-lt"/>
              </a:rPr>
              <a:t>Ruimtelijke visie en </a:t>
            </a:r>
            <a:r>
              <a:rPr lang="nl-NL" sz="4000" b="1" dirty="0" err="1">
                <a:solidFill>
                  <a:srgbClr val="62366E"/>
                </a:solidFill>
                <a:latin typeface="+mj-lt"/>
              </a:rPr>
              <a:t>brancheringsplan</a:t>
            </a:r>
            <a:r>
              <a:rPr lang="nl-NL" sz="4000" b="1" dirty="0">
                <a:solidFill>
                  <a:srgbClr val="62366E"/>
                </a:solidFill>
                <a:latin typeface="+mj-lt"/>
              </a:rPr>
              <a:t>: </a:t>
            </a:r>
            <a:endParaRPr lang="nl-NL" dirty="0">
              <a:solidFill>
                <a:srgbClr val="62366E"/>
              </a:solidFill>
            </a:endParaRPr>
          </a:p>
          <a:p>
            <a:pPr algn="ctr">
              <a:lnSpc>
                <a:spcPct val="150000"/>
              </a:lnSpc>
              <a:defRPr/>
            </a:pPr>
            <a:r>
              <a:rPr lang="nl-NL" sz="4000" b="1" dirty="0">
                <a:solidFill>
                  <a:schemeClr val="accent3">
                    <a:lumMod val="75000"/>
                  </a:schemeClr>
                </a:solidFill>
                <a:latin typeface="+mj-lt"/>
              </a:rPr>
              <a:t>Wat willen we waar? En welke gebieden vragen nog om aandacht? </a:t>
            </a:r>
            <a:endParaRPr lang="nl-NL" dirty="0">
              <a:solidFill>
                <a:schemeClr val="accent3">
                  <a:lumMod val="75000"/>
                </a:schemeClr>
              </a:solidFill>
            </a:endParaRPr>
          </a:p>
        </p:txBody>
      </p:sp>
      <p:pic>
        <p:nvPicPr>
          <p:cNvPr id="7" name="Paginanummer Seinpost">
            <a:extLst>
              <a:ext uri="{FF2B5EF4-FFF2-40B4-BE49-F238E27FC236}">
                <a16:creationId xmlns:a16="http://schemas.microsoft.com/office/drawing/2014/main" id="{F5AB138A-3A81-47D5-B15C-083FCE4F3FC7}"/>
              </a:ext>
            </a:extLst>
          </p:cNvPr>
          <p:cNvPicPr>
            <a:picLocks noChangeAspect="1"/>
          </p:cNvPicPr>
          <p:nvPr>
            <p:custDataLst>
              <p:tags r:id="rId4"/>
            </p:custDataLst>
          </p:nvPr>
        </p:nvPicPr>
        <p:blipFill>
          <a:blip r:embed="rId9">
            <a:extLst>
              <a:ext uri="{28A0092B-C50C-407E-A947-70E740481C1C}">
                <a14:useLocalDpi xmlns:a14="http://schemas.microsoft.com/office/drawing/2010/main" val="0"/>
              </a:ext>
            </a:extLst>
          </a:blip>
          <a:stretch>
            <a:fillRect/>
          </a:stretch>
        </p:blipFill>
        <p:spPr>
          <a:xfrm>
            <a:off x="11674818" y="172800"/>
            <a:ext cx="298705" cy="289561"/>
          </a:xfrm>
          <a:prstGeom prst="rect">
            <a:avLst/>
          </a:prstGeom>
        </p:spPr>
      </p:pic>
      <p:pic>
        <p:nvPicPr>
          <p:cNvPr id="13" name="Paginanummer Seinpost">
            <a:extLst>
              <a:ext uri="{FF2B5EF4-FFF2-40B4-BE49-F238E27FC236}">
                <a16:creationId xmlns:a16="http://schemas.microsoft.com/office/drawing/2014/main" id="{4CEDA45E-DEAA-40DF-BD3D-869A4643912C}"/>
              </a:ext>
            </a:extLst>
          </p:cNvPr>
          <p:cNvPicPr>
            <a:picLocks noChangeAspect="1"/>
          </p:cNvPicPr>
          <p:nvPr>
            <p:custDataLst>
              <p:tags r:id="rId5"/>
            </p:custDataLst>
          </p:nvPr>
        </p:nvPicPr>
        <p:blipFill>
          <a:blip r:embed="rId9">
            <a:extLst>
              <a:ext uri="{28A0092B-C50C-407E-A947-70E740481C1C}">
                <a14:useLocalDpi xmlns:a14="http://schemas.microsoft.com/office/drawing/2010/main" val="0"/>
              </a:ext>
            </a:extLst>
          </a:blip>
          <a:stretch>
            <a:fillRect/>
          </a:stretch>
        </p:blipFill>
        <p:spPr>
          <a:xfrm>
            <a:off x="11674818" y="172800"/>
            <a:ext cx="298705" cy="289561"/>
          </a:xfrm>
          <a:prstGeom prst="rect">
            <a:avLst/>
          </a:prstGeom>
        </p:spPr>
      </p:pic>
      <p:sp>
        <p:nvSpPr>
          <p:cNvPr id="14" name="Paginanummer Seinpost">
            <a:extLst>
              <a:ext uri="{FF2B5EF4-FFF2-40B4-BE49-F238E27FC236}">
                <a16:creationId xmlns:a16="http://schemas.microsoft.com/office/drawing/2014/main" id="{A8C61D41-83BC-4AED-B2C4-B4CBC95DF94F}"/>
              </a:ext>
            </a:extLst>
          </p:cNvPr>
          <p:cNvSpPr txBox="1">
            <a:spLocks/>
          </p:cNvSpPr>
          <p:nvPr>
            <p:custDataLst>
              <p:tags r:id="rId6"/>
            </p:custDataLst>
          </p:nvPr>
        </p:nvSpPr>
        <p:spPr>
          <a:xfrm>
            <a:off x="11628018" y="252000"/>
            <a:ext cx="381601" cy="244800"/>
          </a:xfrm>
          <a:prstGeom prst="rect">
            <a:avLst/>
          </a:prstGeom>
          <a:noFill/>
        </p:spPr>
        <p:txBody>
          <a:bodyPr vert="horz" lIns="0" tIns="0" rIns="0" bIns="0" rtlCol="0" anchor="t">
            <a:noAutofit/>
          </a:bodyPr>
          <a:lstStyle/>
          <a:p>
            <a:pPr algn="ctr"/>
            <a:r>
              <a:rPr lang="nl-NL" sz="1000" b="1">
                <a:solidFill>
                  <a:srgbClr val="62366E"/>
                </a:solidFill>
                <a:latin typeface="Open Sans" panose="020B0606030504020204" pitchFamily="34" charset="0"/>
              </a:rPr>
              <a:t>12</a:t>
            </a:r>
          </a:p>
        </p:txBody>
      </p:sp>
    </p:spTree>
    <p:extLst>
      <p:ext uri="{BB962C8B-B14F-4D97-AF65-F5344CB8AC3E}">
        <p14:creationId xmlns:p14="http://schemas.microsoft.com/office/powerpoint/2010/main" val="277443324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Paragraaf titel hoog">
            <a:extLst>
              <a:ext uri="{FF2B5EF4-FFF2-40B4-BE49-F238E27FC236}">
                <a16:creationId xmlns:a16="http://schemas.microsoft.com/office/drawing/2014/main" id="{86DFC8F2-0775-48B9-938C-3F49A65D25F0}"/>
              </a:ext>
            </a:extLst>
          </p:cNvPr>
          <p:cNvSpPr txBox="1"/>
          <p:nvPr>
            <p:custDataLst>
              <p:tags r:id="rId1"/>
            </p:custDataLst>
          </p:nvPr>
        </p:nvSpPr>
        <p:spPr>
          <a:xfrm>
            <a:off x="6616918" y="845266"/>
            <a:ext cx="5392701" cy="431728"/>
          </a:xfrm>
          <a:prstGeom prst="rect">
            <a:avLst/>
          </a:prstGeom>
          <a:noFill/>
        </p:spPr>
        <p:txBody>
          <a:bodyPr vert="horz" lIns="0" tIns="0" rIns="0" bIns="0" rtlCol="0" anchor="t">
            <a:noAutofit/>
          </a:bodyPr>
          <a:lstStyle/>
          <a:p>
            <a:pPr>
              <a:lnSpc>
                <a:spcPts val="3200"/>
              </a:lnSpc>
            </a:pPr>
            <a:r>
              <a:rPr lang="nl-NL" sz="3000" b="1" dirty="0">
                <a:solidFill>
                  <a:srgbClr val="62366E"/>
                </a:solidFill>
                <a:latin typeface="Open Sans" panose="020B0606030504020204" pitchFamily="34" charset="0"/>
              </a:rPr>
              <a:t>Op basis van alle informatie en gesprekken…</a:t>
            </a:r>
          </a:p>
          <a:p>
            <a:pPr>
              <a:lnSpc>
                <a:spcPts val="3200"/>
              </a:lnSpc>
            </a:pPr>
            <a:endParaRPr lang="nl-NL" sz="3000" b="1" dirty="0">
              <a:solidFill>
                <a:srgbClr val="62366E"/>
              </a:solidFill>
              <a:latin typeface="Open Sans" panose="020B0606030504020204" pitchFamily="34" charset="0"/>
            </a:endParaRPr>
          </a:p>
          <a:p>
            <a:pPr>
              <a:lnSpc>
                <a:spcPts val="3200"/>
              </a:lnSpc>
            </a:pPr>
            <a:r>
              <a:rPr lang="nl-NL" sz="2400" b="1" dirty="0">
                <a:solidFill>
                  <a:schemeClr val="accent3"/>
                </a:solidFill>
                <a:latin typeface="Open Sans" panose="020B0606030504020204" pitchFamily="34" charset="0"/>
              </a:rPr>
              <a:t>… hebben we samen met de kopgroep de visie opgesteld</a:t>
            </a:r>
          </a:p>
          <a:p>
            <a:pPr>
              <a:lnSpc>
                <a:spcPts val="3200"/>
              </a:lnSpc>
            </a:pPr>
            <a:endParaRPr lang="nl-NL" sz="2400" b="1" dirty="0">
              <a:solidFill>
                <a:srgbClr val="62366E"/>
              </a:solidFill>
              <a:latin typeface="Open Sans" panose="020B0606030504020204" pitchFamily="34" charset="0"/>
            </a:endParaRPr>
          </a:p>
          <a:p>
            <a:pPr>
              <a:lnSpc>
                <a:spcPts val="3200"/>
              </a:lnSpc>
            </a:pPr>
            <a:endParaRPr lang="nl-NL" sz="3000" b="1" dirty="0">
              <a:solidFill>
                <a:srgbClr val="62366E"/>
              </a:solidFill>
              <a:latin typeface="Open Sans" panose="020B0606030504020204" pitchFamily="34" charset="0"/>
            </a:endParaRPr>
          </a:p>
        </p:txBody>
      </p:sp>
      <p:pic>
        <p:nvPicPr>
          <p:cNvPr id="14" name="Afbeelding 13" descr="Afbeelding met gebouw, buiten, lucht, grond&#10;&#10;Automatisch gegenereerde beschrijving">
            <a:extLst>
              <a:ext uri="{FF2B5EF4-FFF2-40B4-BE49-F238E27FC236}">
                <a16:creationId xmlns:a16="http://schemas.microsoft.com/office/drawing/2014/main" id="{B4A1E3CA-8CAA-41DE-AD54-305EEC235A8D}"/>
              </a:ext>
            </a:extLst>
          </p:cNvPr>
          <p:cNvPicPr>
            <a:picLocks noChangeAspect="1"/>
          </p:cNvPicPr>
          <p:nvPr/>
        </p:nvPicPr>
        <p:blipFill rotWithShape="1">
          <a:blip r:embed="rId6">
            <a:extLst>
              <a:ext uri="{28A0092B-C50C-407E-A947-70E740481C1C}">
                <a14:useLocalDpi xmlns:a14="http://schemas.microsoft.com/office/drawing/2010/main" val="0"/>
              </a:ext>
            </a:extLst>
          </a:blip>
          <a:srcRect l="27677" r="-3138"/>
          <a:stretch/>
        </p:blipFill>
        <p:spPr>
          <a:xfrm>
            <a:off x="0" y="-12"/>
            <a:ext cx="6515100" cy="6858011"/>
          </a:xfrm>
          <a:prstGeom prst="rect">
            <a:avLst/>
          </a:prstGeom>
        </p:spPr>
      </p:pic>
      <p:sp>
        <p:nvSpPr>
          <p:cNvPr id="8" name="Paginanummer Seinpost">
            <a:extLst>
              <a:ext uri="{FF2B5EF4-FFF2-40B4-BE49-F238E27FC236}">
                <a16:creationId xmlns:a16="http://schemas.microsoft.com/office/drawing/2014/main" id="{59168995-7D73-43A7-8715-4A8D9DD13BE1}"/>
              </a:ext>
            </a:extLst>
          </p:cNvPr>
          <p:cNvSpPr txBox="1">
            <a:spLocks/>
          </p:cNvSpPr>
          <p:nvPr>
            <p:custDataLst>
              <p:tags r:id="rId2"/>
            </p:custDataLst>
          </p:nvPr>
        </p:nvSpPr>
        <p:spPr>
          <a:xfrm>
            <a:off x="11628018" y="252000"/>
            <a:ext cx="381601" cy="244800"/>
          </a:xfrm>
          <a:prstGeom prst="rect">
            <a:avLst/>
          </a:prstGeom>
          <a:noFill/>
        </p:spPr>
        <p:txBody>
          <a:bodyPr vert="horz" lIns="0" tIns="0" rIns="0" bIns="0" rtlCol="0" anchor="t">
            <a:noAutofit/>
          </a:bodyPr>
          <a:lstStyle/>
          <a:p>
            <a:pPr algn="ctr"/>
            <a:r>
              <a:rPr lang="nl-NL" sz="1000" b="1">
                <a:solidFill>
                  <a:srgbClr val="62366E"/>
                </a:solidFill>
                <a:latin typeface="Open Sans" panose="020B0606030504020204" pitchFamily="34" charset="0"/>
              </a:rPr>
              <a:t>14</a:t>
            </a:r>
          </a:p>
        </p:txBody>
      </p:sp>
      <p:pic>
        <p:nvPicPr>
          <p:cNvPr id="10" name="Paginanummer Seinpost">
            <a:extLst>
              <a:ext uri="{FF2B5EF4-FFF2-40B4-BE49-F238E27FC236}">
                <a16:creationId xmlns:a16="http://schemas.microsoft.com/office/drawing/2014/main" id="{B7F21E75-943F-444E-9009-2D0908949795}"/>
              </a:ext>
            </a:extLst>
          </p:cNvPr>
          <p:cNvPicPr>
            <a:picLocks noChangeAspect="1"/>
          </p:cNvPicPr>
          <p:nvPr>
            <p:custDataLst>
              <p:tags r:id="rId3"/>
            </p:custDataLst>
          </p:nvPr>
        </p:nvPicPr>
        <p:blipFill>
          <a:blip r:embed="rId7">
            <a:extLst>
              <a:ext uri="{28A0092B-C50C-407E-A947-70E740481C1C}">
                <a14:useLocalDpi xmlns:a14="http://schemas.microsoft.com/office/drawing/2010/main" val="0"/>
              </a:ext>
            </a:extLst>
          </a:blip>
          <a:stretch>
            <a:fillRect/>
          </a:stretch>
        </p:blipFill>
        <p:spPr>
          <a:xfrm>
            <a:off x="11674818" y="172800"/>
            <a:ext cx="298705" cy="289561"/>
          </a:xfrm>
          <a:prstGeom prst="rect">
            <a:avLst/>
          </a:prstGeom>
        </p:spPr>
      </p:pic>
      <p:sp>
        <p:nvSpPr>
          <p:cNvPr id="11" name="Paginanummer Seinpost">
            <a:extLst>
              <a:ext uri="{FF2B5EF4-FFF2-40B4-BE49-F238E27FC236}">
                <a16:creationId xmlns:a16="http://schemas.microsoft.com/office/drawing/2014/main" id="{7103335D-C977-4ADD-A1F2-644F4B0A06E6}"/>
              </a:ext>
            </a:extLst>
          </p:cNvPr>
          <p:cNvSpPr txBox="1">
            <a:spLocks/>
          </p:cNvSpPr>
          <p:nvPr>
            <p:custDataLst>
              <p:tags r:id="rId4"/>
            </p:custDataLst>
          </p:nvPr>
        </p:nvSpPr>
        <p:spPr>
          <a:xfrm>
            <a:off x="11628018" y="252000"/>
            <a:ext cx="381601" cy="244800"/>
          </a:xfrm>
          <a:prstGeom prst="rect">
            <a:avLst/>
          </a:prstGeom>
          <a:noFill/>
        </p:spPr>
        <p:txBody>
          <a:bodyPr vert="horz" lIns="0" tIns="0" rIns="0" bIns="0" rtlCol="0" anchor="t">
            <a:noAutofit/>
          </a:bodyPr>
          <a:lstStyle/>
          <a:p>
            <a:pPr algn="ctr"/>
            <a:r>
              <a:rPr lang="nl-NL" sz="1000" b="1">
                <a:solidFill>
                  <a:srgbClr val="62366E"/>
                </a:solidFill>
                <a:latin typeface="Open Sans" panose="020B0606030504020204" pitchFamily="34" charset="0"/>
              </a:rPr>
              <a:t>13</a:t>
            </a:r>
          </a:p>
        </p:txBody>
      </p:sp>
    </p:spTree>
    <p:extLst>
      <p:ext uri="{BB962C8B-B14F-4D97-AF65-F5344CB8AC3E}">
        <p14:creationId xmlns:p14="http://schemas.microsoft.com/office/powerpoint/2010/main" val="253242275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6" name="Picture 111" descr="Diagram, engineering drawing&#10;&#10;Description automatically generated">
            <a:extLst>
              <a:ext uri="{FF2B5EF4-FFF2-40B4-BE49-F238E27FC236}">
                <a16:creationId xmlns:a16="http://schemas.microsoft.com/office/drawing/2014/main" id="{774ABF00-8F33-41DF-AB8F-EB13D7828C9A}"/>
              </a:ext>
            </a:extLst>
          </p:cNvPr>
          <p:cNvPicPr>
            <a:picLocks noChangeAspect="1"/>
          </p:cNvPicPr>
          <p:nvPr/>
        </p:nvPicPr>
        <p:blipFill rotWithShape="1">
          <a:blip r:embed="rId9">
            <a:extLst>
              <a:ext uri="{28A0092B-C50C-407E-A947-70E740481C1C}">
                <a14:useLocalDpi xmlns:a14="http://schemas.microsoft.com/office/drawing/2010/main" val="0"/>
              </a:ext>
            </a:extLst>
          </a:blip>
          <a:srcRect l="12282" r="16581"/>
          <a:stretch/>
        </p:blipFill>
        <p:spPr>
          <a:xfrm>
            <a:off x="6509044" y="356367"/>
            <a:ext cx="5381625" cy="6418903"/>
          </a:xfrm>
          <a:prstGeom prst="rect">
            <a:avLst/>
          </a:prstGeom>
          <a:ln>
            <a:solidFill>
              <a:schemeClr val="tx1"/>
            </a:solidFill>
          </a:ln>
        </p:spPr>
      </p:pic>
      <p:grpSp>
        <p:nvGrpSpPr>
          <p:cNvPr id="54" name="Groep 53">
            <a:extLst>
              <a:ext uri="{FF2B5EF4-FFF2-40B4-BE49-F238E27FC236}">
                <a16:creationId xmlns:a16="http://schemas.microsoft.com/office/drawing/2014/main" id="{1BE4F449-4EF7-477D-BFD4-C589BD950D16}"/>
              </a:ext>
            </a:extLst>
          </p:cNvPr>
          <p:cNvGrpSpPr/>
          <p:nvPr/>
        </p:nvGrpSpPr>
        <p:grpSpPr>
          <a:xfrm>
            <a:off x="8220909" y="5786186"/>
            <a:ext cx="288000" cy="288000"/>
            <a:chOff x="7690156" y="5602619"/>
            <a:chExt cx="329184" cy="329184"/>
          </a:xfrm>
        </p:grpSpPr>
        <p:sp>
          <p:nvSpPr>
            <p:cNvPr id="171" name="Oval 53">
              <a:extLst>
                <a:ext uri="{FF2B5EF4-FFF2-40B4-BE49-F238E27FC236}">
                  <a16:creationId xmlns:a16="http://schemas.microsoft.com/office/drawing/2014/main" id="{ED4EEEDE-7A0F-461A-AAF1-3C36DBBB598B}"/>
                </a:ext>
              </a:extLst>
            </p:cNvPr>
            <p:cNvSpPr/>
            <p:nvPr/>
          </p:nvSpPr>
          <p:spPr>
            <a:xfrm>
              <a:off x="7690156" y="5602619"/>
              <a:ext cx="329184" cy="329184"/>
            </a:xfrm>
            <a:prstGeom prst="ellipse">
              <a:avLst/>
            </a:prstGeom>
            <a:solidFill>
              <a:srgbClr val="62366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72" name="Shopping_cart" descr="{&quot;Key&quot;:&quot;POWER_USER_SHAPE_ICON&quot;,&quot;Value&quot;:&quot;POWER_USER_SHAPE_ICON_STYLE_1&quot;}">
              <a:extLst>
                <a:ext uri="{FF2B5EF4-FFF2-40B4-BE49-F238E27FC236}">
                  <a16:creationId xmlns:a16="http://schemas.microsoft.com/office/drawing/2014/main" id="{B9AACEBA-156B-482E-90BA-2DB01BBD9D59}"/>
                </a:ext>
              </a:extLst>
            </p:cNvPr>
            <p:cNvGrpSpPr>
              <a:grpSpLocks noChangeAspect="1"/>
            </p:cNvGrpSpPr>
            <p:nvPr>
              <p:custDataLst>
                <p:tags r:id="rId7"/>
              </p:custDataLst>
            </p:nvPr>
          </p:nvGrpSpPr>
          <p:grpSpPr>
            <a:xfrm>
              <a:off x="7727679" y="5660649"/>
              <a:ext cx="235088" cy="232174"/>
              <a:chOff x="4646614" y="2062164"/>
              <a:chExt cx="384175" cy="379413"/>
            </a:xfrm>
            <a:solidFill>
              <a:schemeClr val="bg1"/>
            </a:solidFill>
          </p:grpSpPr>
          <p:sp>
            <p:nvSpPr>
              <p:cNvPr id="173" name="Freeform 198">
                <a:extLst>
                  <a:ext uri="{FF2B5EF4-FFF2-40B4-BE49-F238E27FC236}">
                    <a16:creationId xmlns:a16="http://schemas.microsoft.com/office/drawing/2014/main" id="{6FD58247-8D42-4816-9660-5CB2F9D6F271}"/>
                  </a:ext>
                </a:extLst>
              </p:cNvPr>
              <p:cNvSpPr>
                <a:spLocks noEditPoints="1"/>
              </p:cNvSpPr>
              <p:nvPr/>
            </p:nvSpPr>
            <p:spPr bwMode="auto">
              <a:xfrm>
                <a:off x="4773614" y="2386014"/>
                <a:ext cx="55563" cy="55563"/>
              </a:xfrm>
              <a:custGeom>
                <a:avLst/>
                <a:gdLst>
                  <a:gd name="T0" fmla="*/ 40 w 80"/>
                  <a:gd name="T1" fmla="*/ 55 h 80"/>
                  <a:gd name="T2" fmla="*/ 25 w 80"/>
                  <a:gd name="T3" fmla="*/ 40 h 80"/>
                  <a:gd name="T4" fmla="*/ 40 w 80"/>
                  <a:gd name="T5" fmla="*/ 25 h 80"/>
                  <a:gd name="T6" fmla="*/ 55 w 80"/>
                  <a:gd name="T7" fmla="*/ 40 h 80"/>
                  <a:gd name="T8" fmla="*/ 40 w 80"/>
                  <a:gd name="T9" fmla="*/ 55 h 80"/>
                  <a:gd name="T10" fmla="*/ 40 w 80"/>
                  <a:gd name="T11" fmla="*/ 0 h 80"/>
                  <a:gd name="T12" fmla="*/ 0 w 80"/>
                  <a:gd name="T13" fmla="*/ 40 h 80"/>
                  <a:gd name="T14" fmla="*/ 40 w 80"/>
                  <a:gd name="T15" fmla="*/ 80 h 80"/>
                  <a:gd name="T16" fmla="*/ 80 w 80"/>
                  <a:gd name="T17" fmla="*/ 40 h 80"/>
                  <a:gd name="T18" fmla="*/ 40 w 80"/>
                  <a:gd name="T19"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0" h="80">
                    <a:moveTo>
                      <a:pt x="40" y="55"/>
                    </a:moveTo>
                    <a:cubicBezTo>
                      <a:pt x="32" y="55"/>
                      <a:pt x="25" y="48"/>
                      <a:pt x="25" y="40"/>
                    </a:cubicBezTo>
                    <a:cubicBezTo>
                      <a:pt x="25" y="32"/>
                      <a:pt x="32" y="25"/>
                      <a:pt x="40" y="25"/>
                    </a:cubicBezTo>
                    <a:cubicBezTo>
                      <a:pt x="48" y="25"/>
                      <a:pt x="55" y="32"/>
                      <a:pt x="55" y="40"/>
                    </a:cubicBezTo>
                    <a:cubicBezTo>
                      <a:pt x="55" y="48"/>
                      <a:pt x="48" y="55"/>
                      <a:pt x="40" y="55"/>
                    </a:cubicBezTo>
                    <a:close/>
                    <a:moveTo>
                      <a:pt x="40" y="0"/>
                    </a:moveTo>
                    <a:cubicBezTo>
                      <a:pt x="18" y="0"/>
                      <a:pt x="0" y="18"/>
                      <a:pt x="0" y="40"/>
                    </a:cubicBezTo>
                    <a:cubicBezTo>
                      <a:pt x="0" y="62"/>
                      <a:pt x="18" y="80"/>
                      <a:pt x="40" y="80"/>
                    </a:cubicBezTo>
                    <a:cubicBezTo>
                      <a:pt x="62" y="80"/>
                      <a:pt x="80" y="62"/>
                      <a:pt x="80" y="40"/>
                    </a:cubicBezTo>
                    <a:cubicBezTo>
                      <a:pt x="80" y="18"/>
                      <a:pt x="62" y="0"/>
                      <a:pt x="40"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4" name="Freeform 199">
                <a:extLst>
                  <a:ext uri="{FF2B5EF4-FFF2-40B4-BE49-F238E27FC236}">
                    <a16:creationId xmlns:a16="http://schemas.microsoft.com/office/drawing/2014/main" id="{CD6603CA-F01C-4832-A1D7-327A028C83D1}"/>
                  </a:ext>
                </a:extLst>
              </p:cNvPr>
              <p:cNvSpPr>
                <a:spLocks noEditPoints="1"/>
              </p:cNvSpPr>
              <p:nvPr/>
            </p:nvSpPr>
            <p:spPr bwMode="auto">
              <a:xfrm>
                <a:off x="4929189" y="2386014"/>
                <a:ext cx="55563" cy="55563"/>
              </a:xfrm>
              <a:custGeom>
                <a:avLst/>
                <a:gdLst>
                  <a:gd name="T0" fmla="*/ 40 w 80"/>
                  <a:gd name="T1" fmla="*/ 55 h 80"/>
                  <a:gd name="T2" fmla="*/ 25 w 80"/>
                  <a:gd name="T3" fmla="*/ 40 h 80"/>
                  <a:gd name="T4" fmla="*/ 40 w 80"/>
                  <a:gd name="T5" fmla="*/ 25 h 80"/>
                  <a:gd name="T6" fmla="*/ 55 w 80"/>
                  <a:gd name="T7" fmla="*/ 40 h 80"/>
                  <a:gd name="T8" fmla="*/ 40 w 80"/>
                  <a:gd name="T9" fmla="*/ 55 h 80"/>
                  <a:gd name="T10" fmla="*/ 40 w 80"/>
                  <a:gd name="T11" fmla="*/ 0 h 80"/>
                  <a:gd name="T12" fmla="*/ 0 w 80"/>
                  <a:gd name="T13" fmla="*/ 40 h 80"/>
                  <a:gd name="T14" fmla="*/ 40 w 80"/>
                  <a:gd name="T15" fmla="*/ 80 h 80"/>
                  <a:gd name="T16" fmla="*/ 80 w 80"/>
                  <a:gd name="T17" fmla="*/ 40 h 80"/>
                  <a:gd name="T18" fmla="*/ 40 w 80"/>
                  <a:gd name="T19"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0" h="80">
                    <a:moveTo>
                      <a:pt x="40" y="55"/>
                    </a:moveTo>
                    <a:cubicBezTo>
                      <a:pt x="32" y="55"/>
                      <a:pt x="25" y="48"/>
                      <a:pt x="25" y="40"/>
                    </a:cubicBezTo>
                    <a:cubicBezTo>
                      <a:pt x="25" y="32"/>
                      <a:pt x="32" y="25"/>
                      <a:pt x="40" y="25"/>
                    </a:cubicBezTo>
                    <a:cubicBezTo>
                      <a:pt x="48" y="25"/>
                      <a:pt x="55" y="32"/>
                      <a:pt x="55" y="40"/>
                    </a:cubicBezTo>
                    <a:cubicBezTo>
                      <a:pt x="55" y="48"/>
                      <a:pt x="48" y="55"/>
                      <a:pt x="40" y="55"/>
                    </a:cubicBezTo>
                    <a:close/>
                    <a:moveTo>
                      <a:pt x="40" y="0"/>
                    </a:moveTo>
                    <a:cubicBezTo>
                      <a:pt x="18" y="0"/>
                      <a:pt x="0" y="18"/>
                      <a:pt x="0" y="40"/>
                    </a:cubicBezTo>
                    <a:cubicBezTo>
                      <a:pt x="0" y="62"/>
                      <a:pt x="18" y="80"/>
                      <a:pt x="40" y="80"/>
                    </a:cubicBezTo>
                    <a:cubicBezTo>
                      <a:pt x="62" y="80"/>
                      <a:pt x="80" y="62"/>
                      <a:pt x="80" y="40"/>
                    </a:cubicBezTo>
                    <a:cubicBezTo>
                      <a:pt x="80" y="18"/>
                      <a:pt x="62" y="0"/>
                      <a:pt x="40"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5" name="Freeform 200">
                <a:extLst>
                  <a:ext uri="{FF2B5EF4-FFF2-40B4-BE49-F238E27FC236}">
                    <a16:creationId xmlns:a16="http://schemas.microsoft.com/office/drawing/2014/main" id="{7FB0151F-9B1D-4482-845E-63CA96B69E07}"/>
                  </a:ext>
                </a:extLst>
              </p:cNvPr>
              <p:cNvSpPr>
                <a:spLocks noEditPoints="1"/>
              </p:cNvSpPr>
              <p:nvPr/>
            </p:nvSpPr>
            <p:spPr bwMode="auto">
              <a:xfrm>
                <a:off x="4646614" y="2062164"/>
                <a:ext cx="384175" cy="311150"/>
              </a:xfrm>
              <a:custGeom>
                <a:avLst/>
                <a:gdLst>
                  <a:gd name="T0" fmla="*/ 465 w 554"/>
                  <a:gd name="T1" fmla="*/ 168 h 450"/>
                  <a:gd name="T2" fmla="*/ 530 w 554"/>
                  <a:gd name="T3" fmla="*/ 88 h 450"/>
                  <a:gd name="T4" fmla="*/ 483 w 554"/>
                  <a:gd name="T5" fmla="*/ 257 h 450"/>
                  <a:gd name="T6" fmla="*/ 447 w 554"/>
                  <a:gd name="T7" fmla="*/ 273 h 450"/>
                  <a:gd name="T8" fmla="*/ 505 w 554"/>
                  <a:gd name="T9" fmla="*/ 177 h 450"/>
                  <a:gd name="T10" fmla="*/ 432 w 554"/>
                  <a:gd name="T11" fmla="*/ 273 h 450"/>
                  <a:gd name="T12" fmla="*/ 407 w 554"/>
                  <a:gd name="T13" fmla="*/ 177 h 450"/>
                  <a:gd name="T14" fmla="*/ 432 w 554"/>
                  <a:gd name="T15" fmla="*/ 273 h 450"/>
                  <a:gd name="T16" fmla="*/ 352 w 554"/>
                  <a:gd name="T17" fmla="*/ 88 h 450"/>
                  <a:gd name="T18" fmla="*/ 393 w 554"/>
                  <a:gd name="T19" fmla="*/ 168 h 450"/>
                  <a:gd name="T20" fmla="*/ 383 w 554"/>
                  <a:gd name="T21" fmla="*/ 273 h 450"/>
                  <a:gd name="T22" fmla="*/ 352 w 554"/>
                  <a:gd name="T23" fmla="*/ 177 h 450"/>
                  <a:gd name="T24" fmla="*/ 383 w 554"/>
                  <a:gd name="T25" fmla="*/ 273 h 450"/>
                  <a:gd name="T26" fmla="*/ 297 w 554"/>
                  <a:gd name="T27" fmla="*/ 168 h 450"/>
                  <a:gd name="T28" fmla="*/ 337 w 554"/>
                  <a:gd name="T29" fmla="*/ 88 h 450"/>
                  <a:gd name="T30" fmla="*/ 337 w 554"/>
                  <a:gd name="T31" fmla="*/ 273 h 450"/>
                  <a:gd name="T32" fmla="*/ 298 w 554"/>
                  <a:gd name="T33" fmla="*/ 177 h 450"/>
                  <a:gd name="T34" fmla="*/ 337 w 554"/>
                  <a:gd name="T35" fmla="*/ 273 h 450"/>
                  <a:gd name="T36" fmla="*/ 242 w 554"/>
                  <a:gd name="T37" fmla="*/ 177 h 450"/>
                  <a:gd name="T38" fmla="*/ 292 w 554"/>
                  <a:gd name="T39" fmla="*/ 273 h 450"/>
                  <a:gd name="T40" fmla="*/ 210 w 554"/>
                  <a:gd name="T41" fmla="*/ 273 h 450"/>
                  <a:gd name="T42" fmla="*/ 227 w 554"/>
                  <a:gd name="T43" fmla="*/ 177 h 450"/>
                  <a:gd name="T44" fmla="*/ 210 w 554"/>
                  <a:gd name="T45" fmla="*/ 273 h 450"/>
                  <a:gd name="T46" fmla="*/ 157 w 554"/>
                  <a:gd name="T47" fmla="*/ 268 h 450"/>
                  <a:gd name="T48" fmla="*/ 173 w 554"/>
                  <a:gd name="T49" fmla="*/ 177 h 450"/>
                  <a:gd name="T50" fmla="*/ 170 w 554"/>
                  <a:gd name="T51" fmla="*/ 273 h 450"/>
                  <a:gd name="T52" fmla="*/ 106 w 554"/>
                  <a:gd name="T53" fmla="*/ 88 h 450"/>
                  <a:gd name="T54" fmla="*/ 171 w 554"/>
                  <a:gd name="T55" fmla="*/ 168 h 450"/>
                  <a:gd name="T56" fmla="*/ 126 w 554"/>
                  <a:gd name="T57" fmla="*/ 156 h 450"/>
                  <a:gd name="T58" fmla="*/ 225 w 554"/>
                  <a:gd name="T59" fmla="*/ 168 h 450"/>
                  <a:gd name="T60" fmla="*/ 168 w 554"/>
                  <a:gd name="T61" fmla="*/ 88 h 450"/>
                  <a:gd name="T62" fmla="*/ 274 w 554"/>
                  <a:gd name="T63" fmla="*/ 88 h 450"/>
                  <a:gd name="T64" fmla="*/ 241 w 554"/>
                  <a:gd name="T65" fmla="*/ 168 h 450"/>
                  <a:gd name="T66" fmla="*/ 274 w 554"/>
                  <a:gd name="T67" fmla="*/ 88 h 450"/>
                  <a:gd name="T68" fmla="*/ 462 w 554"/>
                  <a:gd name="T69" fmla="*/ 88 h 450"/>
                  <a:gd name="T70" fmla="*/ 408 w 554"/>
                  <a:gd name="T71" fmla="*/ 168 h 450"/>
                  <a:gd name="T72" fmla="*/ 24 w 554"/>
                  <a:gd name="T73" fmla="*/ 29 h 450"/>
                  <a:gd name="T74" fmla="*/ 19 w 554"/>
                  <a:gd name="T75" fmla="*/ 13 h 450"/>
                  <a:gd name="T76" fmla="*/ 24 w 554"/>
                  <a:gd name="T77" fmla="*/ 29 h 450"/>
                  <a:gd name="T78" fmla="*/ 110 w 554"/>
                  <a:gd name="T79" fmla="*/ 63 h 450"/>
                  <a:gd name="T80" fmla="*/ 91 w 554"/>
                  <a:gd name="T81" fmla="*/ 34 h 450"/>
                  <a:gd name="T82" fmla="*/ 39 w 554"/>
                  <a:gd name="T83" fmla="*/ 12 h 450"/>
                  <a:gd name="T84" fmla="*/ 3 w 554"/>
                  <a:gd name="T85" fmla="*/ 27 h 450"/>
                  <a:gd name="T86" fmla="*/ 38 w 554"/>
                  <a:gd name="T87" fmla="*/ 31 h 450"/>
                  <a:gd name="T88" fmla="*/ 67 w 554"/>
                  <a:gd name="T89" fmla="*/ 40 h 450"/>
                  <a:gd name="T90" fmla="*/ 209 w 554"/>
                  <a:gd name="T91" fmla="*/ 450 h 450"/>
                  <a:gd name="T92" fmla="*/ 496 w 554"/>
                  <a:gd name="T93" fmla="*/ 437 h 450"/>
                  <a:gd name="T94" fmla="*/ 212 w 554"/>
                  <a:gd name="T95" fmla="*/ 420 h 450"/>
                  <a:gd name="T96" fmla="*/ 168 w 554"/>
                  <a:gd name="T97" fmla="*/ 309 h 450"/>
                  <a:gd name="T98" fmla="*/ 451 w 554"/>
                  <a:gd name="T99" fmla="*/ 314 h 450"/>
                  <a:gd name="T100" fmla="*/ 552 w 554"/>
                  <a:gd name="T101" fmla="*/ 88 h 4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54" h="450">
                    <a:moveTo>
                      <a:pt x="508" y="168"/>
                    </a:moveTo>
                    <a:lnTo>
                      <a:pt x="465" y="168"/>
                    </a:lnTo>
                    <a:lnTo>
                      <a:pt x="478" y="88"/>
                    </a:lnTo>
                    <a:lnTo>
                      <a:pt x="530" y="88"/>
                    </a:lnTo>
                    <a:lnTo>
                      <a:pt x="508" y="168"/>
                    </a:lnTo>
                    <a:close/>
                    <a:moveTo>
                      <a:pt x="483" y="257"/>
                    </a:moveTo>
                    <a:cubicBezTo>
                      <a:pt x="480" y="265"/>
                      <a:pt x="471" y="273"/>
                      <a:pt x="462" y="273"/>
                    </a:cubicBezTo>
                    <a:lnTo>
                      <a:pt x="447" y="273"/>
                    </a:lnTo>
                    <a:lnTo>
                      <a:pt x="463" y="177"/>
                    </a:lnTo>
                    <a:lnTo>
                      <a:pt x="505" y="177"/>
                    </a:lnTo>
                    <a:lnTo>
                      <a:pt x="483" y="257"/>
                    </a:lnTo>
                    <a:close/>
                    <a:moveTo>
                      <a:pt x="432" y="273"/>
                    </a:moveTo>
                    <a:lnTo>
                      <a:pt x="398" y="273"/>
                    </a:lnTo>
                    <a:lnTo>
                      <a:pt x="407" y="177"/>
                    </a:lnTo>
                    <a:lnTo>
                      <a:pt x="447" y="177"/>
                    </a:lnTo>
                    <a:lnTo>
                      <a:pt x="432" y="273"/>
                    </a:lnTo>
                    <a:close/>
                    <a:moveTo>
                      <a:pt x="352" y="168"/>
                    </a:moveTo>
                    <a:lnTo>
                      <a:pt x="352" y="88"/>
                    </a:lnTo>
                    <a:lnTo>
                      <a:pt x="401" y="88"/>
                    </a:lnTo>
                    <a:lnTo>
                      <a:pt x="393" y="168"/>
                    </a:lnTo>
                    <a:lnTo>
                      <a:pt x="352" y="168"/>
                    </a:lnTo>
                    <a:close/>
                    <a:moveTo>
                      <a:pt x="383" y="273"/>
                    </a:moveTo>
                    <a:lnTo>
                      <a:pt x="352" y="273"/>
                    </a:lnTo>
                    <a:lnTo>
                      <a:pt x="352" y="177"/>
                    </a:lnTo>
                    <a:lnTo>
                      <a:pt x="392" y="177"/>
                    </a:lnTo>
                    <a:lnTo>
                      <a:pt x="383" y="273"/>
                    </a:lnTo>
                    <a:close/>
                    <a:moveTo>
                      <a:pt x="337" y="168"/>
                    </a:moveTo>
                    <a:lnTo>
                      <a:pt x="297" y="168"/>
                    </a:lnTo>
                    <a:lnTo>
                      <a:pt x="289" y="88"/>
                    </a:lnTo>
                    <a:lnTo>
                      <a:pt x="337" y="88"/>
                    </a:lnTo>
                    <a:lnTo>
                      <a:pt x="337" y="168"/>
                    </a:lnTo>
                    <a:close/>
                    <a:moveTo>
                      <a:pt x="337" y="273"/>
                    </a:moveTo>
                    <a:lnTo>
                      <a:pt x="307" y="273"/>
                    </a:lnTo>
                    <a:lnTo>
                      <a:pt x="298" y="177"/>
                    </a:lnTo>
                    <a:lnTo>
                      <a:pt x="337" y="177"/>
                    </a:lnTo>
                    <a:lnTo>
                      <a:pt x="337" y="273"/>
                    </a:lnTo>
                    <a:close/>
                    <a:moveTo>
                      <a:pt x="258" y="273"/>
                    </a:moveTo>
                    <a:lnTo>
                      <a:pt x="242" y="177"/>
                    </a:lnTo>
                    <a:lnTo>
                      <a:pt x="282" y="177"/>
                    </a:lnTo>
                    <a:lnTo>
                      <a:pt x="292" y="273"/>
                    </a:lnTo>
                    <a:lnTo>
                      <a:pt x="258" y="273"/>
                    </a:lnTo>
                    <a:close/>
                    <a:moveTo>
                      <a:pt x="210" y="273"/>
                    </a:moveTo>
                    <a:lnTo>
                      <a:pt x="188" y="177"/>
                    </a:lnTo>
                    <a:lnTo>
                      <a:pt x="227" y="177"/>
                    </a:lnTo>
                    <a:lnTo>
                      <a:pt x="242" y="273"/>
                    </a:lnTo>
                    <a:lnTo>
                      <a:pt x="210" y="273"/>
                    </a:lnTo>
                    <a:close/>
                    <a:moveTo>
                      <a:pt x="170" y="273"/>
                    </a:moveTo>
                    <a:cubicBezTo>
                      <a:pt x="165" y="273"/>
                      <a:pt x="161" y="271"/>
                      <a:pt x="157" y="268"/>
                    </a:cubicBezTo>
                    <a:cubicBezTo>
                      <a:pt x="150" y="244"/>
                      <a:pt x="141" y="211"/>
                      <a:pt x="131" y="177"/>
                    </a:cubicBezTo>
                    <a:lnTo>
                      <a:pt x="173" y="177"/>
                    </a:lnTo>
                    <a:lnTo>
                      <a:pt x="194" y="273"/>
                    </a:lnTo>
                    <a:lnTo>
                      <a:pt x="170" y="273"/>
                    </a:lnTo>
                    <a:close/>
                    <a:moveTo>
                      <a:pt x="126" y="156"/>
                    </a:moveTo>
                    <a:cubicBezTo>
                      <a:pt x="119" y="133"/>
                      <a:pt x="112" y="109"/>
                      <a:pt x="106" y="88"/>
                    </a:cubicBezTo>
                    <a:lnTo>
                      <a:pt x="153" y="88"/>
                    </a:lnTo>
                    <a:lnTo>
                      <a:pt x="171" y="168"/>
                    </a:lnTo>
                    <a:lnTo>
                      <a:pt x="129" y="168"/>
                    </a:lnTo>
                    <a:cubicBezTo>
                      <a:pt x="128" y="164"/>
                      <a:pt x="127" y="160"/>
                      <a:pt x="126" y="156"/>
                    </a:cubicBezTo>
                    <a:close/>
                    <a:moveTo>
                      <a:pt x="212" y="88"/>
                    </a:moveTo>
                    <a:lnTo>
                      <a:pt x="225" y="168"/>
                    </a:lnTo>
                    <a:lnTo>
                      <a:pt x="186" y="168"/>
                    </a:lnTo>
                    <a:lnTo>
                      <a:pt x="168" y="88"/>
                    </a:lnTo>
                    <a:lnTo>
                      <a:pt x="212" y="88"/>
                    </a:lnTo>
                    <a:close/>
                    <a:moveTo>
                      <a:pt x="274" y="88"/>
                    </a:moveTo>
                    <a:lnTo>
                      <a:pt x="281" y="168"/>
                    </a:lnTo>
                    <a:lnTo>
                      <a:pt x="241" y="168"/>
                    </a:lnTo>
                    <a:lnTo>
                      <a:pt x="228" y="88"/>
                    </a:lnTo>
                    <a:lnTo>
                      <a:pt x="274" y="88"/>
                    </a:lnTo>
                    <a:close/>
                    <a:moveTo>
                      <a:pt x="416" y="88"/>
                    </a:moveTo>
                    <a:lnTo>
                      <a:pt x="462" y="88"/>
                    </a:lnTo>
                    <a:lnTo>
                      <a:pt x="449" y="168"/>
                    </a:lnTo>
                    <a:lnTo>
                      <a:pt x="408" y="168"/>
                    </a:lnTo>
                    <a:lnTo>
                      <a:pt x="416" y="88"/>
                    </a:lnTo>
                    <a:close/>
                    <a:moveTo>
                      <a:pt x="24" y="29"/>
                    </a:moveTo>
                    <a:cubicBezTo>
                      <a:pt x="19" y="31"/>
                      <a:pt x="15" y="28"/>
                      <a:pt x="13" y="24"/>
                    </a:cubicBezTo>
                    <a:cubicBezTo>
                      <a:pt x="12" y="19"/>
                      <a:pt x="14" y="14"/>
                      <a:pt x="19" y="13"/>
                    </a:cubicBezTo>
                    <a:cubicBezTo>
                      <a:pt x="24" y="12"/>
                      <a:pt x="28" y="14"/>
                      <a:pt x="30" y="19"/>
                    </a:cubicBezTo>
                    <a:cubicBezTo>
                      <a:pt x="31" y="23"/>
                      <a:pt x="29" y="28"/>
                      <a:pt x="24" y="29"/>
                    </a:cubicBezTo>
                    <a:close/>
                    <a:moveTo>
                      <a:pt x="533" y="63"/>
                    </a:moveTo>
                    <a:lnTo>
                      <a:pt x="110" y="63"/>
                    </a:lnTo>
                    <a:cubicBezTo>
                      <a:pt x="106" y="63"/>
                      <a:pt x="103" y="63"/>
                      <a:pt x="100" y="65"/>
                    </a:cubicBezTo>
                    <a:cubicBezTo>
                      <a:pt x="99" y="61"/>
                      <a:pt x="94" y="44"/>
                      <a:pt x="91" y="34"/>
                    </a:cubicBezTo>
                    <a:cubicBezTo>
                      <a:pt x="88" y="22"/>
                      <a:pt x="79" y="12"/>
                      <a:pt x="64" y="12"/>
                    </a:cubicBezTo>
                    <a:cubicBezTo>
                      <a:pt x="61" y="12"/>
                      <a:pt x="40" y="12"/>
                      <a:pt x="39" y="12"/>
                    </a:cubicBezTo>
                    <a:cubicBezTo>
                      <a:pt x="34" y="4"/>
                      <a:pt x="25" y="0"/>
                      <a:pt x="16" y="2"/>
                    </a:cubicBezTo>
                    <a:cubicBezTo>
                      <a:pt x="5" y="6"/>
                      <a:pt x="0" y="16"/>
                      <a:pt x="3" y="27"/>
                    </a:cubicBezTo>
                    <a:cubicBezTo>
                      <a:pt x="6" y="37"/>
                      <a:pt x="17" y="43"/>
                      <a:pt x="27" y="40"/>
                    </a:cubicBezTo>
                    <a:cubicBezTo>
                      <a:pt x="32" y="39"/>
                      <a:pt x="36" y="35"/>
                      <a:pt x="38" y="31"/>
                    </a:cubicBezTo>
                    <a:cubicBezTo>
                      <a:pt x="40" y="31"/>
                      <a:pt x="52" y="31"/>
                      <a:pt x="54" y="31"/>
                    </a:cubicBezTo>
                    <a:cubicBezTo>
                      <a:pt x="63" y="31"/>
                      <a:pt x="65" y="33"/>
                      <a:pt x="67" y="40"/>
                    </a:cubicBezTo>
                    <a:cubicBezTo>
                      <a:pt x="73" y="61"/>
                      <a:pt x="165" y="388"/>
                      <a:pt x="171" y="409"/>
                    </a:cubicBezTo>
                    <a:cubicBezTo>
                      <a:pt x="180" y="439"/>
                      <a:pt x="194" y="450"/>
                      <a:pt x="209" y="450"/>
                    </a:cubicBezTo>
                    <a:lnTo>
                      <a:pt x="483" y="450"/>
                    </a:lnTo>
                    <a:cubicBezTo>
                      <a:pt x="492" y="450"/>
                      <a:pt x="496" y="441"/>
                      <a:pt x="496" y="437"/>
                    </a:cubicBezTo>
                    <a:cubicBezTo>
                      <a:pt x="498" y="423"/>
                      <a:pt x="486" y="420"/>
                      <a:pt x="480" y="420"/>
                    </a:cubicBezTo>
                    <a:lnTo>
                      <a:pt x="212" y="420"/>
                    </a:lnTo>
                    <a:cubicBezTo>
                      <a:pt x="205" y="420"/>
                      <a:pt x="198" y="415"/>
                      <a:pt x="196" y="408"/>
                    </a:cubicBezTo>
                    <a:cubicBezTo>
                      <a:pt x="195" y="404"/>
                      <a:pt x="170" y="315"/>
                      <a:pt x="168" y="309"/>
                    </a:cubicBezTo>
                    <a:cubicBezTo>
                      <a:pt x="174" y="315"/>
                      <a:pt x="179" y="314"/>
                      <a:pt x="182" y="314"/>
                    </a:cubicBezTo>
                    <a:lnTo>
                      <a:pt x="451" y="314"/>
                    </a:lnTo>
                    <a:cubicBezTo>
                      <a:pt x="486" y="314"/>
                      <a:pt x="500" y="272"/>
                      <a:pt x="503" y="259"/>
                    </a:cubicBezTo>
                    <a:lnTo>
                      <a:pt x="552" y="88"/>
                    </a:lnTo>
                    <a:cubicBezTo>
                      <a:pt x="554" y="81"/>
                      <a:pt x="552" y="63"/>
                      <a:pt x="533" y="63"/>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grpSp>
        <p:nvGrpSpPr>
          <p:cNvPr id="55" name="Groep 54">
            <a:extLst>
              <a:ext uri="{FF2B5EF4-FFF2-40B4-BE49-F238E27FC236}">
                <a16:creationId xmlns:a16="http://schemas.microsoft.com/office/drawing/2014/main" id="{AE11597A-6376-49A3-876C-F819D68AAA98}"/>
              </a:ext>
            </a:extLst>
          </p:cNvPr>
          <p:cNvGrpSpPr/>
          <p:nvPr/>
        </p:nvGrpSpPr>
        <p:grpSpPr>
          <a:xfrm>
            <a:off x="9496789" y="782495"/>
            <a:ext cx="288000" cy="288000"/>
            <a:chOff x="8966036" y="598928"/>
            <a:chExt cx="324000" cy="329184"/>
          </a:xfrm>
        </p:grpSpPr>
        <p:sp>
          <p:nvSpPr>
            <p:cNvPr id="166" name="Oval 53">
              <a:extLst>
                <a:ext uri="{FF2B5EF4-FFF2-40B4-BE49-F238E27FC236}">
                  <a16:creationId xmlns:a16="http://schemas.microsoft.com/office/drawing/2014/main" id="{066299D2-FB2E-40DC-92CF-EFA09021BD5B}"/>
                </a:ext>
              </a:extLst>
            </p:cNvPr>
            <p:cNvSpPr/>
            <p:nvPr/>
          </p:nvSpPr>
          <p:spPr>
            <a:xfrm>
              <a:off x="8966036" y="598928"/>
              <a:ext cx="324000" cy="329184"/>
            </a:xfrm>
            <a:prstGeom prst="ellipse">
              <a:avLst/>
            </a:prstGeom>
            <a:solidFill>
              <a:srgbClr val="62366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67" name="Shopping_cart" descr="{&quot;Key&quot;:&quot;POWER_USER_SHAPE_ICON&quot;,&quot;Value&quot;:&quot;POWER_USER_SHAPE_ICON_STYLE_1&quot;}">
              <a:extLst>
                <a:ext uri="{FF2B5EF4-FFF2-40B4-BE49-F238E27FC236}">
                  <a16:creationId xmlns:a16="http://schemas.microsoft.com/office/drawing/2014/main" id="{82BA15A2-270B-4A0D-9CB6-0D627ED8839A}"/>
                </a:ext>
              </a:extLst>
            </p:cNvPr>
            <p:cNvGrpSpPr>
              <a:grpSpLocks noChangeAspect="1"/>
            </p:cNvGrpSpPr>
            <p:nvPr>
              <p:custDataLst>
                <p:tags r:id="rId6"/>
              </p:custDataLst>
            </p:nvPr>
          </p:nvGrpSpPr>
          <p:grpSpPr>
            <a:xfrm>
              <a:off x="9003559" y="656958"/>
              <a:ext cx="235088" cy="232174"/>
              <a:chOff x="4646614" y="2062164"/>
              <a:chExt cx="384175" cy="379413"/>
            </a:xfrm>
            <a:solidFill>
              <a:schemeClr val="bg1"/>
            </a:solidFill>
          </p:grpSpPr>
          <p:sp>
            <p:nvSpPr>
              <p:cNvPr id="168" name="Freeform 198">
                <a:extLst>
                  <a:ext uri="{FF2B5EF4-FFF2-40B4-BE49-F238E27FC236}">
                    <a16:creationId xmlns:a16="http://schemas.microsoft.com/office/drawing/2014/main" id="{1F56CF71-CDA0-4CA7-BA50-4E78E85F0BAF}"/>
                  </a:ext>
                </a:extLst>
              </p:cNvPr>
              <p:cNvSpPr>
                <a:spLocks noEditPoints="1"/>
              </p:cNvSpPr>
              <p:nvPr/>
            </p:nvSpPr>
            <p:spPr bwMode="auto">
              <a:xfrm>
                <a:off x="4773614" y="2386014"/>
                <a:ext cx="55563" cy="55563"/>
              </a:xfrm>
              <a:custGeom>
                <a:avLst/>
                <a:gdLst>
                  <a:gd name="T0" fmla="*/ 40 w 80"/>
                  <a:gd name="T1" fmla="*/ 55 h 80"/>
                  <a:gd name="T2" fmla="*/ 25 w 80"/>
                  <a:gd name="T3" fmla="*/ 40 h 80"/>
                  <a:gd name="T4" fmla="*/ 40 w 80"/>
                  <a:gd name="T5" fmla="*/ 25 h 80"/>
                  <a:gd name="T6" fmla="*/ 55 w 80"/>
                  <a:gd name="T7" fmla="*/ 40 h 80"/>
                  <a:gd name="T8" fmla="*/ 40 w 80"/>
                  <a:gd name="T9" fmla="*/ 55 h 80"/>
                  <a:gd name="T10" fmla="*/ 40 w 80"/>
                  <a:gd name="T11" fmla="*/ 0 h 80"/>
                  <a:gd name="T12" fmla="*/ 0 w 80"/>
                  <a:gd name="T13" fmla="*/ 40 h 80"/>
                  <a:gd name="T14" fmla="*/ 40 w 80"/>
                  <a:gd name="T15" fmla="*/ 80 h 80"/>
                  <a:gd name="T16" fmla="*/ 80 w 80"/>
                  <a:gd name="T17" fmla="*/ 40 h 80"/>
                  <a:gd name="T18" fmla="*/ 40 w 80"/>
                  <a:gd name="T19"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0" h="80">
                    <a:moveTo>
                      <a:pt x="40" y="55"/>
                    </a:moveTo>
                    <a:cubicBezTo>
                      <a:pt x="32" y="55"/>
                      <a:pt x="25" y="48"/>
                      <a:pt x="25" y="40"/>
                    </a:cubicBezTo>
                    <a:cubicBezTo>
                      <a:pt x="25" y="32"/>
                      <a:pt x="32" y="25"/>
                      <a:pt x="40" y="25"/>
                    </a:cubicBezTo>
                    <a:cubicBezTo>
                      <a:pt x="48" y="25"/>
                      <a:pt x="55" y="32"/>
                      <a:pt x="55" y="40"/>
                    </a:cubicBezTo>
                    <a:cubicBezTo>
                      <a:pt x="55" y="48"/>
                      <a:pt x="48" y="55"/>
                      <a:pt x="40" y="55"/>
                    </a:cubicBezTo>
                    <a:close/>
                    <a:moveTo>
                      <a:pt x="40" y="0"/>
                    </a:moveTo>
                    <a:cubicBezTo>
                      <a:pt x="18" y="0"/>
                      <a:pt x="0" y="18"/>
                      <a:pt x="0" y="40"/>
                    </a:cubicBezTo>
                    <a:cubicBezTo>
                      <a:pt x="0" y="62"/>
                      <a:pt x="18" y="80"/>
                      <a:pt x="40" y="80"/>
                    </a:cubicBezTo>
                    <a:cubicBezTo>
                      <a:pt x="62" y="80"/>
                      <a:pt x="80" y="62"/>
                      <a:pt x="80" y="40"/>
                    </a:cubicBezTo>
                    <a:cubicBezTo>
                      <a:pt x="80" y="18"/>
                      <a:pt x="62" y="0"/>
                      <a:pt x="40"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9" name="Freeform 199">
                <a:extLst>
                  <a:ext uri="{FF2B5EF4-FFF2-40B4-BE49-F238E27FC236}">
                    <a16:creationId xmlns:a16="http://schemas.microsoft.com/office/drawing/2014/main" id="{55DE77B5-59CF-4F9F-A169-BB95D74DE35F}"/>
                  </a:ext>
                </a:extLst>
              </p:cNvPr>
              <p:cNvSpPr>
                <a:spLocks noEditPoints="1"/>
              </p:cNvSpPr>
              <p:nvPr/>
            </p:nvSpPr>
            <p:spPr bwMode="auto">
              <a:xfrm>
                <a:off x="4929189" y="2386014"/>
                <a:ext cx="55563" cy="55563"/>
              </a:xfrm>
              <a:custGeom>
                <a:avLst/>
                <a:gdLst>
                  <a:gd name="T0" fmla="*/ 40 w 80"/>
                  <a:gd name="T1" fmla="*/ 55 h 80"/>
                  <a:gd name="T2" fmla="*/ 25 w 80"/>
                  <a:gd name="T3" fmla="*/ 40 h 80"/>
                  <a:gd name="T4" fmla="*/ 40 w 80"/>
                  <a:gd name="T5" fmla="*/ 25 h 80"/>
                  <a:gd name="T6" fmla="*/ 55 w 80"/>
                  <a:gd name="T7" fmla="*/ 40 h 80"/>
                  <a:gd name="T8" fmla="*/ 40 w 80"/>
                  <a:gd name="T9" fmla="*/ 55 h 80"/>
                  <a:gd name="T10" fmla="*/ 40 w 80"/>
                  <a:gd name="T11" fmla="*/ 0 h 80"/>
                  <a:gd name="T12" fmla="*/ 0 w 80"/>
                  <a:gd name="T13" fmla="*/ 40 h 80"/>
                  <a:gd name="T14" fmla="*/ 40 w 80"/>
                  <a:gd name="T15" fmla="*/ 80 h 80"/>
                  <a:gd name="T16" fmla="*/ 80 w 80"/>
                  <a:gd name="T17" fmla="*/ 40 h 80"/>
                  <a:gd name="T18" fmla="*/ 40 w 80"/>
                  <a:gd name="T19"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0" h="80">
                    <a:moveTo>
                      <a:pt x="40" y="55"/>
                    </a:moveTo>
                    <a:cubicBezTo>
                      <a:pt x="32" y="55"/>
                      <a:pt x="25" y="48"/>
                      <a:pt x="25" y="40"/>
                    </a:cubicBezTo>
                    <a:cubicBezTo>
                      <a:pt x="25" y="32"/>
                      <a:pt x="32" y="25"/>
                      <a:pt x="40" y="25"/>
                    </a:cubicBezTo>
                    <a:cubicBezTo>
                      <a:pt x="48" y="25"/>
                      <a:pt x="55" y="32"/>
                      <a:pt x="55" y="40"/>
                    </a:cubicBezTo>
                    <a:cubicBezTo>
                      <a:pt x="55" y="48"/>
                      <a:pt x="48" y="55"/>
                      <a:pt x="40" y="55"/>
                    </a:cubicBezTo>
                    <a:close/>
                    <a:moveTo>
                      <a:pt x="40" y="0"/>
                    </a:moveTo>
                    <a:cubicBezTo>
                      <a:pt x="18" y="0"/>
                      <a:pt x="0" y="18"/>
                      <a:pt x="0" y="40"/>
                    </a:cubicBezTo>
                    <a:cubicBezTo>
                      <a:pt x="0" y="62"/>
                      <a:pt x="18" y="80"/>
                      <a:pt x="40" y="80"/>
                    </a:cubicBezTo>
                    <a:cubicBezTo>
                      <a:pt x="62" y="80"/>
                      <a:pt x="80" y="62"/>
                      <a:pt x="80" y="40"/>
                    </a:cubicBezTo>
                    <a:cubicBezTo>
                      <a:pt x="80" y="18"/>
                      <a:pt x="62" y="0"/>
                      <a:pt x="40"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0" name="Freeform 200">
                <a:extLst>
                  <a:ext uri="{FF2B5EF4-FFF2-40B4-BE49-F238E27FC236}">
                    <a16:creationId xmlns:a16="http://schemas.microsoft.com/office/drawing/2014/main" id="{BF4DDC83-A000-4EA2-A1B9-8742CCD5F997}"/>
                  </a:ext>
                </a:extLst>
              </p:cNvPr>
              <p:cNvSpPr>
                <a:spLocks noEditPoints="1"/>
              </p:cNvSpPr>
              <p:nvPr/>
            </p:nvSpPr>
            <p:spPr bwMode="auto">
              <a:xfrm>
                <a:off x="4646614" y="2062164"/>
                <a:ext cx="384175" cy="311150"/>
              </a:xfrm>
              <a:custGeom>
                <a:avLst/>
                <a:gdLst>
                  <a:gd name="T0" fmla="*/ 465 w 554"/>
                  <a:gd name="T1" fmla="*/ 168 h 450"/>
                  <a:gd name="T2" fmla="*/ 530 w 554"/>
                  <a:gd name="T3" fmla="*/ 88 h 450"/>
                  <a:gd name="T4" fmla="*/ 483 w 554"/>
                  <a:gd name="T5" fmla="*/ 257 h 450"/>
                  <a:gd name="T6" fmla="*/ 447 w 554"/>
                  <a:gd name="T7" fmla="*/ 273 h 450"/>
                  <a:gd name="T8" fmla="*/ 505 w 554"/>
                  <a:gd name="T9" fmla="*/ 177 h 450"/>
                  <a:gd name="T10" fmla="*/ 432 w 554"/>
                  <a:gd name="T11" fmla="*/ 273 h 450"/>
                  <a:gd name="T12" fmla="*/ 407 w 554"/>
                  <a:gd name="T13" fmla="*/ 177 h 450"/>
                  <a:gd name="T14" fmla="*/ 432 w 554"/>
                  <a:gd name="T15" fmla="*/ 273 h 450"/>
                  <a:gd name="T16" fmla="*/ 352 w 554"/>
                  <a:gd name="T17" fmla="*/ 88 h 450"/>
                  <a:gd name="T18" fmla="*/ 393 w 554"/>
                  <a:gd name="T19" fmla="*/ 168 h 450"/>
                  <a:gd name="T20" fmla="*/ 383 w 554"/>
                  <a:gd name="T21" fmla="*/ 273 h 450"/>
                  <a:gd name="T22" fmla="*/ 352 w 554"/>
                  <a:gd name="T23" fmla="*/ 177 h 450"/>
                  <a:gd name="T24" fmla="*/ 383 w 554"/>
                  <a:gd name="T25" fmla="*/ 273 h 450"/>
                  <a:gd name="T26" fmla="*/ 297 w 554"/>
                  <a:gd name="T27" fmla="*/ 168 h 450"/>
                  <a:gd name="T28" fmla="*/ 337 w 554"/>
                  <a:gd name="T29" fmla="*/ 88 h 450"/>
                  <a:gd name="T30" fmla="*/ 337 w 554"/>
                  <a:gd name="T31" fmla="*/ 273 h 450"/>
                  <a:gd name="T32" fmla="*/ 298 w 554"/>
                  <a:gd name="T33" fmla="*/ 177 h 450"/>
                  <a:gd name="T34" fmla="*/ 337 w 554"/>
                  <a:gd name="T35" fmla="*/ 273 h 450"/>
                  <a:gd name="T36" fmla="*/ 242 w 554"/>
                  <a:gd name="T37" fmla="*/ 177 h 450"/>
                  <a:gd name="T38" fmla="*/ 292 w 554"/>
                  <a:gd name="T39" fmla="*/ 273 h 450"/>
                  <a:gd name="T40" fmla="*/ 210 w 554"/>
                  <a:gd name="T41" fmla="*/ 273 h 450"/>
                  <a:gd name="T42" fmla="*/ 227 w 554"/>
                  <a:gd name="T43" fmla="*/ 177 h 450"/>
                  <a:gd name="T44" fmla="*/ 210 w 554"/>
                  <a:gd name="T45" fmla="*/ 273 h 450"/>
                  <a:gd name="T46" fmla="*/ 157 w 554"/>
                  <a:gd name="T47" fmla="*/ 268 h 450"/>
                  <a:gd name="T48" fmla="*/ 173 w 554"/>
                  <a:gd name="T49" fmla="*/ 177 h 450"/>
                  <a:gd name="T50" fmla="*/ 170 w 554"/>
                  <a:gd name="T51" fmla="*/ 273 h 450"/>
                  <a:gd name="T52" fmla="*/ 106 w 554"/>
                  <a:gd name="T53" fmla="*/ 88 h 450"/>
                  <a:gd name="T54" fmla="*/ 171 w 554"/>
                  <a:gd name="T55" fmla="*/ 168 h 450"/>
                  <a:gd name="T56" fmla="*/ 126 w 554"/>
                  <a:gd name="T57" fmla="*/ 156 h 450"/>
                  <a:gd name="T58" fmla="*/ 225 w 554"/>
                  <a:gd name="T59" fmla="*/ 168 h 450"/>
                  <a:gd name="T60" fmla="*/ 168 w 554"/>
                  <a:gd name="T61" fmla="*/ 88 h 450"/>
                  <a:gd name="T62" fmla="*/ 274 w 554"/>
                  <a:gd name="T63" fmla="*/ 88 h 450"/>
                  <a:gd name="T64" fmla="*/ 241 w 554"/>
                  <a:gd name="T65" fmla="*/ 168 h 450"/>
                  <a:gd name="T66" fmla="*/ 274 w 554"/>
                  <a:gd name="T67" fmla="*/ 88 h 450"/>
                  <a:gd name="T68" fmla="*/ 462 w 554"/>
                  <a:gd name="T69" fmla="*/ 88 h 450"/>
                  <a:gd name="T70" fmla="*/ 408 w 554"/>
                  <a:gd name="T71" fmla="*/ 168 h 450"/>
                  <a:gd name="T72" fmla="*/ 24 w 554"/>
                  <a:gd name="T73" fmla="*/ 29 h 450"/>
                  <a:gd name="T74" fmla="*/ 19 w 554"/>
                  <a:gd name="T75" fmla="*/ 13 h 450"/>
                  <a:gd name="T76" fmla="*/ 24 w 554"/>
                  <a:gd name="T77" fmla="*/ 29 h 450"/>
                  <a:gd name="T78" fmla="*/ 110 w 554"/>
                  <a:gd name="T79" fmla="*/ 63 h 450"/>
                  <a:gd name="T80" fmla="*/ 91 w 554"/>
                  <a:gd name="T81" fmla="*/ 34 h 450"/>
                  <a:gd name="T82" fmla="*/ 39 w 554"/>
                  <a:gd name="T83" fmla="*/ 12 h 450"/>
                  <a:gd name="T84" fmla="*/ 3 w 554"/>
                  <a:gd name="T85" fmla="*/ 27 h 450"/>
                  <a:gd name="T86" fmla="*/ 38 w 554"/>
                  <a:gd name="T87" fmla="*/ 31 h 450"/>
                  <a:gd name="T88" fmla="*/ 67 w 554"/>
                  <a:gd name="T89" fmla="*/ 40 h 450"/>
                  <a:gd name="T90" fmla="*/ 209 w 554"/>
                  <a:gd name="T91" fmla="*/ 450 h 450"/>
                  <a:gd name="T92" fmla="*/ 496 w 554"/>
                  <a:gd name="T93" fmla="*/ 437 h 450"/>
                  <a:gd name="T94" fmla="*/ 212 w 554"/>
                  <a:gd name="T95" fmla="*/ 420 h 450"/>
                  <a:gd name="T96" fmla="*/ 168 w 554"/>
                  <a:gd name="T97" fmla="*/ 309 h 450"/>
                  <a:gd name="T98" fmla="*/ 451 w 554"/>
                  <a:gd name="T99" fmla="*/ 314 h 450"/>
                  <a:gd name="T100" fmla="*/ 552 w 554"/>
                  <a:gd name="T101" fmla="*/ 88 h 4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54" h="450">
                    <a:moveTo>
                      <a:pt x="508" y="168"/>
                    </a:moveTo>
                    <a:lnTo>
                      <a:pt x="465" y="168"/>
                    </a:lnTo>
                    <a:lnTo>
                      <a:pt x="478" y="88"/>
                    </a:lnTo>
                    <a:lnTo>
                      <a:pt x="530" y="88"/>
                    </a:lnTo>
                    <a:lnTo>
                      <a:pt x="508" y="168"/>
                    </a:lnTo>
                    <a:close/>
                    <a:moveTo>
                      <a:pt x="483" y="257"/>
                    </a:moveTo>
                    <a:cubicBezTo>
                      <a:pt x="480" y="265"/>
                      <a:pt x="471" y="273"/>
                      <a:pt x="462" y="273"/>
                    </a:cubicBezTo>
                    <a:lnTo>
                      <a:pt x="447" y="273"/>
                    </a:lnTo>
                    <a:lnTo>
                      <a:pt x="463" y="177"/>
                    </a:lnTo>
                    <a:lnTo>
                      <a:pt x="505" y="177"/>
                    </a:lnTo>
                    <a:lnTo>
                      <a:pt x="483" y="257"/>
                    </a:lnTo>
                    <a:close/>
                    <a:moveTo>
                      <a:pt x="432" y="273"/>
                    </a:moveTo>
                    <a:lnTo>
                      <a:pt x="398" y="273"/>
                    </a:lnTo>
                    <a:lnTo>
                      <a:pt x="407" y="177"/>
                    </a:lnTo>
                    <a:lnTo>
                      <a:pt x="447" y="177"/>
                    </a:lnTo>
                    <a:lnTo>
                      <a:pt x="432" y="273"/>
                    </a:lnTo>
                    <a:close/>
                    <a:moveTo>
                      <a:pt x="352" y="168"/>
                    </a:moveTo>
                    <a:lnTo>
                      <a:pt x="352" y="88"/>
                    </a:lnTo>
                    <a:lnTo>
                      <a:pt x="401" y="88"/>
                    </a:lnTo>
                    <a:lnTo>
                      <a:pt x="393" y="168"/>
                    </a:lnTo>
                    <a:lnTo>
                      <a:pt x="352" y="168"/>
                    </a:lnTo>
                    <a:close/>
                    <a:moveTo>
                      <a:pt x="383" y="273"/>
                    </a:moveTo>
                    <a:lnTo>
                      <a:pt x="352" y="273"/>
                    </a:lnTo>
                    <a:lnTo>
                      <a:pt x="352" y="177"/>
                    </a:lnTo>
                    <a:lnTo>
                      <a:pt x="392" y="177"/>
                    </a:lnTo>
                    <a:lnTo>
                      <a:pt x="383" y="273"/>
                    </a:lnTo>
                    <a:close/>
                    <a:moveTo>
                      <a:pt x="337" y="168"/>
                    </a:moveTo>
                    <a:lnTo>
                      <a:pt x="297" y="168"/>
                    </a:lnTo>
                    <a:lnTo>
                      <a:pt x="289" y="88"/>
                    </a:lnTo>
                    <a:lnTo>
                      <a:pt x="337" y="88"/>
                    </a:lnTo>
                    <a:lnTo>
                      <a:pt x="337" y="168"/>
                    </a:lnTo>
                    <a:close/>
                    <a:moveTo>
                      <a:pt x="337" y="273"/>
                    </a:moveTo>
                    <a:lnTo>
                      <a:pt x="307" y="273"/>
                    </a:lnTo>
                    <a:lnTo>
                      <a:pt x="298" y="177"/>
                    </a:lnTo>
                    <a:lnTo>
                      <a:pt x="337" y="177"/>
                    </a:lnTo>
                    <a:lnTo>
                      <a:pt x="337" y="273"/>
                    </a:lnTo>
                    <a:close/>
                    <a:moveTo>
                      <a:pt x="258" y="273"/>
                    </a:moveTo>
                    <a:lnTo>
                      <a:pt x="242" y="177"/>
                    </a:lnTo>
                    <a:lnTo>
                      <a:pt x="282" y="177"/>
                    </a:lnTo>
                    <a:lnTo>
                      <a:pt x="292" y="273"/>
                    </a:lnTo>
                    <a:lnTo>
                      <a:pt x="258" y="273"/>
                    </a:lnTo>
                    <a:close/>
                    <a:moveTo>
                      <a:pt x="210" y="273"/>
                    </a:moveTo>
                    <a:lnTo>
                      <a:pt x="188" y="177"/>
                    </a:lnTo>
                    <a:lnTo>
                      <a:pt x="227" y="177"/>
                    </a:lnTo>
                    <a:lnTo>
                      <a:pt x="242" y="273"/>
                    </a:lnTo>
                    <a:lnTo>
                      <a:pt x="210" y="273"/>
                    </a:lnTo>
                    <a:close/>
                    <a:moveTo>
                      <a:pt x="170" y="273"/>
                    </a:moveTo>
                    <a:cubicBezTo>
                      <a:pt x="165" y="273"/>
                      <a:pt x="161" y="271"/>
                      <a:pt x="157" y="268"/>
                    </a:cubicBezTo>
                    <a:cubicBezTo>
                      <a:pt x="150" y="244"/>
                      <a:pt x="141" y="211"/>
                      <a:pt x="131" y="177"/>
                    </a:cubicBezTo>
                    <a:lnTo>
                      <a:pt x="173" y="177"/>
                    </a:lnTo>
                    <a:lnTo>
                      <a:pt x="194" y="273"/>
                    </a:lnTo>
                    <a:lnTo>
                      <a:pt x="170" y="273"/>
                    </a:lnTo>
                    <a:close/>
                    <a:moveTo>
                      <a:pt x="126" y="156"/>
                    </a:moveTo>
                    <a:cubicBezTo>
                      <a:pt x="119" y="133"/>
                      <a:pt x="112" y="109"/>
                      <a:pt x="106" y="88"/>
                    </a:cubicBezTo>
                    <a:lnTo>
                      <a:pt x="153" y="88"/>
                    </a:lnTo>
                    <a:lnTo>
                      <a:pt x="171" y="168"/>
                    </a:lnTo>
                    <a:lnTo>
                      <a:pt x="129" y="168"/>
                    </a:lnTo>
                    <a:cubicBezTo>
                      <a:pt x="128" y="164"/>
                      <a:pt x="127" y="160"/>
                      <a:pt x="126" y="156"/>
                    </a:cubicBezTo>
                    <a:close/>
                    <a:moveTo>
                      <a:pt x="212" y="88"/>
                    </a:moveTo>
                    <a:lnTo>
                      <a:pt x="225" y="168"/>
                    </a:lnTo>
                    <a:lnTo>
                      <a:pt x="186" y="168"/>
                    </a:lnTo>
                    <a:lnTo>
                      <a:pt x="168" y="88"/>
                    </a:lnTo>
                    <a:lnTo>
                      <a:pt x="212" y="88"/>
                    </a:lnTo>
                    <a:close/>
                    <a:moveTo>
                      <a:pt x="274" y="88"/>
                    </a:moveTo>
                    <a:lnTo>
                      <a:pt x="281" y="168"/>
                    </a:lnTo>
                    <a:lnTo>
                      <a:pt x="241" y="168"/>
                    </a:lnTo>
                    <a:lnTo>
                      <a:pt x="228" y="88"/>
                    </a:lnTo>
                    <a:lnTo>
                      <a:pt x="274" y="88"/>
                    </a:lnTo>
                    <a:close/>
                    <a:moveTo>
                      <a:pt x="416" y="88"/>
                    </a:moveTo>
                    <a:lnTo>
                      <a:pt x="462" y="88"/>
                    </a:lnTo>
                    <a:lnTo>
                      <a:pt x="449" y="168"/>
                    </a:lnTo>
                    <a:lnTo>
                      <a:pt x="408" y="168"/>
                    </a:lnTo>
                    <a:lnTo>
                      <a:pt x="416" y="88"/>
                    </a:lnTo>
                    <a:close/>
                    <a:moveTo>
                      <a:pt x="24" y="29"/>
                    </a:moveTo>
                    <a:cubicBezTo>
                      <a:pt x="19" y="31"/>
                      <a:pt x="15" y="28"/>
                      <a:pt x="13" y="24"/>
                    </a:cubicBezTo>
                    <a:cubicBezTo>
                      <a:pt x="12" y="19"/>
                      <a:pt x="14" y="14"/>
                      <a:pt x="19" y="13"/>
                    </a:cubicBezTo>
                    <a:cubicBezTo>
                      <a:pt x="24" y="12"/>
                      <a:pt x="28" y="14"/>
                      <a:pt x="30" y="19"/>
                    </a:cubicBezTo>
                    <a:cubicBezTo>
                      <a:pt x="31" y="23"/>
                      <a:pt x="29" y="28"/>
                      <a:pt x="24" y="29"/>
                    </a:cubicBezTo>
                    <a:close/>
                    <a:moveTo>
                      <a:pt x="533" y="63"/>
                    </a:moveTo>
                    <a:lnTo>
                      <a:pt x="110" y="63"/>
                    </a:lnTo>
                    <a:cubicBezTo>
                      <a:pt x="106" y="63"/>
                      <a:pt x="103" y="63"/>
                      <a:pt x="100" y="65"/>
                    </a:cubicBezTo>
                    <a:cubicBezTo>
                      <a:pt x="99" y="61"/>
                      <a:pt x="94" y="44"/>
                      <a:pt x="91" y="34"/>
                    </a:cubicBezTo>
                    <a:cubicBezTo>
                      <a:pt x="88" y="22"/>
                      <a:pt x="79" y="12"/>
                      <a:pt x="64" y="12"/>
                    </a:cubicBezTo>
                    <a:cubicBezTo>
                      <a:pt x="61" y="12"/>
                      <a:pt x="40" y="12"/>
                      <a:pt x="39" y="12"/>
                    </a:cubicBezTo>
                    <a:cubicBezTo>
                      <a:pt x="34" y="4"/>
                      <a:pt x="25" y="0"/>
                      <a:pt x="16" y="2"/>
                    </a:cubicBezTo>
                    <a:cubicBezTo>
                      <a:pt x="5" y="6"/>
                      <a:pt x="0" y="16"/>
                      <a:pt x="3" y="27"/>
                    </a:cubicBezTo>
                    <a:cubicBezTo>
                      <a:pt x="6" y="37"/>
                      <a:pt x="17" y="43"/>
                      <a:pt x="27" y="40"/>
                    </a:cubicBezTo>
                    <a:cubicBezTo>
                      <a:pt x="32" y="39"/>
                      <a:pt x="36" y="35"/>
                      <a:pt x="38" y="31"/>
                    </a:cubicBezTo>
                    <a:cubicBezTo>
                      <a:pt x="40" y="31"/>
                      <a:pt x="52" y="31"/>
                      <a:pt x="54" y="31"/>
                    </a:cubicBezTo>
                    <a:cubicBezTo>
                      <a:pt x="63" y="31"/>
                      <a:pt x="65" y="33"/>
                      <a:pt x="67" y="40"/>
                    </a:cubicBezTo>
                    <a:cubicBezTo>
                      <a:pt x="73" y="61"/>
                      <a:pt x="165" y="388"/>
                      <a:pt x="171" y="409"/>
                    </a:cubicBezTo>
                    <a:cubicBezTo>
                      <a:pt x="180" y="439"/>
                      <a:pt x="194" y="450"/>
                      <a:pt x="209" y="450"/>
                    </a:cubicBezTo>
                    <a:lnTo>
                      <a:pt x="483" y="450"/>
                    </a:lnTo>
                    <a:cubicBezTo>
                      <a:pt x="492" y="450"/>
                      <a:pt x="496" y="441"/>
                      <a:pt x="496" y="437"/>
                    </a:cubicBezTo>
                    <a:cubicBezTo>
                      <a:pt x="498" y="423"/>
                      <a:pt x="486" y="420"/>
                      <a:pt x="480" y="420"/>
                    </a:cubicBezTo>
                    <a:lnTo>
                      <a:pt x="212" y="420"/>
                    </a:lnTo>
                    <a:cubicBezTo>
                      <a:pt x="205" y="420"/>
                      <a:pt x="198" y="415"/>
                      <a:pt x="196" y="408"/>
                    </a:cubicBezTo>
                    <a:cubicBezTo>
                      <a:pt x="195" y="404"/>
                      <a:pt x="170" y="315"/>
                      <a:pt x="168" y="309"/>
                    </a:cubicBezTo>
                    <a:cubicBezTo>
                      <a:pt x="174" y="315"/>
                      <a:pt x="179" y="314"/>
                      <a:pt x="182" y="314"/>
                    </a:cubicBezTo>
                    <a:lnTo>
                      <a:pt x="451" y="314"/>
                    </a:lnTo>
                    <a:cubicBezTo>
                      <a:pt x="486" y="314"/>
                      <a:pt x="500" y="272"/>
                      <a:pt x="503" y="259"/>
                    </a:cubicBezTo>
                    <a:lnTo>
                      <a:pt x="552" y="88"/>
                    </a:lnTo>
                    <a:cubicBezTo>
                      <a:pt x="554" y="81"/>
                      <a:pt x="552" y="63"/>
                      <a:pt x="533" y="63"/>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grpSp>
        <p:nvGrpSpPr>
          <p:cNvPr id="61" name="Groep 60">
            <a:extLst>
              <a:ext uri="{FF2B5EF4-FFF2-40B4-BE49-F238E27FC236}">
                <a16:creationId xmlns:a16="http://schemas.microsoft.com/office/drawing/2014/main" id="{E097065E-4908-44AD-8355-0CBD44836347}"/>
              </a:ext>
            </a:extLst>
          </p:cNvPr>
          <p:cNvGrpSpPr/>
          <p:nvPr/>
        </p:nvGrpSpPr>
        <p:grpSpPr>
          <a:xfrm>
            <a:off x="8851208" y="2286427"/>
            <a:ext cx="252000" cy="252000"/>
            <a:chOff x="8342489" y="1970656"/>
            <a:chExt cx="329184" cy="329184"/>
          </a:xfrm>
        </p:grpSpPr>
        <p:sp>
          <p:nvSpPr>
            <p:cNvPr id="115" name="Oval 53">
              <a:extLst>
                <a:ext uri="{FF2B5EF4-FFF2-40B4-BE49-F238E27FC236}">
                  <a16:creationId xmlns:a16="http://schemas.microsoft.com/office/drawing/2014/main" id="{2E663ECA-EDF3-4349-AB27-7CEDA6902532}"/>
                </a:ext>
              </a:extLst>
            </p:cNvPr>
            <p:cNvSpPr/>
            <p:nvPr/>
          </p:nvSpPr>
          <p:spPr>
            <a:xfrm>
              <a:off x="8342489" y="1970656"/>
              <a:ext cx="329184" cy="329184"/>
            </a:xfrm>
            <a:prstGeom prst="ellipse">
              <a:avLst/>
            </a:prstGeom>
            <a:solidFill>
              <a:srgbClr val="62366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16" name="Shopping_cart" descr="{&quot;Key&quot;:&quot;POWER_USER_SHAPE_ICON&quot;,&quot;Value&quot;:&quot;POWER_USER_SHAPE_ICON_STYLE_1&quot;}">
              <a:extLst>
                <a:ext uri="{FF2B5EF4-FFF2-40B4-BE49-F238E27FC236}">
                  <a16:creationId xmlns:a16="http://schemas.microsoft.com/office/drawing/2014/main" id="{6454265F-2F30-4423-A79E-0AAE56B6455C}"/>
                </a:ext>
              </a:extLst>
            </p:cNvPr>
            <p:cNvGrpSpPr>
              <a:grpSpLocks noChangeAspect="1"/>
            </p:cNvGrpSpPr>
            <p:nvPr>
              <p:custDataLst>
                <p:tags r:id="rId5"/>
              </p:custDataLst>
            </p:nvPr>
          </p:nvGrpSpPr>
          <p:grpSpPr>
            <a:xfrm>
              <a:off x="8380012" y="2028686"/>
              <a:ext cx="235088" cy="232174"/>
              <a:chOff x="4646614" y="2062164"/>
              <a:chExt cx="384175" cy="379413"/>
            </a:xfrm>
            <a:solidFill>
              <a:schemeClr val="bg1"/>
            </a:solidFill>
          </p:grpSpPr>
          <p:sp>
            <p:nvSpPr>
              <p:cNvPr id="117" name="Freeform 198">
                <a:extLst>
                  <a:ext uri="{FF2B5EF4-FFF2-40B4-BE49-F238E27FC236}">
                    <a16:creationId xmlns:a16="http://schemas.microsoft.com/office/drawing/2014/main" id="{4738A222-BD17-478E-9C2A-3AE8A40128BB}"/>
                  </a:ext>
                </a:extLst>
              </p:cNvPr>
              <p:cNvSpPr>
                <a:spLocks noEditPoints="1"/>
              </p:cNvSpPr>
              <p:nvPr/>
            </p:nvSpPr>
            <p:spPr bwMode="auto">
              <a:xfrm>
                <a:off x="4773614" y="2386014"/>
                <a:ext cx="55563" cy="55563"/>
              </a:xfrm>
              <a:custGeom>
                <a:avLst/>
                <a:gdLst>
                  <a:gd name="T0" fmla="*/ 40 w 80"/>
                  <a:gd name="T1" fmla="*/ 55 h 80"/>
                  <a:gd name="T2" fmla="*/ 25 w 80"/>
                  <a:gd name="T3" fmla="*/ 40 h 80"/>
                  <a:gd name="T4" fmla="*/ 40 w 80"/>
                  <a:gd name="T5" fmla="*/ 25 h 80"/>
                  <a:gd name="T6" fmla="*/ 55 w 80"/>
                  <a:gd name="T7" fmla="*/ 40 h 80"/>
                  <a:gd name="T8" fmla="*/ 40 w 80"/>
                  <a:gd name="T9" fmla="*/ 55 h 80"/>
                  <a:gd name="T10" fmla="*/ 40 w 80"/>
                  <a:gd name="T11" fmla="*/ 0 h 80"/>
                  <a:gd name="T12" fmla="*/ 0 w 80"/>
                  <a:gd name="T13" fmla="*/ 40 h 80"/>
                  <a:gd name="T14" fmla="*/ 40 w 80"/>
                  <a:gd name="T15" fmla="*/ 80 h 80"/>
                  <a:gd name="T16" fmla="*/ 80 w 80"/>
                  <a:gd name="T17" fmla="*/ 40 h 80"/>
                  <a:gd name="T18" fmla="*/ 40 w 80"/>
                  <a:gd name="T19"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0" h="80">
                    <a:moveTo>
                      <a:pt x="40" y="55"/>
                    </a:moveTo>
                    <a:cubicBezTo>
                      <a:pt x="32" y="55"/>
                      <a:pt x="25" y="48"/>
                      <a:pt x="25" y="40"/>
                    </a:cubicBezTo>
                    <a:cubicBezTo>
                      <a:pt x="25" y="32"/>
                      <a:pt x="32" y="25"/>
                      <a:pt x="40" y="25"/>
                    </a:cubicBezTo>
                    <a:cubicBezTo>
                      <a:pt x="48" y="25"/>
                      <a:pt x="55" y="32"/>
                      <a:pt x="55" y="40"/>
                    </a:cubicBezTo>
                    <a:cubicBezTo>
                      <a:pt x="55" y="48"/>
                      <a:pt x="48" y="55"/>
                      <a:pt x="40" y="55"/>
                    </a:cubicBezTo>
                    <a:close/>
                    <a:moveTo>
                      <a:pt x="40" y="0"/>
                    </a:moveTo>
                    <a:cubicBezTo>
                      <a:pt x="18" y="0"/>
                      <a:pt x="0" y="18"/>
                      <a:pt x="0" y="40"/>
                    </a:cubicBezTo>
                    <a:cubicBezTo>
                      <a:pt x="0" y="62"/>
                      <a:pt x="18" y="80"/>
                      <a:pt x="40" y="80"/>
                    </a:cubicBezTo>
                    <a:cubicBezTo>
                      <a:pt x="62" y="80"/>
                      <a:pt x="80" y="62"/>
                      <a:pt x="80" y="40"/>
                    </a:cubicBezTo>
                    <a:cubicBezTo>
                      <a:pt x="80" y="18"/>
                      <a:pt x="62" y="0"/>
                      <a:pt x="40"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8" name="Freeform 199">
                <a:extLst>
                  <a:ext uri="{FF2B5EF4-FFF2-40B4-BE49-F238E27FC236}">
                    <a16:creationId xmlns:a16="http://schemas.microsoft.com/office/drawing/2014/main" id="{25A01BEB-B4B9-449E-9772-32253A9E8C8D}"/>
                  </a:ext>
                </a:extLst>
              </p:cNvPr>
              <p:cNvSpPr>
                <a:spLocks noEditPoints="1"/>
              </p:cNvSpPr>
              <p:nvPr/>
            </p:nvSpPr>
            <p:spPr bwMode="auto">
              <a:xfrm>
                <a:off x="4929189" y="2386014"/>
                <a:ext cx="55563" cy="55563"/>
              </a:xfrm>
              <a:custGeom>
                <a:avLst/>
                <a:gdLst>
                  <a:gd name="T0" fmla="*/ 40 w 80"/>
                  <a:gd name="T1" fmla="*/ 55 h 80"/>
                  <a:gd name="T2" fmla="*/ 25 w 80"/>
                  <a:gd name="T3" fmla="*/ 40 h 80"/>
                  <a:gd name="T4" fmla="*/ 40 w 80"/>
                  <a:gd name="T5" fmla="*/ 25 h 80"/>
                  <a:gd name="T6" fmla="*/ 55 w 80"/>
                  <a:gd name="T7" fmla="*/ 40 h 80"/>
                  <a:gd name="T8" fmla="*/ 40 w 80"/>
                  <a:gd name="T9" fmla="*/ 55 h 80"/>
                  <a:gd name="T10" fmla="*/ 40 w 80"/>
                  <a:gd name="T11" fmla="*/ 0 h 80"/>
                  <a:gd name="T12" fmla="*/ 0 w 80"/>
                  <a:gd name="T13" fmla="*/ 40 h 80"/>
                  <a:gd name="T14" fmla="*/ 40 w 80"/>
                  <a:gd name="T15" fmla="*/ 80 h 80"/>
                  <a:gd name="T16" fmla="*/ 80 w 80"/>
                  <a:gd name="T17" fmla="*/ 40 h 80"/>
                  <a:gd name="T18" fmla="*/ 40 w 80"/>
                  <a:gd name="T19"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0" h="80">
                    <a:moveTo>
                      <a:pt x="40" y="55"/>
                    </a:moveTo>
                    <a:cubicBezTo>
                      <a:pt x="32" y="55"/>
                      <a:pt x="25" y="48"/>
                      <a:pt x="25" y="40"/>
                    </a:cubicBezTo>
                    <a:cubicBezTo>
                      <a:pt x="25" y="32"/>
                      <a:pt x="32" y="25"/>
                      <a:pt x="40" y="25"/>
                    </a:cubicBezTo>
                    <a:cubicBezTo>
                      <a:pt x="48" y="25"/>
                      <a:pt x="55" y="32"/>
                      <a:pt x="55" y="40"/>
                    </a:cubicBezTo>
                    <a:cubicBezTo>
                      <a:pt x="55" y="48"/>
                      <a:pt x="48" y="55"/>
                      <a:pt x="40" y="55"/>
                    </a:cubicBezTo>
                    <a:close/>
                    <a:moveTo>
                      <a:pt x="40" y="0"/>
                    </a:moveTo>
                    <a:cubicBezTo>
                      <a:pt x="18" y="0"/>
                      <a:pt x="0" y="18"/>
                      <a:pt x="0" y="40"/>
                    </a:cubicBezTo>
                    <a:cubicBezTo>
                      <a:pt x="0" y="62"/>
                      <a:pt x="18" y="80"/>
                      <a:pt x="40" y="80"/>
                    </a:cubicBezTo>
                    <a:cubicBezTo>
                      <a:pt x="62" y="80"/>
                      <a:pt x="80" y="62"/>
                      <a:pt x="80" y="40"/>
                    </a:cubicBezTo>
                    <a:cubicBezTo>
                      <a:pt x="80" y="18"/>
                      <a:pt x="62" y="0"/>
                      <a:pt x="40"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9" name="Freeform 200">
                <a:extLst>
                  <a:ext uri="{FF2B5EF4-FFF2-40B4-BE49-F238E27FC236}">
                    <a16:creationId xmlns:a16="http://schemas.microsoft.com/office/drawing/2014/main" id="{D074C059-3915-4EEE-9027-41A50F106F69}"/>
                  </a:ext>
                </a:extLst>
              </p:cNvPr>
              <p:cNvSpPr>
                <a:spLocks noEditPoints="1"/>
              </p:cNvSpPr>
              <p:nvPr/>
            </p:nvSpPr>
            <p:spPr bwMode="auto">
              <a:xfrm>
                <a:off x="4646614" y="2062164"/>
                <a:ext cx="384175" cy="311150"/>
              </a:xfrm>
              <a:custGeom>
                <a:avLst/>
                <a:gdLst>
                  <a:gd name="T0" fmla="*/ 465 w 554"/>
                  <a:gd name="T1" fmla="*/ 168 h 450"/>
                  <a:gd name="T2" fmla="*/ 530 w 554"/>
                  <a:gd name="T3" fmla="*/ 88 h 450"/>
                  <a:gd name="T4" fmla="*/ 483 w 554"/>
                  <a:gd name="T5" fmla="*/ 257 h 450"/>
                  <a:gd name="T6" fmla="*/ 447 w 554"/>
                  <a:gd name="T7" fmla="*/ 273 h 450"/>
                  <a:gd name="T8" fmla="*/ 505 w 554"/>
                  <a:gd name="T9" fmla="*/ 177 h 450"/>
                  <a:gd name="T10" fmla="*/ 432 w 554"/>
                  <a:gd name="T11" fmla="*/ 273 h 450"/>
                  <a:gd name="T12" fmla="*/ 407 w 554"/>
                  <a:gd name="T13" fmla="*/ 177 h 450"/>
                  <a:gd name="T14" fmla="*/ 432 w 554"/>
                  <a:gd name="T15" fmla="*/ 273 h 450"/>
                  <a:gd name="T16" fmla="*/ 352 w 554"/>
                  <a:gd name="T17" fmla="*/ 88 h 450"/>
                  <a:gd name="T18" fmla="*/ 393 w 554"/>
                  <a:gd name="T19" fmla="*/ 168 h 450"/>
                  <a:gd name="T20" fmla="*/ 383 w 554"/>
                  <a:gd name="T21" fmla="*/ 273 h 450"/>
                  <a:gd name="T22" fmla="*/ 352 w 554"/>
                  <a:gd name="T23" fmla="*/ 177 h 450"/>
                  <a:gd name="T24" fmla="*/ 383 w 554"/>
                  <a:gd name="T25" fmla="*/ 273 h 450"/>
                  <a:gd name="T26" fmla="*/ 297 w 554"/>
                  <a:gd name="T27" fmla="*/ 168 h 450"/>
                  <a:gd name="T28" fmla="*/ 337 w 554"/>
                  <a:gd name="T29" fmla="*/ 88 h 450"/>
                  <a:gd name="T30" fmla="*/ 337 w 554"/>
                  <a:gd name="T31" fmla="*/ 273 h 450"/>
                  <a:gd name="T32" fmla="*/ 298 w 554"/>
                  <a:gd name="T33" fmla="*/ 177 h 450"/>
                  <a:gd name="T34" fmla="*/ 337 w 554"/>
                  <a:gd name="T35" fmla="*/ 273 h 450"/>
                  <a:gd name="T36" fmla="*/ 242 w 554"/>
                  <a:gd name="T37" fmla="*/ 177 h 450"/>
                  <a:gd name="T38" fmla="*/ 292 w 554"/>
                  <a:gd name="T39" fmla="*/ 273 h 450"/>
                  <a:gd name="T40" fmla="*/ 210 w 554"/>
                  <a:gd name="T41" fmla="*/ 273 h 450"/>
                  <a:gd name="T42" fmla="*/ 227 w 554"/>
                  <a:gd name="T43" fmla="*/ 177 h 450"/>
                  <a:gd name="T44" fmla="*/ 210 w 554"/>
                  <a:gd name="T45" fmla="*/ 273 h 450"/>
                  <a:gd name="T46" fmla="*/ 157 w 554"/>
                  <a:gd name="T47" fmla="*/ 268 h 450"/>
                  <a:gd name="T48" fmla="*/ 173 w 554"/>
                  <a:gd name="T49" fmla="*/ 177 h 450"/>
                  <a:gd name="T50" fmla="*/ 170 w 554"/>
                  <a:gd name="T51" fmla="*/ 273 h 450"/>
                  <a:gd name="T52" fmla="*/ 106 w 554"/>
                  <a:gd name="T53" fmla="*/ 88 h 450"/>
                  <a:gd name="T54" fmla="*/ 171 w 554"/>
                  <a:gd name="T55" fmla="*/ 168 h 450"/>
                  <a:gd name="T56" fmla="*/ 126 w 554"/>
                  <a:gd name="T57" fmla="*/ 156 h 450"/>
                  <a:gd name="T58" fmla="*/ 225 w 554"/>
                  <a:gd name="T59" fmla="*/ 168 h 450"/>
                  <a:gd name="T60" fmla="*/ 168 w 554"/>
                  <a:gd name="T61" fmla="*/ 88 h 450"/>
                  <a:gd name="T62" fmla="*/ 274 w 554"/>
                  <a:gd name="T63" fmla="*/ 88 h 450"/>
                  <a:gd name="T64" fmla="*/ 241 w 554"/>
                  <a:gd name="T65" fmla="*/ 168 h 450"/>
                  <a:gd name="T66" fmla="*/ 274 w 554"/>
                  <a:gd name="T67" fmla="*/ 88 h 450"/>
                  <a:gd name="T68" fmla="*/ 462 w 554"/>
                  <a:gd name="T69" fmla="*/ 88 h 450"/>
                  <a:gd name="T70" fmla="*/ 408 w 554"/>
                  <a:gd name="T71" fmla="*/ 168 h 450"/>
                  <a:gd name="T72" fmla="*/ 24 w 554"/>
                  <a:gd name="T73" fmla="*/ 29 h 450"/>
                  <a:gd name="T74" fmla="*/ 19 w 554"/>
                  <a:gd name="T75" fmla="*/ 13 h 450"/>
                  <a:gd name="T76" fmla="*/ 24 w 554"/>
                  <a:gd name="T77" fmla="*/ 29 h 450"/>
                  <a:gd name="T78" fmla="*/ 110 w 554"/>
                  <a:gd name="T79" fmla="*/ 63 h 450"/>
                  <a:gd name="T80" fmla="*/ 91 w 554"/>
                  <a:gd name="T81" fmla="*/ 34 h 450"/>
                  <a:gd name="T82" fmla="*/ 39 w 554"/>
                  <a:gd name="T83" fmla="*/ 12 h 450"/>
                  <a:gd name="T84" fmla="*/ 3 w 554"/>
                  <a:gd name="T85" fmla="*/ 27 h 450"/>
                  <a:gd name="T86" fmla="*/ 38 w 554"/>
                  <a:gd name="T87" fmla="*/ 31 h 450"/>
                  <a:gd name="T88" fmla="*/ 67 w 554"/>
                  <a:gd name="T89" fmla="*/ 40 h 450"/>
                  <a:gd name="T90" fmla="*/ 209 w 554"/>
                  <a:gd name="T91" fmla="*/ 450 h 450"/>
                  <a:gd name="T92" fmla="*/ 496 w 554"/>
                  <a:gd name="T93" fmla="*/ 437 h 450"/>
                  <a:gd name="T94" fmla="*/ 212 w 554"/>
                  <a:gd name="T95" fmla="*/ 420 h 450"/>
                  <a:gd name="T96" fmla="*/ 168 w 554"/>
                  <a:gd name="T97" fmla="*/ 309 h 450"/>
                  <a:gd name="T98" fmla="*/ 451 w 554"/>
                  <a:gd name="T99" fmla="*/ 314 h 450"/>
                  <a:gd name="T100" fmla="*/ 552 w 554"/>
                  <a:gd name="T101" fmla="*/ 88 h 4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54" h="450">
                    <a:moveTo>
                      <a:pt x="508" y="168"/>
                    </a:moveTo>
                    <a:lnTo>
                      <a:pt x="465" y="168"/>
                    </a:lnTo>
                    <a:lnTo>
                      <a:pt x="478" y="88"/>
                    </a:lnTo>
                    <a:lnTo>
                      <a:pt x="530" y="88"/>
                    </a:lnTo>
                    <a:lnTo>
                      <a:pt x="508" y="168"/>
                    </a:lnTo>
                    <a:close/>
                    <a:moveTo>
                      <a:pt x="483" y="257"/>
                    </a:moveTo>
                    <a:cubicBezTo>
                      <a:pt x="480" y="265"/>
                      <a:pt x="471" y="273"/>
                      <a:pt x="462" y="273"/>
                    </a:cubicBezTo>
                    <a:lnTo>
                      <a:pt x="447" y="273"/>
                    </a:lnTo>
                    <a:lnTo>
                      <a:pt x="463" y="177"/>
                    </a:lnTo>
                    <a:lnTo>
                      <a:pt x="505" y="177"/>
                    </a:lnTo>
                    <a:lnTo>
                      <a:pt x="483" y="257"/>
                    </a:lnTo>
                    <a:close/>
                    <a:moveTo>
                      <a:pt x="432" y="273"/>
                    </a:moveTo>
                    <a:lnTo>
                      <a:pt x="398" y="273"/>
                    </a:lnTo>
                    <a:lnTo>
                      <a:pt x="407" y="177"/>
                    </a:lnTo>
                    <a:lnTo>
                      <a:pt x="447" y="177"/>
                    </a:lnTo>
                    <a:lnTo>
                      <a:pt x="432" y="273"/>
                    </a:lnTo>
                    <a:close/>
                    <a:moveTo>
                      <a:pt x="352" y="168"/>
                    </a:moveTo>
                    <a:lnTo>
                      <a:pt x="352" y="88"/>
                    </a:lnTo>
                    <a:lnTo>
                      <a:pt x="401" y="88"/>
                    </a:lnTo>
                    <a:lnTo>
                      <a:pt x="393" y="168"/>
                    </a:lnTo>
                    <a:lnTo>
                      <a:pt x="352" y="168"/>
                    </a:lnTo>
                    <a:close/>
                    <a:moveTo>
                      <a:pt x="383" y="273"/>
                    </a:moveTo>
                    <a:lnTo>
                      <a:pt x="352" y="273"/>
                    </a:lnTo>
                    <a:lnTo>
                      <a:pt x="352" y="177"/>
                    </a:lnTo>
                    <a:lnTo>
                      <a:pt x="392" y="177"/>
                    </a:lnTo>
                    <a:lnTo>
                      <a:pt x="383" y="273"/>
                    </a:lnTo>
                    <a:close/>
                    <a:moveTo>
                      <a:pt x="337" y="168"/>
                    </a:moveTo>
                    <a:lnTo>
                      <a:pt x="297" y="168"/>
                    </a:lnTo>
                    <a:lnTo>
                      <a:pt x="289" y="88"/>
                    </a:lnTo>
                    <a:lnTo>
                      <a:pt x="337" y="88"/>
                    </a:lnTo>
                    <a:lnTo>
                      <a:pt x="337" y="168"/>
                    </a:lnTo>
                    <a:close/>
                    <a:moveTo>
                      <a:pt x="337" y="273"/>
                    </a:moveTo>
                    <a:lnTo>
                      <a:pt x="307" y="273"/>
                    </a:lnTo>
                    <a:lnTo>
                      <a:pt x="298" y="177"/>
                    </a:lnTo>
                    <a:lnTo>
                      <a:pt x="337" y="177"/>
                    </a:lnTo>
                    <a:lnTo>
                      <a:pt x="337" y="273"/>
                    </a:lnTo>
                    <a:close/>
                    <a:moveTo>
                      <a:pt x="258" y="273"/>
                    </a:moveTo>
                    <a:lnTo>
                      <a:pt x="242" y="177"/>
                    </a:lnTo>
                    <a:lnTo>
                      <a:pt x="282" y="177"/>
                    </a:lnTo>
                    <a:lnTo>
                      <a:pt x="292" y="273"/>
                    </a:lnTo>
                    <a:lnTo>
                      <a:pt x="258" y="273"/>
                    </a:lnTo>
                    <a:close/>
                    <a:moveTo>
                      <a:pt x="210" y="273"/>
                    </a:moveTo>
                    <a:lnTo>
                      <a:pt x="188" y="177"/>
                    </a:lnTo>
                    <a:lnTo>
                      <a:pt x="227" y="177"/>
                    </a:lnTo>
                    <a:lnTo>
                      <a:pt x="242" y="273"/>
                    </a:lnTo>
                    <a:lnTo>
                      <a:pt x="210" y="273"/>
                    </a:lnTo>
                    <a:close/>
                    <a:moveTo>
                      <a:pt x="170" y="273"/>
                    </a:moveTo>
                    <a:cubicBezTo>
                      <a:pt x="165" y="273"/>
                      <a:pt x="161" y="271"/>
                      <a:pt x="157" y="268"/>
                    </a:cubicBezTo>
                    <a:cubicBezTo>
                      <a:pt x="150" y="244"/>
                      <a:pt x="141" y="211"/>
                      <a:pt x="131" y="177"/>
                    </a:cubicBezTo>
                    <a:lnTo>
                      <a:pt x="173" y="177"/>
                    </a:lnTo>
                    <a:lnTo>
                      <a:pt x="194" y="273"/>
                    </a:lnTo>
                    <a:lnTo>
                      <a:pt x="170" y="273"/>
                    </a:lnTo>
                    <a:close/>
                    <a:moveTo>
                      <a:pt x="126" y="156"/>
                    </a:moveTo>
                    <a:cubicBezTo>
                      <a:pt x="119" y="133"/>
                      <a:pt x="112" y="109"/>
                      <a:pt x="106" y="88"/>
                    </a:cubicBezTo>
                    <a:lnTo>
                      <a:pt x="153" y="88"/>
                    </a:lnTo>
                    <a:lnTo>
                      <a:pt x="171" y="168"/>
                    </a:lnTo>
                    <a:lnTo>
                      <a:pt x="129" y="168"/>
                    </a:lnTo>
                    <a:cubicBezTo>
                      <a:pt x="128" y="164"/>
                      <a:pt x="127" y="160"/>
                      <a:pt x="126" y="156"/>
                    </a:cubicBezTo>
                    <a:close/>
                    <a:moveTo>
                      <a:pt x="212" y="88"/>
                    </a:moveTo>
                    <a:lnTo>
                      <a:pt x="225" y="168"/>
                    </a:lnTo>
                    <a:lnTo>
                      <a:pt x="186" y="168"/>
                    </a:lnTo>
                    <a:lnTo>
                      <a:pt x="168" y="88"/>
                    </a:lnTo>
                    <a:lnTo>
                      <a:pt x="212" y="88"/>
                    </a:lnTo>
                    <a:close/>
                    <a:moveTo>
                      <a:pt x="274" y="88"/>
                    </a:moveTo>
                    <a:lnTo>
                      <a:pt x="281" y="168"/>
                    </a:lnTo>
                    <a:lnTo>
                      <a:pt x="241" y="168"/>
                    </a:lnTo>
                    <a:lnTo>
                      <a:pt x="228" y="88"/>
                    </a:lnTo>
                    <a:lnTo>
                      <a:pt x="274" y="88"/>
                    </a:lnTo>
                    <a:close/>
                    <a:moveTo>
                      <a:pt x="416" y="88"/>
                    </a:moveTo>
                    <a:lnTo>
                      <a:pt x="462" y="88"/>
                    </a:lnTo>
                    <a:lnTo>
                      <a:pt x="449" y="168"/>
                    </a:lnTo>
                    <a:lnTo>
                      <a:pt x="408" y="168"/>
                    </a:lnTo>
                    <a:lnTo>
                      <a:pt x="416" y="88"/>
                    </a:lnTo>
                    <a:close/>
                    <a:moveTo>
                      <a:pt x="24" y="29"/>
                    </a:moveTo>
                    <a:cubicBezTo>
                      <a:pt x="19" y="31"/>
                      <a:pt x="15" y="28"/>
                      <a:pt x="13" y="24"/>
                    </a:cubicBezTo>
                    <a:cubicBezTo>
                      <a:pt x="12" y="19"/>
                      <a:pt x="14" y="14"/>
                      <a:pt x="19" y="13"/>
                    </a:cubicBezTo>
                    <a:cubicBezTo>
                      <a:pt x="24" y="12"/>
                      <a:pt x="28" y="14"/>
                      <a:pt x="30" y="19"/>
                    </a:cubicBezTo>
                    <a:cubicBezTo>
                      <a:pt x="31" y="23"/>
                      <a:pt x="29" y="28"/>
                      <a:pt x="24" y="29"/>
                    </a:cubicBezTo>
                    <a:close/>
                    <a:moveTo>
                      <a:pt x="533" y="63"/>
                    </a:moveTo>
                    <a:lnTo>
                      <a:pt x="110" y="63"/>
                    </a:lnTo>
                    <a:cubicBezTo>
                      <a:pt x="106" y="63"/>
                      <a:pt x="103" y="63"/>
                      <a:pt x="100" y="65"/>
                    </a:cubicBezTo>
                    <a:cubicBezTo>
                      <a:pt x="99" y="61"/>
                      <a:pt x="94" y="44"/>
                      <a:pt x="91" y="34"/>
                    </a:cubicBezTo>
                    <a:cubicBezTo>
                      <a:pt x="88" y="22"/>
                      <a:pt x="79" y="12"/>
                      <a:pt x="64" y="12"/>
                    </a:cubicBezTo>
                    <a:cubicBezTo>
                      <a:pt x="61" y="12"/>
                      <a:pt x="40" y="12"/>
                      <a:pt x="39" y="12"/>
                    </a:cubicBezTo>
                    <a:cubicBezTo>
                      <a:pt x="34" y="4"/>
                      <a:pt x="25" y="0"/>
                      <a:pt x="16" y="2"/>
                    </a:cubicBezTo>
                    <a:cubicBezTo>
                      <a:pt x="5" y="6"/>
                      <a:pt x="0" y="16"/>
                      <a:pt x="3" y="27"/>
                    </a:cubicBezTo>
                    <a:cubicBezTo>
                      <a:pt x="6" y="37"/>
                      <a:pt x="17" y="43"/>
                      <a:pt x="27" y="40"/>
                    </a:cubicBezTo>
                    <a:cubicBezTo>
                      <a:pt x="32" y="39"/>
                      <a:pt x="36" y="35"/>
                      <a:pt x="38" y="31"/>
                    </a:cubicBezTo>
                    <a:cubicBezTo>
                      <a:pt x="40" y="31"/>
                      <a:pt x="52" y="31"/>
                      <a:pt x="54" y="31"/>
                    </a:cubicBezTo>
                    <a:cubicBezTo>
                      <a:pt x="63" y="31"/>
                      <a:pt x="65" y="33"/>
                      <a:pt x="67" y="40"/>
                    </a:cubicBezTo>
                    <a:cubicBezTo>
                      <a:pt x="73" y="61"/>
                      <a:pt x="165" y="388"/>
                      <a:pt x="171" y="409"/>
                    </a:cubicBezTo>
                    <a:cubicBezTo>
                      <a:pt x="180" y="439"/>
                      <a:pt x="194" y="450"/>
                      <a:pt x="209" y="450"/>
                    </a:cubicBezTo>
                    <a:lnTo>
                      <a:pt x="483" y="450"/>
                    </a:lnTo>
                    <a:cubicBezTo>
                      <a:pt x="492" y="450"/>
                      <a:pt x="496" y="441"/>
                      <a:pt x="496" y="437"/>
                    </a:cubicBezTo>
                    <a:cubicBezTo>
                      <a:pt x="498" y="423"/>
                      <a:pt x="486" y="420"/>
                      <a:pt x="480" y="420"/>
                    </a:cubicBezTo>
                    <a:lnTo>
                      <a:pt x="212" y="420"/>
                    </a:lnTo>
                    <a:cubicBezTo>
                      <a:pt x="205" y="420"/>
                      <a:pt x="198" y="415"/>
                      <a:pt x="196" y="408"/>
                    </a:cubicBezTo>
                    <a:cubicBezTo>
                      <a:pt x="195" y="404"/>
                      <a:pt x="170" y="315"/>
                      <a:pt x="168" y="309"/>
                    </a:cubicBezTo>
                    <a:cubicBezTo>
                      <a:pt x="174" y="315"/>
                      <a:pt x="179" y="314"/>
                      <a:pt x="182" y="314"/>
                    </a:cubicBezTo>
                    <a:lnTo>
                      <a:pt x="451" y="314"/>
                    </a:lnTo>
                    <a:cubicBezTo>
                      <a:pt x="486" y="314"/>
                      <a:pt x="500" y="272"/>
                      <a:pt x="503" y="259"/>
                    </a:cubicBezTo>
                    <a:lnTo>
                      <a:pt x="552" y="88"/>
                    </a:lnTo>
                    <a:cubicBezTo>
                      <a:pt x="554" y="81"/>
                      <a:pt x="552" y="63"/>
                      <a:pt x="533" y="63"/>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grpSp>
        <p:nvGrpSpPr>
          <p:cNvPr id="62" name="Groep 61">
            <a:extLst>
              <a:ext uri="{FF2B5EF4-FFF2-40B4-BE49-F238E27FC236}">
                <a16:creationId xmlns:a16="http://schemas.microsoft.com/office/drawing/2014/main" id="{4A920D74-29CB-4146-A665-3BF5831268BB}"/>
              </a:ext>
            </a:extLst>
          </p:cNvPr>
          <p:cNvGrpSpPr/>
          <p:nvPr/>
        </p:nvGrpSpPr>
        <p:grpSpPr>
          <a:xfrm>
            <a:off x="7186537" y="4500357"/>
            <a:ext cx="252000" cy="252000"/>
            <a:chOff x="8342489" y="1970656"/>
            <a:chExt cx="329184" cy="329184"/>
          </a:xfrm>
        </p:grpSpPr>
        <p:sp>
          <p:nvSpPr>
            <p:cNvPr id="110" name="Oval 53">
              <a:extLst>
                <a:ext uri="{FF2B5EF4-FFF2-40B4-BE49-F238E27FC236}">
                  <a16:creationId xmlns:a16="http://schemas.microsoft.com/office/drawing/2014/main" id="{734BE58C-69CE-4846-A317-2362421E8D3B}"/>
                </a:ext>
              </a:extLst>
            </p:cNvPr>
            <p:cNvSpPr/>
            <p:nvPr/>
          </p:nvSpPr>
          <p:spPr>
            <a:xfrm>
              <a:off x="8342489" y="1970656"/>
              <a:ext cx="329184" cy="329184"/>
            </a:xfrm>
            <a:prstGeom prst="ellipse">
              <a:avLst/>
            </a:prstGeom>
            <a:solidFill>
              <a:srgbClr val="62366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11" name="Shopping_cart" descr="{&quot;Key&quot;:&quot;POWER_USER_SHAPE_ICON&quot;,&quot;Value&quot;:&quot;POWER_USER_SHAPE_ICON_STYLE_1&quot;}">
              <a:extLst>
                <a:ext uri="{FF2B5EF4-FFF2-40B4-BE49-F238E27FC236}">
                  <a16:creationId xmlns:a16="http://schemas.microsoft.com/office/drawing/2014/main" id="{194718BB-FC38-491A-B524-62FEE0DBFA06}"/>
                </a:ext>
              </a:extLst>
            </p:cNvPr>
            <p:cNvGrpSpPr>
              <a:grpSpLocks noChangeAspect="1"/>
            </p:cNvGrpSpPr>
            <p:nvPr>
              <p:custDataLst>
                <p:tags r:id="rId4"/>
              </p:custDataLst>
            </p:nvPr>
          </p:nvGrpSpPr>
          <p:grpSpPr>
            <a:xfrm>
              <a:off x="8380012" y="2028686"/>
              <a:ext cx="235088" cy="232174"/>
              <a:chOff x="4646614" y="2062164"/>
              <a:chExt cx="384175" cy="379413"/>
            </a:xfrm>
            <a:solidFill>
              <a:schemeClr val="bg1"/>
            </a:solidFill>
          </p:grpSpPr>
          <p:sp>
            <p:nvSpPr>
              <p:cNvPr id="112" name="Freeform 198">
                <a:extLst>
                  <a:ext uri="{FF2B5EF4-FFF2-40B4-BE49-F238E27FC236}">
                    <a16:creationId xmlns:a16="http://schemas.microsoft.com/office/drawing/2014/main" id="{F5AD42D8-8241-42D8-82B6-B2DC2D76ACBF}"/>
                  </a:ext>
                </a:extLst>
              </p:cNvPr>
              <p:cNvSpPr>
                <a:spLocks noEditPoints="1"/>
              </p:cNvSpPr>
              <p:nvPr/>
            </p:nvSpPr>
            <p:spPr bwMode="auto">
              <a:xfrm>
                <a:off x="4773614" y="2386014"/>
                <a:ext cx="55563" cy="55563"/>
              </a:xfrm>
              <a:custGeom>
                <a:avLst/>
                <a:gdLst>
                  <a:gd name="T0" fmla="*/ 40 w 80"/>
                  <a:gd name="T1" fmla="*/ 55 h 80"/>
                  <a:gd name="T2" fmla="*/ 25 w 80"/>
                  <a:gd name="T3" fmla="*/ 40 h 80"/>
                  <a:gd name="T4" fmla="*/ 40 w 80"/>
                  <a:gd name="T5" fmla="*/ 25 h 80"/>
                  <a:gd name="T6" fmla="*/ 55 w 80"/>
                  <a:gd name="T7" fmla="*/ 40 h 80"/>
                  <a:gd name="T8" fmla="*/ 40 w 80"/>
                  <a:gd name="T9" fmla="*/ 55 h 80"/>
                  <a:gd name="T10" fmla="*/ 40 w 80"/>
                  <a:gd name="T11" fmla="*/ 0 h 80"/>
                  <a:gd name="T12" fmla="*/ 0 w 80"/>
                  <a:gd name="T13" fmla="*/ 40 h 80"/>
                  <a:gd name="T14" fmla="*/ 40 w 80"/>
                  <a:gd name="T15" fmla="*/ 80 h 80"/>
                  <a:gd name="T16" fmla="*/ 80 w 80"/>
                  <a:gd name="T17" fmla="*/ 40 h 80"/>
                  <a:gd name="T18" fmla="*/ 40 w 80"/>
                  <a:gd name="T19"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0" h="80">
                    <a:moveTo>
                      <a:pt x="40" y="55"/>
                    </a:moveTo>
                    <a:cubicBezTo>
                      <a:pt x="32" y="55"/>
                      <a:pt x="25" y="48"/>
                      <a:pt x="25" y="40"/>
                    </a:cubicBezTo>
                    <a:cubicBezTo>
                      <a:pt x="25" y="32"/>
                      <a:pt x="32" y="25"/>
                      <a:pt x="40" y="25"/>
                    </a:cubicBezTo>
                    <a:cubicBezTo>
                      <a:pt x="48" y="25"/>
                      <a:pt x="55" y="32"/>
                      <a:pt x="55" y="40"/>
                    </a:cubicBezTo>
                    <a:cubicBezTo>
                      <a:pt x="55" y="48"/>
                      <a:pt x="48" y="55"/>
                      <a:pt x="40" y="55"/>
                    </a:cubicBezTo>
                    <a:close/>
                    <a:moveTo>
                      <a:pt x="40" y="0"/>
                    </a:moveTo>
                    <a:cubicBezTo>
                      <a:pt x="18" y="0"/>
                      <a:pt x="0" y="18"/>
                      <a:pt x="0" y="40"/>
                    </a:cubicBezTo>
                    <a:cubicBezTo>
                      <a:pt x="0" y="62"/>
                      <a:pt x="18" y="80"/>
                      <a:pt x="40" y="80"/>
                    </a:cubicBezTo>
                    <a:cubicBezTo>
                      <a:pt x="62" y="80"/>
                      <a:pt x="80" y="62"/>
                      <a:pt x="80" y="40"/>
                    </a:cubicBezTo>
                    <a:cubicBezTo>
                      <a:pt x="80" y="18"/>
                      <a:pt x="62" y="0"/>
                      <a:pt x="40"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3" name="Freeform 199">
                <a:extLst>
                  <a:ext uri="{FF2B5EF4-FFF2-40B4-BE49-F238E27FC236}">
                    <a16:creationId xmlns:a16="http://schemas.microsoft.com/office/drawing/2014/main" id="{A315B88C-4C57-4CD1-8E1C-C69D7A10413D}"/>
                  </a:ext>
                </a:extLst>
              </p:cNvPr>
              <p:cNvSpPr>
                <a:spLocks noEditPoints="1"/>
              </p:cNvSpPr>
              <p:nvPr/>
            </p:nvSpPr>
            <p:spPr bwMode="auto">
              <a:xfrm>
                <a:off x="4929189" y="2386014"/>
                <a:ext cx="55563" cy="55563"/>
              </a:xfrm>
              <a:custGeom>
                <a:avLst/>
                <a:gdLst>
                  <a:gd name="T0" fmla="*/ 40 w 80"/>
                  <a:gd name="T1" fmla="*/ 55 h 80"/>
                  <a:gd name="T2" fmla="*/ 25 w 80"/>
                  <a:gd name="T3" fmla="*/ 40 h 80"/>
                  <a:gd name="T4" fmla="*/ 40 w 80"/>
                  <a:gd name="T5" fmla="*/ 25 h 80"/>
                  <a:gd name="T6" fmla="*/ 55 w 80"/>
                  <a:gd name="T7" fmla="*/ 40 h 80"/>
                  <a:gd name="T8" fmla="*/ 40 w 80"/>
                  <a:gd name="T9" fmla="*/ 55 h 80"/>
                  <a:gd name="T10" fmla="*/ 40 w 80"/>
                  <a:gd name="T11" fmla="*/ 0 h 80"/>
                  <a:gd name="T12" fmla="*/ 0 w 80"/>
                  <a:gd name="T13" fmla="*/ 40 h 80"/>
                  <a:gd name="T14" fmla="*/ 40 w 80"/>
                  <a:gd name="T15" fmla="*/ 80 h 80"/>
                  <a:gd name="T16" fmla="*/ 80 w 80"/>
                  <a:gd name="T17" fmla="*/ 40 h 80"/>
                  <a:gd name="T18" fmla="*/ 40 w 80"/>
                  <a:gd name="T19"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0" h="80">
                    <a:moveTo>
                      <a:pt x="40" y="55"/>
                    </a:moveTo>
                    <a:cubicBezTo>
                      <a:pt x="32" y="55"/>
                      <a:pt x="25" y="48"/>
                      <a:pt x="25" y="40"/>
                    </a:cubicBezTo>
                    <a:cubicBezTo>
                      <a:pt x="25" y="32"/>
                      <a:pt x="32" y="25"/>
                      <a:pt x="40" y="25"/>
                    </a:cubicBezTo>
                    <a:cubicBezTo>
                      <a:pt x="48" y="25"/>
                      <a:pt x="55" y="32"/>
                      <a:pt x="55" y="40"/>
                    </a:cubicBezTo>
                    <a:cubicBezTo>
                      <a:pt x="55" y="48"/>
                      <a:pt x="48" y="55"/>
                      <a:pt x="40" y="55"/>
                    </a:cubicBezTo>
                    <a:close/>
                    <a:moveTo>
                      <a:pt x="40" y="0"/>
                    </a:moveTo>
                    <a:cubicBezTo>
                      <a:pt x="18" y="0"/>
                      <a:pt x="0" y="18"/>
                      <a:pt x="0" y="40"/>
                    </a:cubicBezTo>
                    <a:cubicBezTo>
                      <a:pt x="0" y="62"/>
                      <a:pt x="18" y="80"/>
                      <a:pt x="40" y="80"/>
                    </a:cubicBezTo>
                    <a:cubicBezTo>
                      <a:pt x="62" y="80"/>
                      <a:pt x="80" y="62"/>
                      <a:pt x="80" y="40"/>
                    </a:cubicBezTo>
                    <a:cubicBezTo>
                      <a:pt x="80" y="18"/>
                      <a:pt x="62" y="0"/>
                      <a:pt x="40"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4" name="Freeform 200">
                <a:extLst>
                  <a:ext uri="{FF2B5EF4-FFF2-40B4-BE49-F238E27FC236}">
                    <a16:creationId xmlns:a16="http://schemas.microsoft.com/office/drawing/2014/main" id="{09482591-2C28-4F02-9826-B0322745CC6A}"/>
                  </a:ext>
                </a:extLst>
              </p:cNvPr>
              <p:cNvSpPr>
                <a:spLocks noEditPoints="1"/>
              </p:cNvSpPr>
              <p:nvPr/>
            </p:nvSpPr>
            <p:spPr bwMode="auto">
              <a:xfrm>
                <a:off x="4646614" y="2062164"/>
                <a:ext cx="384175" cy="311150"/>
              </a:xfrm>
              <a:custGeom>
                <a:avLst/>
                <a:gdLst>
                  <a:gd name="T0" fmla="*/ 465 w 554"/>
                  <a:gd name="T1" fmla="*/ 168 h 450"/>
                  <a:gd name="T2" fmla="*/ 530 w 554"/>
                  <a:gd name="T3" fmla="*/ 88 h 450"/>
                  <a:gd name="T4" fmla="*/ 483 w 554"/>
                  <a:gd name="T5" fmla="*/ 257 h 450"/>
                  <a:gd name="T6" fmla="*/ 447 w 554"/>
                  <a:gd name="T7" fmla="*/ 273 h 450"/>
                  <a:gd name="T8" fmla="*/ 505 w 554"/>
                  <a:gd name="T9" fmla="*/ 177 h 450"/>
                  <a:gd name="T10" fmla="*/ 432 w 554"/>
                  <a:gd name="T11" fmla="*/ 273 h 450"/>
                  <a:gd name="T12" fmla="*/ 407 w 554"/>
                  <a:gd name="T13" fmla="*/ 177 h 450"/>
                  <a:gd name="T14" fmla="*/ 432 w 554"/>
                  <a:gd name="T15" fmla="*/ 273 h 450"/>
                  <a:gd name="T16" fmla="*/ 352 w 554"/>
                  <a:gd name="T17" fmla="*/ 88 h 450"/>
                  <a:gd name="T18" fmla="*/ 393 w 554"/>
                  <a:gd name="T19" fmla="*/ 168 h 450"/>
                  <a:gd name="T20" fmla="*/ 383 w 554"/>
                  <a:gd name="T21" fmla="*/ 273 h 450"/>
                  <a:gd name="T22" fmla="*/ 352 w 554"/>
                  <a:gd name="T23" fmla="*/ 177 h 450"/>
                  <a:gd name="T24" fmla="*/ 383 w 554"/>
                  <a:gd name="T25" fmla="*/ 273 h 450"/>
                  <a:gd name="T26" fmla="*/ 297 w 554"/>
                  <a:gd name="T27" fmla="*/ 168 h 450"/>
                  <a:gd name="T28" fmla="*/ 337 w 554"/>
                  <a:gd name="T29" fmla="*/ 88 h 450"/>
                  <a:gd name="T30" fmla="*/ 337 w 554"/>
                  <a:gd name="T31" fmla="*/ 273 h 450"/>
                  <a:gd name="T32" fmla="*/ 298 w 554"/>
                  <a:gd name="T33" fmla="*/ 177 h 450"/>
                  <a:gd name="T34" fmla="*/ 337 w 554"/>
                  <a:gd name="T35" fmla="*/ 273 h 450"/>
                  <a:gd name="T36" fmla="*/ 242 w 554"/>
                  <a:gd name="T37" fmla="*/ 177 h 450"/>
                  <a:gd name="T38" fmla="*/ 292 w 554"/>
                  <a:gd name="T39" fmla="*/ 273 h 450"/>
                  <a:gd name="T40" fmla="*/ 210 w 554"/>
                  <a:gd name="T41" fmla="*/ 273 h 450"/>
                  <a:gd name="T42" fmla="*/ 227 w 554"/>
                  <a:gd name="T43" fmla="*/ 177 h 450"/>
                  <a:gd name="T44" fmla="*/ 210 w 554"/>
                  <a:gd name="T45" fmla="*/ 273 h 450"/>
                  <a:gd name="T46" fmla="*/ 157 w 554"/>
                  <a:gd name="T47" fmla="*/ 268 h 450"/>
                  <a:gd name="T48" fmla="*/ 173 w 554"/>
                  <a:gd name="T49" fmla="*/ 177 h 450"/>
                  <a:gd name="T50" fmla="*/ 170 w 554"/>
                  <a:gd name="T51" fmla="*/ 273 h 450"/>
                  <a:gd name="T52" fmla="*/ 106 w 554"/>
                  <a:gd name="T53" fmla="*/ 88 h 450"/>
                  <a:gd name="T54" fmla="*/ 171 w 554"/>
                  <a:gd name="T55" fmla="*/ 168 h 450"/>
                  <a:gd name="T56" fmla="*/ 126 w 554"/>
                  <a:gd name="T57" fmla="*/ 156 h 450"/>
                  <a:gd name="T58" fmla="*/ 225 w 554"/>
                  <a:gd name="T59" fmla="*/ 168 h 450"/>
                  <a:gd name="T60" fmla="*/ 168 w 554"/>
                  <a:gd name="T61" fmla="*/ 88 h 450"/>
                  <a:gd name="T62" fmla="*/ 274 w 554"/>
                  <a:gd name="T63" fmla="*/ 88 h 450"/>
                  <a:gd name="T64" fmla="*/ 241 w 554"/>
                  <a:gd name="T65" fmla="*/ 168 h 450"/>
                  <a:gd name="T66" fmla="*/ 274 w 554"/>
                  <a:gd name="T67" fmla="*/ 88 h 450"/>
                  <a:gd name="T68" fmla="*/ 462 w 554"/>
                  <a:gd name="T69" fmla="*/ 88 h 450"/>
                  <a:gd name="T70" fmla="*/ 408 w 554"/>
                  <a:gd name="T71" fmla="*/ 168 h 450"/>
                  <a:gd name="T72" fmla="*/ 24 w 554"/>
                  <a:gd name="T73" fmla="*/ 29 h 450"/>
                  <a:gd name="T74" fmla="*/ 19 w 554"/>
                  <a:gd name="T75" fmla="*/ 13 h 450"/>
                  <a:gd name="T76" fmla="*/ 24 w 554"/>
                  <a:gd name="T77" fmla="*/ 29 h 450"/>
                  <a:gd name="T78" fmla="*/ 110 w 554"/>
                  <a:gd name="T79" fmla="*/ 63 h 450"/>
                  <a:gd name="T80" fmla="*/ 91 w 554"/>
                  <a:gd name="T81" fmla="*/ 34 h 450"/>
                  <a:gd name="T82" fmla="*/ 39 w 554"/>
                  <a:gd name="T83" fmla="*/ 12 h 450"/>
                  <a:gd name="T84" fmla="*/ 3 w 554"/>
                  <a:gd name="T85" fmla="*/ 27 h 450"/>
                  <a:gd name="T86" fmla="*/ 38 w 554"/>
                  <a:gd name="T87" fmla="*/ 31 h 450"/>
                  <a:gd name="T88" fmla="*/ 67 w 554"/>
                  <a:gd name="T89" fmla="*/ 40 h 450"/>
                  <a:gd name="T90" fmla="*/ 209 w 554"/>
                  <a:gd name="T91" fmla="*/ 450 h 450"/>
                  <a:gd name="T92" fmla="*/ 496 w 554"/>
                  <a:gd name="T93" fmla="*/ 437 h 450"/>
                  <a:gd name="T94" fmla="*/ 212 w 554"/>
                  <a:gd name="T95" fmla="*/ 420 h 450"/>
                  <a:gd name="T96" fmla="*/ 168 w 554"/>
                  <a:gd name="T97" fmla="*/ 309 h 450"/>
                  <a:gd name="T98" fmla="*/ 451 w 554"/>
                  <a:gd name="T99" fmla="*/ 314 h 450"/>
                  <a:gd name="T100" fmla="*/ 552 w 554"/>
                  <a:gd name="T101" fmla="*/ 88 h 4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54" h="450">
                    <a:moveTo>
                      <a:pt x="508" y="168"/>
                    </a:moveTo>
                    <a:lnTo>
                      <a:pt x="465" y="168"/>
                    </a:lnTo>
                    <a:lnTo>
                      <a:pt x="478" y="88"/>
                    </a:lnTo>
                    <a:lnTo>
                      <a:pt x="530" y="88"/>
                    </a:lnTo>
                    <a:lnTo>
                      <a:pt x="508" y="168"/>
                    </a:lnTo>
                    <a:close/>
                    <a:moveTo>
                      <a:pt x="483" y="257"/>
                    </a:moveTo>
                    <a:cubicBezTo>
                      <a:pt x="480" y="265"/>
                      <a:pt x="471" y="273"/>
                      <a:pt x="462" y="273"/>
                    </a:cubicBezTo>
                    <a:lnTo>
                      <a:pt x="447" y="273"/>
                    </a:lnTo>
                    <a:lnTo>
                      <a:pt x="463" y="177"/>
                    </a:lnTo>
                    <a:lnTo>
                      <a:pt x="505" y="177"/>
                    </a:lnTo>
                    <a:lnTo>
                      <a:pt x="483" y="257"/>
                    </a:lnTo>
                    <a:close/>
                    <a:moveTo>
                      <a:pt x="432" y="273"/>
                    </a:moveTo>
                    <a:lnTo>
                      <a:pt x="398" y="273"/>
                    </a:lnTo>
                    <a:lnTo>
                      <a:pt x="407" y="177"/>
                    </a:lnTo>
                    <a:lnTo>
                      <a:pt x="447" y="177"/>
                    </a:lnTo>
                    <a:lnTo>
                      <a:pt x="432" y="273"/>
                    </a:lnTo>
                    <a:close/>
                    <a:moveTo>
                      <a:pt x="352" y="168"/>
                    </a:moveTo>
                    <a:lnTo>
                      <a:pt x="352" y="88"/>
                    </a:lnTo>
                    <a:lnTo>
                      <a:pt x="401" y="88"/>
                    </a:lnTo>
                    <a:lnTo>
                      <a:pt x="393" y="168"/>
                    </a:lnTo>
                    <a:lnTo>
                      <a:pt x="352" y="168"/>
                    </a:lnTo>
                    <a:close/>
                    <a:moveTo>
                      <a:pt x="383" y="273"/>
                    </a:moveTo>
                    <a:lnTo>
                      <a:pt x="352" y="273"/>
                    </a:lnTo>
                    <a:lnTo>
                      <a:pt x="352" y="177"/>
                    </a:lnTo>
                    <a:lnTo>
                      <a:pt x="392" y="177"/>
                    </a:lnTo>
                    <a:lnTo>
                      <a:pt x="383" y="273"/>
                    </a:lnTo>
                    <a:close/>
                    <a:moveTo>
                      <a:pt x="337" y="168"/>
                    </a:moveTo>
                    <a:lnTo>
                      <a:pt x="297" y="168"/>
                    </a:lnTo>
                    <a:lnTo>
                      <a:pt x="289" y="88"/>
                    </a:lnTo>
                    <a:lnTo>
                      <a:pt x="337" y="88"/>
                    </a:lnTo>
                    <a:lnTo>
                      <a:pt x="337" y="168"/>
                    </a:lnTo>
                    <a:close/>
                    <a:moveTo>
                      <a:pt x="337" y="273"/>
                    </a:moveTo>
                    <a:lnTo>
                      <a:pt x="307" y="273"/>
                    </a:lnTo>
                    <a:lnTo>
                      <a:pt x="298" y="177"/>
                    </a:lnTo>
                    <a:lnTo>
                      <a:pt x="337" y="177"/>
                    </a:lnTo>
                    <a:lnTo>
                      <a:pt x="337" y="273"/>
                    </a:lnTo>
                    <a:close/>
                    <a:moveTo>
                      <a:pt x="258" y="273"/>
                    </a:moveTo>
                    <a:lnTo>
                      <a:pt x="242" y="177"/>
                    </a:lnTo>
                    <a:lnTo>
                      <a:pt x="282" y="177"/>
                    </a:lnTo>
                    <a:lnTo>
                      <a:pt x="292" y="273"/>
                    </a:lnTo>
                    <a:lnTo>
                      <a:pt x="258" y="273"/>
                    </a:lnTo>
                    <a:close/>
                    <a:moveTo>
                      <a:pt x="210" y="273"/>
                    </a:moveTo>
                    <a:lnTo>
                      <a:pt x="188" y="177"/>
                    </a:lnTo>
                    <a:lnTo>
                      <a:pt x="227" y="177"/>
                    </a:lnTo>
                    <a:lnTo>
                      <a:pt x="242" y="273"/>
                    </a:lnTo>
                    <a:lnTo>
                      <a:pt x="210" y="273"/>
                    </a:lnTo>
                    <a:close/>
                    <a:moveTo>
                      <a:pt x="170" y="273"/>
                    </a:moveTo>
                    <a:cubicBezTo>
                      <a:pt x="165" y="273"/>
                      <a:pt x="161" y="271"/>
                      <a:pt x="157" y="268"/>
                    </a:cubicBezTo>
                    <a:cubicBezTo>
                      <a:pt x="150" y="244"/>
                      <a:pt x="141" y="211"/>
                      <a:pt x="131" y="177"/>
                    </a:cubicBezTo>
                    <a:lnTo>
                      <a:pt x="173" y="177"/>
                    </a:lnTo>
                    <a:lnTo>
                      <a:pt x="194" y="273"/>
                    </a:lnTo>
                    <a:lnTo>
                      <a:pt x="170" y="273"/>
                    </a:lnTo>
                    <a:close/>
                    <a:moveTo>
                      <a:pt x="126" y="156"/>
                    </a:moveTo>
                    <a:cubicBezTo>
                      <a:pt x="119" y="133"/>
                      <a:pt x="112" y="109"/>
                      <a:pt x="106" y="88"/>
                    </a:cubicBezTo>
                    <a:lnTo>
                      <a:pt x="153" y="88"/>
                    </a:lnTo>
                    <a:lnTo>
                      <a:pt x="171" y="168"/>
                    </a:lnTo>
                    <a:lnTo>
                      <a:pt x="129" y="168"/>
                    </a:lnTo>
                    <a:cubicBezTo>
                      <a:pt x="128" y="164"/>
                      <a:pt x="127" y="160"/>
                      <a:pt x="126" y="156"/>
                    </a:cubicBezTo>
                    <a:close/>
                    <a:moveTo>
                      <a:pt x="212" y="88"/>
                    </a:moveTo>
                    <a:lnTo>
                      <a:pt x="225" y="168"/>
                    </a:lnTo>
                    <a:lnTo>
                      <a:pt x="186" y="168"/>
                    </a:lnTo>
                    <a:lnTo>
                      <a:pt x="168" y="88"/>
                    </a:lnTo>
                    <a:lnTo>
                      <a:pt x="212" y="88"/>
                    </a:lnTo>
                    <a:close/>
                    <a:moveTo>
                      <a:pt x="274" y="88"/>
                    </a:moveTo>
                    <a:lnTo>
                      <a:pt x="281" y="168"/>
                    </a:lnTo>
                    <a:lnTo>
                      <a:pt x="241" y="168"/>
                    </a:lnTo>
                    <a:lnTo>
                      <a:pt x="228" y="88"/>
                    </a:lnTo>
                    <a:lnTo>
                      <a:pt x="274" y="88"/>
                    </a:lnTo>
                    <a:close/>
                    <a:moveTo>
                      <a:pt x="416" y="88"/>
                    </a:moveTo>
                    <a:lnTo>
                      <a:pt x="462" y="88"/>
                    </a:lnTo>
                    <a:lnTo>
                      <a:pt x="449" y="168"/>
                    </a:lnTo>
                    <a:lnTo>
                      <a:pt x="408" y="168"/>
                    </a:lnTo>
                    <a:lnTo>
                      <a:pt x="416" y="88"/>
                    </a:lnTo>
                    <a:close/>
                    <a:moveTo>
                      <a:pt x="24" y="29"/>
                    </a:moveTo>
                    <a:cubicBezTo>
                      <a:pt x="19" y="31"/>
                      <a:pt x="15" y="28"/>
                      <a:pt x="13" y="24"/>
                    </a:cubicBezTo>
                    <a:cubicBezTo>
                      <a:pt x="12" y="19"/>
                      <a:pt x="14" y="14"/>
                      <a:pt x="19" y="13"/>
                    </a:cubicBezTo>
                    <a:cubicBezTo>
                      <a:pt x="24" y="12"/>
                      <a:pt x="28" y="14"/>
                      <a:pt x="30" y="19"/>
                    </a:cubicBezTo>
                    <a:cubicBezTo>
                      <a:pt x="31" y="23"/>
                      <a:pt x="29" y="28"/>
                      <a:pt x="24" y="29"/>
                    </a:cubicBezTo>
                    <a:close/>
                    <a:moveTo>
                      <a:pt x="533" y="63"/>
                    </a:moveTo>
                    <a:lnTo>
                      <a:pt x="110" y="63"/>
                    </a:lnTo>
                    <a:cubicBezTo>
                      <a:pt x="106" y="63"/>
                      <a:pt x="103" y="63"/>
                      <a:pt x="100" y="65"/>
                    </a:cubicBezTo>
                    <a:cubicBezTo>
                      <a:pt x="99" y="61"/>
                      <a:pt x="94" y="44"/>
                      <a:pt x="91" y="34"/>
                    </a:cubicBezTo>
                    <a:cubicBezTo>
                      <a:pt x="88" y="22"/>
                      <a:pt x="79" y="12"/>
                      <a:pt x="64" y="12"/>
                    </a:cubicBezTo>
                    <a:cubicBezTo>
                      <a:pt x="61" y="12"/>
                      <a:pt x="40" y="12"/>
                      <a:pt x="39" y="12"/>
                    </a:cubicBezTo>
                    <a:cubicBezTo>
                      <a:pt x="34" y="4"/>
                      <a:pt x="25" y="0"/>
                      <a:pt x="16" y="2"/>
                    </a:cubicBezTo>
                    <a:cubicBezTo>
                      <a:pt x="5" y="6"/>
                      <a:pt x="0" y="16"/>
                      <a:pt x="3" y="27"/>
                    </a:cubicBezTo>
                    <a:cubicBezTo>
                      <a:pt x="6" y="37"/>
                      <a:pt x="17" y="43"/>
                      <a:pt x="27" y="40"/>
                    </a:cubicBezTo>
                    <a:cubicBezTo>
                      <a:pt x="32" y="39"/>
                      <a:pt x="36" y="35"/>
                      <a:pt x="38" y="31"/>
                    </a:cubicBezTo>
                    <a:cubicBezTo>
                      <a:pt x="40" y="31"/>
                      <a:pt x="52" y="31"/>
                      <a:pt x="54" y="31"/>
                    </a:cubicBezTo>
                    <a:cubicBezTo>
                      <a:pt x="63" y="31"/>
                      <a:pt x="65" y="33"/>
                      <a:pt x="67" y="40"/>
                    </a:cubicBezTo>
                    <a:cubicBezTo>
                      <a:pt x="73" y="61"/>
                      <a:pt x="165" y="388"/>
                      <a:pt x="171" y="409"/>
                    </a:cubicBezTo>
                    <a:cubicBezTo>
                      <a:pt x="180" y="439"/>
                      <a:pt x="194" y="450"/>
                      <a:pt x="209" y="450"/>
                    </a:cubicBezTo>
                    <a:lnTo>
                      <a:pt x="483" y="450"/>
                    </a:lnTo>
                    <a:cubicBezTo>
                      <a:pt x="492" y="450"/>
                      <a:pt x="496" y="441"/>
                      <a:pt x="496" y="437"/>
                    </a:cubicBezTo>
                    <a:cubicBezTo>
                      <a:pt x="498" y="423"/>
                      <a:pt x="486" y="420"/>
                      <a:pt x="480" y="420"/>
                    </a:cubicBezTo>
                    <a:lnTo>
                      <a:pt x="212" y="420"/>
                    </a:lnTo>
                    <a:cubicBezTo>
                      <a:pt x="205" y="420"/>
                      <a:pt x="198" y="415"/>
                      <a:pt x="196" y="408"/>
                    </a:cubicBezTo>
                    <a:cubicBezTo>
                      <a:pt x="195" y="404"/>
                      <a:pt x="170" y="315"/>
                      <a:pt x="168" y="309"/>
                    </a:cubicBezTo>
                    <a:cubicBezTo>
                      <a:pt x="174" y="315"/>
                      <a:pt x="179" y="314"/>
                      <a:pt x="182" y="314"/>
                    </a:cubicBezTo>
                    <a:lnTo>
                      <a:pt x="451" y="314"/>
                    </a:lnTo>
                    <a:cubicBezTo>
                      <a:pt x="486" y="314"/>
                      <a:pt x="500" y="272"/>
                      <a:pt x="503" y="259"/>
                    </a:cubicBezTo>
                    <a:lnTo>
                      <a:pt x="552" y="88"/>
                    </a:lnTo>
                    <a:cubicBezTo>
                      <a:pt x="554" y="81"/>
                      <a:pt x="552" y="63"/>
                      <a:pt x="533" y="63"/>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
        <p:nvSpPr>
          <p:cNvPr id="69" name="Fast_food2" descr="{&quot;Key&quot;:&quot;POWER_USER_SHAPE_ICON&quot;,&quot;Value&quot;:&quot;POWER_USER_SHAPE_ICON_STYLE_1&quot;}">
            <a:extLst>
              <a:ext uri="{FF2B5EF4-FFF2-40B4-BE49-F238E27FC236}">
                <a16:creationId xmlns:a16="http://schemas.microsoft.com/office/drawing/2014/main" id="{CAB032EB-6D43-4DE3-B280-B0ACAEF0EBE7}"/>
              </a:ext>
            </a:extLst>
          </p:cNvPr>
          <p:cNvSpPr>
            <a:spLocks noChangeAspect="1" noEditPoints="1"/>
          </p:cNvSpPr>
          <p:nvPr/>
        </p:nvSpPr>
        <p:spPr bwMode="auto">
          <a:xfrm>
            <a:off x="8760765" y="5191762"/>
            <a:ext cx="180926" cy="251669"/>
          </a:xfrm>
          <a:custGeom>
            <a:avLst/>
            <a:gdLst>
              <a:gd name="T0" fmla="*/ 1247 w 1250"/>
              <a:gd name="T1" fmla="*/ 292 h 1099"/>
              <a:gd name="T2" fmla="*/ 1145 w 1250"/>
              <a:gd name="T3" fmla="*/ 1099 h 1099"/>
              <a:gd name="T4" fmla="*/ 799 w 1250"/>
              <a:gd name="T5" fmla="*/ 1099 h 1099"/>
              <a:gd name="T6" fmla="*/ 697 w 1250"/>
              <a:gd name="T7" fmla="*/ 292 h 1099"/>
              <a:gd name="T8" fmla="*/ 1119 w 1250"/>
              <a:gd name="T9" fmla="*/ 292 h 1099"/>
              <a:gd name="T10" fmla="*/ 1203 w 1250"/>
              <a:gd name="T11" fmla="*/ 0 h 1099"/>
              <a:gd name="T12" fmla="*/ 1250 w 1250"/>
              <a:gd name="T13" fmla="*/ 13 h 1099"/>
              <a:gd name="T14" fmla="*/ 1170 w 1250"/>
              <a:gd name="T15" fmla="*/ 292 h 1099"/>
              <a:gd name="T16" fmla="*/ 1247 w 1250"/>
              <a:gd name="T17" fmla="*/ 292 h 1099"/>
              <a:gd name="T18" fmla="*/ 648 w 1250"/>
              <a:gd name="T19" fmla="*/ 762 h 1099"/>
              <a:gd name="T20" fmla="*/ 481 w 1250"/>
              <a:gd name="T21" fmla="*/ 644 h 1099"/>
              <a:gd name="T22" fmla="*/ 195 w 1250"/>
              <a:gd name="T23" fmla="*/ 644 h 1099"/>
              <a:gd name="T24" fmla="*/ 29 w 1250"/>
              <a:gd name="T25" fmla="*/ 762 h 1099"/>
              <a:gd name="T26" fmla="*/ 648 w 1250"/>
              <a:gd name="T27" fmla="*/ 762 h 1099"/>
              <a:gd name="T28" fmla="*/ 29 w 1250"/>
              <a:gd name="T29" fmla="*/ 981 h 1099"/>
              <a:gd name="T30" fmla="*/ 195 w 1250"/>
              <a:gd name="T31" fmla="*/ 1099 h 1099"/>
              <a:gd name="T32" fmla="*/ 481 w 1250"/>
              <a:gd name="T33" fmla="*/ 1099 h 1099"/>
              <a:gd name="T34" fmla="*/ 648 w 1250"/>
              <a:gd name="T35" fmla="*/ 981 h 1099"/>
              <a:gd name="T36" fmla="*/ 29 w 1250"/>
              <a:gd name="T37" fmla="*/ 981 h 1099"/>
              <a:gd name="T38" fmla="*/ 621 w 1250"/>
              <a:gd name="T39" fmla="*/ 924 h 1099"/>
              <a:gd name="T40" fmla="*/ 674 w 1250"/>
              <a:gd name="T41" fmla="*/ 871 h 1099"/>
              <a:gd name="T42" fmla="*/ 621 w 1250"/>
              <a:gd name="T43" fmla="*/ 818 h 1099"/>
              <a:gd name="T44" fmla="*/ 53 w 1250"/>
              <a:gd name="T45" fmla="*/ 818 h 1099"/>
              <a:gd name="T46" fmla="*/ 0 w 1250"/>
              <a:gd name="T47" fmla="*/ 871 h 1099"/>
              <a:gd name="T48" fmla="*/ 53 w 1250"/>
              <a:gd name="T49" fmla="*/ 924 h 1099"/>
              <a:gd name="T50" fmla="*/ 621 w 1250"/>
              <a:gd name="T51" fmla="*/ 924 h 10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50" h="1099">
                <a:moveTo>
                  <a:pt x="1247" y="292"/>
                </a:moveTo>
                <a:lnTo>
                  <a:pt x="1145" y="1099"/>
                </a:lnTo>
                <a:lnTo>
                  <a:pt x="799" y="1099"/>
                </a:lnTo>
                <a:lnTo>
                  <a:pt x="697" y="292"/>
                </a:lnTo>
                <a:lnTo>
                  <a:pt x="1119" y="292"/>
                </a:lnTo>
                <a:lnTo>
                  <a:pt x="1203" y="0"/>
                </a:lnTo>
                <a:lnTo>
                  <a:pt x="1250" y="13"/>
                </a:lnTo>
                <a:lnTo>
                  <a:pt x="1170" y="292"/>
                </a:lnTo>
                <a:lnTo>
                  <a:pt x="1247" y="292"/>
                </a:lnTo>
                <a:close/>
                <a:moveTo>
                  <a:pt x="648" y="762"/>
                </a:moveTo>
                <a:cubicBezTo>
                  <a:pt x="648" y="762"/>
                  <a:pt x="661" y="644"/>
                  <a:pt x="481" y="644"/>
                </a:cubicBezTo>
                <a:lnTo>
                  <a:pt x="195" y="644"/>
                </a:lnTo>
                <a:cubicBezTo>
                  <a:pt x="16" y="644"/>
                  <a:pt x="29" y="762"/>
                  <a:pt x="29" y="762"/>
                </a:cubicBezTo>
                <a:lnTo>
                  <a:pt x="648" y="762"/>
                </a:lnTo>
                <a:close/>
                <a:moveTo>
                  <a:pt x="29" y="981"/>
                </a:moveTo>
                <a:cubicBezTo>
                  <a:pt x="29" y="981"/>
                  <a:pt x="16" y="1099"/>
                  <a:pt x="195" y="1099"/>
                </a:cubicBezTo>
                <a:lnTo>
                  <a:pt x="481" y="1099"/>
                </a:lnTo>
                <a:cubicBezTo>
                  <a:pt x="661" y="1099"/>
                  <a:pt x="648" y="981"/>
                  <a:pt x="648" y="981"/>
                </a:cubicBezTo>
                <a:lnTo>
                  <a:pt x="29" y="981"/>
                </a:lnTo>
                <a:close/>
                <a:moveTo>
                  <a:pt x="621" y="924"/>
                </a:moveTo>
                <a:cubicBezTo>
                  <a:pt x="650" y="924"/>
                  <a:pt x="674" y="900"/>
                  <a:pt x="674" y="871"/>
                </a:cubicBezTo>
                <a:cubicBezTo>
                  <a:pt x="674" y="842"/>
                  <a:pt x="650" y="818"/>
                  <a:pt x="621" y="818"/>
                </a:cubicBezTo>
                <a:lnTo>
                  <a:pt x="53" y="818"/>
                </a:lnTo>
                <a:cubicBezTo>
                  <a:pt x="24" y="818"/>
                  <a:pt x="0" y="842"/>
                  <a:pt x="0" y="871"/>
                </a:cubicBezTo>
                <a:cubicBezTo>
                  <a:pt x="0" y="900"/>
                  <a:pt x="24" y="924"/>
                  <a:pt x="53" y="924"/>
                </a:cubicBezTo>
                <a:lnTo>
                  <a:pt x="621" y="924"/>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1" name="Rechthoek 63">
            <a:extLst>
              <a:ext uri="{FF2B5EF4-FFF2-40B4-BE49-F238E27FC236}">
                <a16:creationId xmlns:a16="http://schemas.microsoft.com/office/drawing/2014/main" id="{57D68CEF-1516-4A6D-8E19-B68B492F52B4}"/>
              </a:ext>
            </a:extLst>
          </p:cNvPr>
          <p:cNvSpPr/>
          <p:nvPr/>
        </p:nvSpPr>
        <p:spPr>
          <a:xfrm>
            <a:off x="7123068" y="1910074"/>
            <a:ext cx="137160" cy="182880"/>
          </a:xfrm>
          <a:prstGeom prst="rect">
            <a:avLst/>
          </a:prstGeom>
          <a:ln/>
        </p:spPr>
        <p:style>
          <a:lnRef idx="0">
            <a:schemeClr val="accent2"/>
          </a:lnRef>
          <a:fillRef idx="3">
            <a:schemeClr val="accent2"/>
          </a:fillRef>
          <a:effectRef idx="3">
            <a:schemeClr val="accent2"/>
          </a:effectRef>
          <a:fontRef idx="minor">
            <a:schemeClr val="lt1"/>
          </a:fontRef>
        </p:style>
        <p:txBody>
          <a:bodyPr rtlCol="0" anchor="ctr"/>
          <a:lstStyle/>
          <a:p>
            <a:pPr algn="ctr"/>
            <a:r>
              <a:rPr lang="nl-NL" sz="1200" b="1"/>
              <a:t>P</a:t>
            </a:r>
          </a:p>
        </p:txBody>
      </p:sp>
      <p:sp>
        <p:nvSpPr>
          <p:cNvPr id="72" name="Rechthoek 63">
            <a:extLst>
              <a:ext uri="{FF2B5EF4-FFF2-40B4-BE49-F238E27FC236}">
                <a16:creationId xmlns:a16="http://schemas.microsoft.com/office/drawing/2014/main" id="{851AC804-8739-41E8-9476-88FE0D0C35C8}"/>
              </a:ext>
            </a:extLst>
          </p:cNvPr>
          <p:cNvSpPr/>
          <p:nvPr/>
        </p:nvSpPr>
        <p:spPr>
          <a:xfrm>
            <a:off x="9103208" y="862267"/>
            <a:ext cx="137160" cy="182880"/>
          </a:xfrm>
          <a:prstGeom prst="rect">
            <a:avLst/>
          </a:prstGeom>
          <a:ln/>
        </p:spPr>
        <p:style>
          <a:lnRef idx="0">
            <a:schemeClr val="accent2"/>
          </a:lnRef>
          <a:fillRef idx="3">
            <a:schemeClr val="accent2"/>
          </a:fillRef>
          <a:effectRef idx="3">
            <a:schemeClr val="accent2"/>
          </a:effectRef>
          <a:fontRef idx="minor">
            <a:schemeClr val="lt1"/>
          </a:fontRef>
        </p:style>
        <p:txBody>
          <a:bodyPr rtlCol="0" anchor="ctr"/>
          <a:lstStyle/>
          <a:p>
            <a:pPr algn="ctr"/>
            <a:r>
              <a:rPr lang="nl-NL" sz="1200" b="1"/>
              <a:t>P</a:t>
            </a:r>
          </a:p>
        </p:txBody>
      </p:sp>
      <p:sp>
        <p:nvSpPr>
          <p:cNvPr id="73" name="Rechthoek 63">
            <a:extLst>
              <a:ext uri="{FF2B5EF4-FFF2-40B4-BE49-F238E27FC236}">
                <a16:creationId xmlns:a16="http://schemas.microsoft.com/office/drawing/2014/main" id="{6043B552-BE55-4FD7-BE7F-E3B3A1A063F8}"/>
              </a:ext>
            </a:extLst>
          </p:cNvPr>
          <p:cNvSpPr/>
          <p:nvPr/>
        </p:nvSpPr>
        <p:spPr>
          <a:xfrm>
            <a:off x="8214835" y="2797219"/>
            <a:ext cx="137160" cy="182880"/>
          </a:xfrm>
          <a:prstGeom prst="rect">
            <a:avLst/>
          </a:prstGeom>
          <a:ln/>
        </p:spPr>
        <p:style>
          <a:lnRef idx="0">
            <a:schemeClr val="accent2"/>
          </a:lnRef>
          <a:fillRef idx="3">
            <a:schemeClr val="accent2"/>
          </a:fillRef>
          <a:effectRef idx="3">
            <a:schemeClr val="accent2"/>
          </a:effectRef>
          <a:fontRef idx="minor">
            <a:schemeClr val="lt1"/>
          </a:fontRef>
        </p:style>
        <p:txBody>
          <a:bodyPr rtlCol="0" anchor="ctr"/>
          <a:lstStyle/>
          <a:p>
            <a:pPr algn="ctr"/>
            <a:r>
              <a:rPr lang="nl-NL" sz="1200" b="1"/>
              <a:t>P</a:t>
            </a:r>
          </a:p>
        </p:txBody>
      </p:sp>
      <p:sp>
        <p:nvSpPr>
          <p:cNvPr id="74" name="Rechthoek 63">
            <a:extLst>
              <a:ext uri="{FF2B5EF4-FFF2-40B4-BE49-F238E27FC236}">
                <a16:creationId xmlns:a16="http://schemas.microsoft.com/office/drawing/2014/main" id="{6FD3C98F-B391-4818-BDEB-137667BF8CBF}"/>
              </a:ext>
            </a:extLst>
          </p:cNvPr>
          <p:cNvSpPr/>
          <p:nvPr/>
        </p:nvSpPr>
        <p:spPr>
          <a:xfrm>
            <a:off x="7911332" y="3842649"/>
            <a:ext cx="137160" cy="182880"/>
          </a:xfrm>
          <a:prstGeom prst="rect">
            <a:avLst/>
          </a:prstGeom>
          <a:ln/>
        </p:spPr>
        <p:style>
          <a:lnRef idx="0">
            <a:schemeClr val="accent2"/>
          </a:lnRef>
          <a:fillRef idx="3">
            <a:schemeClr val="accent2"/>
          </a:fillRef>
          <a:effectRef idx="3">
            <a:schemeClr val="accent2"/>
          </a:effectRef>
          <a:fontRef idx="minor">
            <a:schemeClr val="lt1"/>
          </a:fontRef>
        </p:style>
        <p:txBody>
          <a:bodyPr rtlCol="0" anchor="ctr"/>
          <a:lstStyle/>
          <a:p>
            <a:pPr algn="ctr"/>
            <a:r>
              <a:rPr lang="nl-NL" sz="1200" b="1"/>
              <a:t>P</a:t>
            </a:r>
          </a:p>
        </p:txBody>
      </p:sp>
      <p:sp>
        <p:nvSpPr>
          <p:cNvPr id="75" name="Rechthoek 63">
            <a:extLst>
              <a:ext uri="{FF2B5EF4-FFF2-40B4-BE49-F238E27FC236}">
                <a16:creationId xmlns:a16="http://schemas.microsoft.com/office/drawing/2014/main" id="{BCE041FB-6A48-4F63-A523-C65B8F85B8C0}"/>
              </a:ext>
            </a:extLst>
          </p:cNvPr>
          <p:cNvSpPr/>
          <p:nvPr/>
        </p:nvSpPr>
        <p:spPr>
          <a:xfrm>
            <a:off x="9517550" y="3062588"/>
            <a:ext cx="137160" cy="182880"/>
          </a:xfrm>
          <a:prstGeom prst="rect">
            <a:avLst/>
          </a:prstGeom>
          <a:ln/>
        </p:spPr>
        <p:style>
          <a:lnRef idx="0">
            <a:schemeClr val="accent2"/>
          </a:lnRef>
          <a:fillRef idx="3">
            <a:schemeClr val="accent2"/>
          </a:fillRef>
          <a:effectRef idx="3">
            <a:schemeClr val="accent2"/>
          </a:effectRef>
          <a:fontRef idx="minor">
            <a:schemeClr val="lt1"/>
          </a:fontRef>
        </p:style>
        <p:txBody>
          <a:bodyPr rtlCol="0" anchor="ctr"/>
          <a:lstStyle/>
          <a:p>
            <a:pPr algn="ctr"/>
            <a:r>
              <a:rPr lang="nl-NL" sz="1200" b="1"/>
              <a:t>P</a:t>
            </a:r>
          </a:p>
        </p:txBody>
      </p:sp>
      <p:sp>
        <p:nvSpPr>
          <p:cNvPr id="76" name="Rechthoek 63">
            <a:extLst>
              <a:ext uri="{FF2B5EF4-FFF2-40B4-BE49-F238E27FC236}">
                <a16:creationId xmlns:a16="http://schemas.microsoft.com/office/drawing/2014/main" id="{15DF3379-B308-4033-B1B1-DCAE2494238C}"/>
              </a:ext>
            </a:extLst>
          </p:cNvPr>
          <p:cNvSpPr/>
          <p:nvPr/>
        </p:nvSpPr>
        <p:spPr>
          <a:xfrm>
            <a:off x="9219066" y="4307975"/>
            <a:ext cx="137160" cy="182880"/>
          </a:xfrm>
          <a:prstGeom prst="rect">
            <a:avLst/>
          </a:prstGeom>
          <a:ln/>
        </p:spPr>
        <p:style>
          <a:lnRef idx="0">
            <a:schemeClr val="accent2"/>
          </a:lnRef>
          <a:fillRef idx="3">
            <a:schemeClr val="accent2"/>
          </a:fillRef>
          <a:effectRef idx="3">
            <a:schemeClr val="accent2"/>
          </a:effectRef>
          <a:fontRef idx="minor">
            <a:schemeClr val="lt1"/>
          </a:fontRef>
        </p:style>
        <p:txBody>
          <a:bodyPr rtlCol="0" anchor="ctr"/>
          <a:lstStyle/>
          <a:p>
            <a:pPr algn="ctr"/>
            <a:r>
              <a:rPr lang="nl-NL" sz="1200" b="1"/>
              <a:t>P</a:t>
            </a:r>
          </a:p>
        </p:txBody>
      </p:sp>
      <p:sp>
        <p:nvSpPr>
          <p:cNvPr id="77" name="Rechthoek 63">
            <a:extLst>
              <a:ext uri="{FF2B5EF4-FFF2-40B4-BE49-F238E27FC236}">
                <a16:creationId xmlns:a16="http://schemas.microsoft.com/office/drawing/2014/main" id="{4EE00751-C984-4352-8CEF-A891AD1F426A}"/>
              </a:ext>
            </a:extLst>
          </p:cNvPr>
          <p:cNvSpPr/>
          <p:nvPr/>
        </p:nvSpPr>
        <p:spPr>
          <a:xfrm>
            <a:off x="9904642" y="5405882"/>
            <a:ext cx="137160" cy="182880"/>
          </a:xfrm>
          <a:prstGeom prst="rect">
            <a:avLst/>
          </a:prstGeom>
          <a:ln/>
        </p:spPr>
        <p:style>
          <a:lnRef idx="0">
            <a:schemeClr val="accent2"/>
          </a:lnRef>
          <a:fillRef idx="3">
            <a:schemeClr val="accent2"/>
          </a:fillRef>
          <a:effectRef idx="3">
            <a:schemeClr val="accent2"/>
          </a:effectRef>
          <a:fontRef idx="minor">
            <a:schemeClr val="lt1"/>
          </a:fontRef>
        </p:style>
        <p:txBody>
          <a:bodyPr rtlCol="0" anchor="ctr"/>
          <a:lstStyle/>
          <a:p>
            <a:pPr algn="ctr"/>
            <a:r>
              <a:rPr lang="nl-NL" sz="1200" b="1"/>
              <a:t>P</a:t>
            </a:r>
          </a:p>
        </p:txBody>
      </p:sp>
      <p:sp>
        <p:nvSpPr>
          <p:cNvPr id="78" name="Rechthoek 63">
            <a:extLst>
              <a:ext uri="{FF2B5EF4-FFF2-40B4-BE49-F238E27FC236}">
                <a16:creationId xmlns:a16="http://schemas.microsoft.com/office/drawing/2014/main" id="{D6FB1C8E-F602-42E8-8A89-214790794B40}"/>
              </a:ext>
            </a:extLst>
          </p:cNvPr>
          <p:cNvSpPr/>
          <p:nvPr/>
        </p:nvSpPr>
        <p:spPr>
          <a:xfrm>
            <a:off x="7511314" y="5124606"/>
            <a:ext cx="137160" cy="182880"/>
          </a:xfrm>
          <a:prstGeom prst="rect">
            <a:avLst/>
          </a:prstGeom>
          <a:ln/>
        </p:spPr>
        <p:style>
          <a:lnRef idx="0">
            <a:schemeClr val="accent2"/>
          </a:lnRef>
          <a:fillRef idx="3">
            <a:schemeClr val="accent2"/>
          </a:fillRef>
          <a:effectRef idx="3">
            <a:schemeClr val="accent2"/>
          </a:effectRef>
          <a:fontRef idx="minor">
            <a:schemeClr val="lt1"/>
          </a:fontRef>
        </p:style>
        <p:txBody>
          <a:bodyPr rtlCol="0" anchor="ctr"/>
          <a:lstStyle/>
          <a:p>
            <a:pPr algn="ctr"/>
            <a:r>
              <a:rPr lang="nl-NL" sz="1200" b="1"/>
              <a:t>P</a:t>
            </a:r>
          </a:p>
        </p:txBody>
      </p:sp>
      <p:sp>
        <p:nvSpPr>
          <p:cNvPr id="79" name="Rechthoek 63">
            <a:extLst>
              <a:ext uri="{FF2B5EF4-FFF2-40B4-BE49-F238E27FC236}">
                <a16:creationId xmlns:a16="http://schemas.microsoft.com/office/drawing/2014/main" id="{5D91D56D-7802-47DE-934F-68687F458582}"/>
              </a:ext>
            </a:extLst>
          </p:cNvPr>
          <p:cNvSpPr/>
          <p:nvPr/>
        </p:nvSpPr>
        <p:spPr>
          <a:xfrm>
            <a:off x="8050768" y="6361618"/>
            <a:ext cx="137160" cy="182880"/>
          </a:xfrm>
          <a:prstGeom prst="rect">
            <a:avLst/>
          </a:prstGeom>
          <a:ln/>
        </p:spPr>
        <p:style>
          <a:lnRef idx="0">
            <a:schemeClr val="accent2"/>
          </a:lnRef>
          <a:fillRef idx="3">
            <a:schemeClr val="accent2"/>
          </a:fillRef>
          <a:effectRef idx="3">
            <a:schemeClr val="accent2"/>
          </a:effectRef>
          <a:fontRef idx="minor">
            <a:schemeClr val="lt1"/>
          </a:fontRef>
        </p:style>
        <p:txBody>
          <a:bodyPr rtlCol="0" anchor="ctr"/>
          <a:lstStyle/>
          <a:p>
            <a:pPr algn="ctr"/>
            <a:r>
              <a:rPr lang="nl-NL" sz="1200" b="1"/>
              <a:t>P</a:t>
            </a:r>
          </a:p>
        </p:txBody>
      </p:sp>
      <p:sp>
        <p:nvSpPr>
          <p:cNvPr id="80" name="Rechthoek 63">
            <a:extLst>
              <a:ext uri="{FF2B5EF4-FFF2-40B4-BE49-F238E27FC236}">
                <a16:creationId xmlns:a16="http://schemas.microsoft.com/office/drawing/2014/main" id="{72FA1124-DCED-435C-93F9-F5D996FC52F6}"/>
              </a:ext>
            </a:extLst>
          </p:cNvPr>
          <p:cNvSpPr/>
          <p:nvPr/>
        </p:nvSpPr>
        <p:spPr>
          <a:xfrm>
            <a:off x="10729394" y="1137704"/>
            <a:ext cx="137160" cy="182880"/>
          </a:xfrm>
          <a:prstGeom prst="rect">
            <a:avLst/>
          </a:prstGeom>
          <a:ln/>
        </p:spPr>
        <p:style>
          <a:lnRef idx="0">
            <a:schemeClr val="accent2"/>
          </a:lnRef>
          <a:fillRef idx="3">
            <a:schemeClr val="accent2"/>
          </a:fillRef>
          <a:effectRef idx="3">
            <a:schemeClr val="accent2"/>
          </a:effectRef>
          <a:fontRef idx="minor">
            <a:schemeClr val="lt1"/>
          </a:fontRef>
        </p:style>
        <p:txBody>
          <a:bodyPr rtlCol="0" anchor="ctr"/>
          <a:lstStyle/>
          <a:p>
            <a:pPr algn="ctr"/>
            <a:r>
              <a:rPr lang="nl-NL" sz="1200" b="1"/>
              <a:t>P</a:t>
            </a:r>
          </a:p>
        </p:txBody>
      </p:sp>
      <p:sp>
        <p:nvSpPr>
          <p:cNvPr id="81" name="Rechthoek 63">
            <a:extLst>
              <a:ext uri="{FF2B5EF4-FFF2-40B4-BE49-F238E27FC236}">
                <a16:creationId xmlns:a16="http://schemas.microsoft.com/office/drawing/2014/main" id="{D4E6EA4D-7162-4C40-A670-0C216F560843}"/>
              </a:ext>
            </a:extLst>
          </p:cNvPr>
          <p:cNvSpPr/>
          <p:nvPr/>
        </p:nvSpPr>
        <p:spPr>
          <a:xfrm>
            <a:off x="6765349" y="1334495"/>
            <a:ext cx="137160" cy="182880"/>
          </a:xfrm>
          <a:prstGeom prst="rect">
            <a:avLst/>
          </a:prstGeom>
          <a:ln/>
        </p:spPr>
        <p:style>
          <a:lnRef idx="0">
            <a:schemeClr val="accent2"/>
          </a:lnRef>
          <a:fillRef idx="3">
            <a:schemeClr val="accent2"/>
          </a:fillRef>
          <a:effectRef idx="3">
            <a:schemeClr val="accent2"/>
          </a:effectRef>
          <a:fontRef idx="minor">
            <a:schemeClr val="lt1"/>
          </a:fontRef>
        </p:style>
        <p:txBody>
          <a:bodyPr rtlCol="0" anchor="ctr"/>
          <a:lstStyle/>
          <a:p>
            <a:pPr algn="ctr"/>
            <a:r>
              <a:rPr lang="nl-NL" sz="1200" b="1"/>
              <a:t>P</a:t>
            </a:r>
          </a:p>
        </p:txBody>
      </p:sp>
      <p:sp>
        <p:nvSpPr>
          <p:cNvPr id="207" name="Tekstvak 89">
            <a:extLst>
              <a:ext uri="{FF2B5EF4-FFF2-40B4-BE49-F238E27FC236}">
                <a16:creationId xmlns:a16="http://schemas.microsoft.com/office/drawing/2014/main" id="{82C7BE5D-3934-44B9-9770-BACECFB00E0E}"/>
              </a:ext>
            </a:extLst>
          </p:cNvPr>
          <p:cNvSpPr txBox="1"/>
          <p:nvPr/>
        </p:nvSpPr>
        <p:spPr>
          <a:xfrm>
            <a:off x="438150" y="356367"/>
            <a:ext cx="5445043" cy="338554"/>
          </a:xfrm>
          <a:custGeom>
            <a:avLst/>
            <a:gdLst>
              <a:gd name="connsiteX0" fmla="*/ 0 w 5445043"/>
              <a:gd name="connsiteY0" fmla="*/ 0 h 338554"/>
              <a:gd name="connsiteX1" fmla="*/ 626180 w 5445043"/>
              <a:gd name="connsiteY1" fmla="*/ 0 h 338554"/>
              <a:gd name="connsiteX2" fmla="*/ 1252360 w 5445043"/>
              <a:gd name="connsiteY2" fmla="*/ 0 h 338554"/>
              <a:gd name="connsiteX3" fmla="*/ 2041891 w 5445043"/>
              <a:gd name="connsiteY3" fmla="*/ 0 h 338554"/>
              <a:gd name="connsiteX4" fmla="*/ 2613621 w 5445043"/>
              <a:gd name="connsiteY4" fmla="*/ 0 h 338554"/>
              <a:gd name="connsiteX5" fmla="*/ 3185350 w 5445043"/>
              <a:gd name="connsiteY5" fmla="*/ 0 h 338554"/>
              <a:gd name="connsiteX6" fmla="*/ 3865981 w 5445043"/>
              <a:gd name="connsiteY6" fmla="*/ 0 h 338554"/>
              <a:gd name="connsiteX7" fmla="*/ 4437710 w 5445043"/>
              <a:gd name="connsiteY7" fmla="*/ 0 h 338554"/>
              <a:gd name="connsiteX8" fmla="*/ 5445043 w 5445043"/>
              <a:gd name="connsiteY8" fmla="*/ 0 h 338554"/>
              <a:gd name="connsiteX9" fmla="*/ 5445043 w 5445043"/>
              <a:gd name="connsiteY9" fmla="*/ 338554 h 338554"/>
              <a:gd name="connsiteX10" fmla="*/ 4873313 w 5445043"/>
              <a:gd name="connsiteY10" fmla="*/ 338554 h 338554"/>
              <a:gd name="connsiteX11" fmla="*/ 4301584 w 5445043"/>
              <a:gd name="connsiteY11" fmla="*/ 338554 h 338554"/>
              <a:gd name="connsiteX12" fmla="*/ 3620954 w 5445043"/>
              <a:gd name="connsiteY12" fmla="*/ 338554 h 338554"/>
              <a:gd name="connsiteX13" fmla="*/ 3049224 w 5445043"/>
              <a:gd name="connsiteY13" fmla="*/ 338554 h 338554"/>
              <a:gd name="connsiteX14" fmla="*/ 2531945 w 5445043"/>
              <a:gd name="connsiteY14" fmla="*/ 338554 h 338554"/>
              <a:gd name="connsiteX15" fmla="*/ 1851315 w 5445043"/>
              <a:gd name="connsiteY15" fmla="*/ 338554 h 338554"/>
              <a:gd name="connsiteX16" fmla="*/ 1170684 w 5445043"/>
              <a:gd name="connsiteY16" fmla="*/ 338554 h 338554"/>
              <a:gd name="connsiteX17" fmla="*/ 0 w 5445043"/>
              <a:gd name="connsiteY17" fmla="*/ 338554 h 338554"/>
              <a:gd name="connsiteX18" fmla="*/ 0 w 5445043"/>
              <a:gd name="connsiteY18" fmla="*/ 0 h 3385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5445043" h="338554" fill="none" extrusionOk="0">
                <a:moveTo>
                  <a:pt x="0" y="0"/>
                </a:moveTo>
                <a:cubicBezTo>
                  <a:pt x="245029" y="-27943"/>
                  <a:pt x="470711" y="9028"/>
                  <a:pt x="626180" y="0"/>
                </a:cubicBezTo>
                <a:cubicBezTo>
                  <a:pt x="781649" y="-9028"/>
                  <a:pt x="1095143" y="-21762"/>
                  <a:pt x="1252360" y="0"/>
                </a:cubicBezTo>
                <a:cubicBezTo>
                  <a:pt x="1409577" y="21762"/>
                  <a:pt x="1870568" y="3408"/>
                  <a:pt x="2041891" y="0"/>
                </a:cubicBezTo>
                <a:cubicBezTo>
                  <a:pt x="2213214" y="-3408"/>
                  <a:pt x="2439546" y="-5054"/>
                  <a:pt x="2613621" y="0"/>
                </a:cubicBezTo>
                <a:cubicBezTo>
                  <a:pt x="2787696" y="5054"/>
                  <a:pt x="3001613" y="-28049"/>
                  <a:pt x="3185350" y="0"/>
                </a:cubicBezTo>
                <a:cubicBezTo>
                  <a:pt x="3369087" y="28049"/>
                  <a:pt x="3570614" y="4846"/>
                  <a:pt x="3865981" y="0"/>
                </a:cubicBezTo>
                <a:cubicBezTo>
                  <a:pt x="4161348" y="-4846"/>
                  <a:pt x="4247726" y="8738"/>
                  <a:pt x="4437710" y="0"/>
                </a:cubicBezTo>
                <a:cubicBezTo>
                  <a:pt x="4627694" y="-8738"/>
                  <a:pt x="5216389" y="39222"/>
                  <a:pt x="5445043" y="0"/>
                </a:cubicBezTo>
                <a:cubicBezTo>
                  <a:pt x="5428440" y="135982"/>
                  <a:pt x="5443786" y="228068"/>
                  <a:pt x="5445043" y="338554"/>
                </a:cubicBezTo>
                <a:cubicBezTo>
                  <a:pt x="5226283" y="312473"/>
                  <a:pt x="5077534" y="334426"/>
                  <a:pt x="4873313" y="338554"/>
                </a:cubicBezTo>
                <a:cubicBezTo>
                  <a:pt x="4669092" y="342683"/>
                  <a:pt x="4420053" y="324508"/>
                  <a:pt x="4301584" y="338554"/>
                </a:cubicBezTo>
                <a:cubicBezTo>
                  <a:pt x="4183115" y="352600"/>
                  <a:pt x="3912370" y="322026"/>
                  <a:pt x="3620954" y="338554"/>
                </a:cubicBezTo>
                <a:cubicBezTo>
                  <a:pt x="3329538" y="355083"/>
                  <a:pt x="3297922" y="346581"/>
                  <a:pt x="3049224" y="338554"/>
                </a:cubicBezTo>
                <a:cubicBezTo>
                  <a:pt x="2800526" y="330528"/>
                  <a:pt x="2749425" y="352011"/>
                  <a:pt x="2531945" y="338554"/>
                </a:cubicBezTo>
                <a:cubicBezTo>
                  <a:pt x="2314465" y="325097"/>
                  <a:pt x="1989010" y="320780"/>
                  <a:pt x="1851315" y="338554"/>
                </a:cubicBezTo>
                <a:cubicBezTo>
                  <a:pt x="1713620" y="356329"/>
                  <a:pt x="1445606" y="324281"/>
                  <a:pt x="1170684" y="338554"/>
                </a:cubicBezTo>
                <a:cubicBezTo>
                  <a:pt x="895762" y="352827"/>
                  <a:pt x="407335" y="295898"/>
                  <a:pt x="0" y="338554"/>
                </a:cubicBezTo>
                <a:cubicBezTo>
                  <a:pt x="260" y="232591"/>
                  <a:pt x="-16178" y="164126"/>
                  <a:pt x="0" y="0"/>
                </a:cubicBezTo>
                <a:close/>
              </a:path>
              <a:path w="5445043" h="338554" stroke="0" extrusionOk="0">
                <a:moveTo>
                  <a:pt x="0" y="0"/>
                </a:moveTo>
                <a:cubicBezTo>
                  <a:pt x="157072" y="3597"/>
                  <a:pt x="318550" y="-5145"/>
                  <a:pt x="571730" y="0"/>
                </a:cubicBezTo>
                <a:cubicBezTo>
                  <a:pt x="824910" y="5145"/>
                  <a:pt x="1075711" y="-11651"/>
                  <a:pt x="1361261" y="0"/>
                </a:cubicBezTo>
                <a:cubicBezTo>
                  <a:pt x="1646811" y="11651"/>
                  <a:pt x="1702495" y="24984"/>
                  <a:pt x="1878540" y="0"/>
                </a:cubicBezTo>
                <a:cubicBezTo>
                  <a:pt x="2054585" y="-24984"/>
                  <a:pt x="2164218" y="16279"/>
                  <a:pt x="2395819" y="0"/>
                </a:cubicBezTo>
                <a:cubicBezTo>
                  <a:pt x="2627420" y="-16279"/>
                  <a:pt x="2746560" y="29948"/>
                  <a:pt x="3076449" y="0"/>
                </a:cubicBezTo>
                <a:cubicBezTo>
                  <a:pt x="3406338" y="-29948"/>
                  <a:pt x="3485791" y="12713"/>
                  <a:pt x="3702629" y="0"/>
                </a:cubicBezTo>
                <a:cubicBezTo>
                  <a:pt x="3919467" y="-12713"/>
                  <a:pt x="4259588" y="-21292"/>
                  <a:pt x="4437710" y="0"/>
                </a:cubicBezTo>
                <a:cubicBezTo>
                  <a:pt x="4615832" y="21292"/>
                  <a:pt x="5204592" y="24027"/>
                  <a:pt x="5445043" y="0"/>
                </a:cubicBezTo>
                <a:cubicBezTo>
                  <a:pt x="5448698" y="140903"/>
                  <a:pt x="5453646" y="259977"/>
                  <a:pt x="5445043" y="338554"/>
                </a:cubicBezTo>
                <a:cubicBezTo>
                  <a:pt x="5232222" y="322953"/>
                  <a:pt x="5006804" y="320625"/>
                  <a:pt x="4655512" y="338554"/>
                </a:cubicBezTo>
                <a:cubicBezTo>
                  <a:pt x="4304220" y="356483"/>
                  <a:pt x="4237620" y="350113"/>
                  <a:pt x="4029332" y="338554"/>
                </a:cubicBezTo>
                <a:cubicBezTo>
                  <a:pt x="3821044" y="326995"/>
                  <a:pt x="3691919" y="320454"/>
                  <a:pt x="3403152" y="338554"/>
                </a:cubicBezTo>
                <a:cubicBezTo>
                  <a:pt x="3114385" y="356654"/>
                  <a:pt x="3032324" y="334358"/>
                  <a:pt x="2831422" y="338554"/>
                </a:cubicBezTo>
                <a:cubicBezTo>
                  <a:pt x="2630520" y="342751"/>
                  <a:pt x="2350402" y="312597"/>
                  <a:pt x="2205242" y="338554"/>
                </a:cubicBezTo>
                <a:cubicBezTo>
                  <a:pt x="2060082" y="364511"/>
                  <a:pt x="1794563" y="336620"/>
                  <a:pt x="1687963" y="338554"/>
                </a:cubicBezTo>
                <a:cubicBezTo>
                  <a:pt x="1581363" y="340488"/>
                  <a:pt x="1272859" y="325251"/>
                  <a:pt x="1061783" y="338554"/>
                </a:cubicBezTo>
                <a:cubicBezTo>
                  <a:pt x="850707" y="351857"/>
                  <a:pt x="248854" y="321584"/>
                  <a:pt x="0" y="338554"/>
                </a:cubicBezTo>
                <a:cubicBezTo>
                  <a:pt x="-9197" y="211753"/>
                  <a:pt x="-16533" y="149507"/>
                  <a:pt x="0" y="0"/>
                </a:cubicBezTo>
                <a:close/>
              </a:path>
            </a:pathLst>
          </a:custGeom>
          <a:solidFill>
            <a:srgbClr val="D1C2D7"/>
          </a:solidFill>
          <a:ln>
            <a:solidFill>
              <a:schemeClr val="accent1">
                <a:lumMod val="60000"/>
                <a:lumOff val="40000"/>
              </a:schemeClr>
            </a:solidFill>
            <a:extLst>
              <a:ext uri="{C807C97D-BFC1-408E-A445-0C87EB9F89A2}">
                <ask:lineSketchStyleProps xmlns:ask="http://schemas.microsoft.com/office/drawing/2018/sketchyshapes" sd="2863741219">
                  <a:prstGeom prst="rect">
                    <a:avLst/>
                  </a:prstGeom>
                  <ask:type>
                    <ask:lineSketchFreehand/>
                  </ask:type>
                </ask:lineSketchStyleProps>
              </a:ext>
            </a:extLst>
          </a:ln>
        </p:spPr>
        <p:txBody>
          <a:bodyPr wrap="square" lIns="91440" tIns="45720" rIns="91440" bIns="45720" rtlCol="0" anchor="t">
            <a:spAutoFit/>
          </a:bodyPr>
          <a:lstStyle>
            <a:defPPr>
              <a:defRPr lang="nl-NL"/>
            </a:defPPr>
            <a:lvl1pPr>
              <a:defRPr sz="1200" b="1"/>
            </a:lvl1pPr>
          </a:lstStyle>
          <a:p>
            <a:pPr marL="342900" indent="-342900">
              <a:buAutoNum type="arabicPeriod"/>
            </a:pPr>
            <a:r>
              <a:rPr lang="nl-NL" sz="1600">
                <a:solidFill>
                  <a:schemeClr val="accent1"/>
                </a:solidFill>
                <a:latin typeface="+mj-lt"/>
              </a:rPr>
              <a:t>De boodschappenlocaties</a:t>
            </a:r>
            <a:endParaRPr lang="nl-NL" sz="1600" b="0">
              <a:latin typeface="+mj-lt"/>
            </a:endParaRPr>
          </a:p>
        </p:txBody>
      </p:sp>
      <p:pic>
        <p:nvPicPr>
          <p:cNvPr id="2052" name="Picture 4" descr="Renewables and consumer choices key to sustainable energy use in EU&amp;#39;s food  sector | EU Science Hub">
            <a:extLst>
              <a:ext uri="{FF2B5EF4-FFF2-40B4-BE49-F238E27FC236}">
                <a16:creationId xmlns:a16="http://schemas.microsoft.com/office/drawing/2014/main" id="{23A89849-8167-4853-B3B4-DE1C17F12D6E}"/>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2388019" y="5443431"/>
            <a:ext cx="2120196" cy="1414568"/>
          </a:xfrm>
          <a:prstGeom prst="rect">
            <a:avLst/>
          </a:prstGeom>
          <a:noFill/>
          <a:extLst>
            <a:ext uri="{909E8E84-426E-40DD-AFC4-6F175D3DCCD1}">
              <a14:hiddenFill xmlns:a14="http://schemas.microsoft.com/office/drawing/2010/main">
                <a:solidFill>
                  <a:srgbClr val="FFFFFF"/>
                </a:solidFill>
              </a14:hiddenFill>
            </a:ext>
          </a:extLst>
        </p:spPr>
      </p:pic>
      <p:pic>
        <p:nvPicPr>
          <p:cNvPr id="2054" name="Picture 6" descr="Dierenspeciaalzaak - Dierenvoeding en accessoires kopen - Huisdierenbazaar">
            <a:extLst>
              <a:ext uri="{FF2B5EF4-FFF2-40B4-BE49-F238E27FC236}">
                <a16:creationId xmlns:a16="http://schemas.microsoft.com/office/drawing/2014/main" id="{C29FB610-0691-409C-8FCC-17B1E2CCE630}"/>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4732822" y="5443430"/>
            <a:ext cx="1427572" cy="1396299"/>
          </a:xfrm>
          <a:prstGeom prst="rect">
            <a:avLst/>
          </a:prstGeom>
          <a:noFill/>
          <a:extLst>
            <a:ext uri="{909E8E84-426E-40DD-AFC4-6F175D3DCCD1}">
              <a14:hiddenFill xmlns:a14="http://schemas.microsoft.com/office/drawing/2010/main">
                <a:solidFill>
                  <a:srgbClr val="FFFFFF"/>
                </a:solidFill>
              </a14:hiddenFill>
            </a:ext>
          </a:extLst>
        </p:spPr>
      </p:pic>
      <p:pic>
        <p:nvPicPr>
          <p:cNvPr id="2056" name="Picture 8" descr="De winkel | De Notenwinkel van Zeist">
            <a:extLst>
              <a:ext uri="{FF2B5EF4-FFF2-40B4-BE49-F238E27FC236}">
                <a16:creationId xmlns:a16="http://schemas.microsoft.com/office/drawing/2014/main" id="{E2151F87-E533-4CD3-A29F-CA02D1E402A5}"/>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 y="5443431"/>
            <a:ext cx="2176593" cy="1414568"/>
          </a:xfrm>
          <a:prstGeom prst="rect">
            <a:avLst/>
          </a:prstGeom>
          <a:noFill/>
          <a:extLst>
            <a:ext uri="{909E8E84-426E-40DD-AFC4-6F175D3DCCD1}">
              <a14:hiddenFill xmlns:a14="http://schemas.microsoft.com/office/drawing/2010/main">
                <a:solidFill>
                  <a:srgbClr val="FFFFFF"/>
                </a:solidFill>
              </a14:hiddenFill>
            </a:ext>
          </a:extLst>
        </p:spPr>
      </p:pic>
      <p:sp>
        <p:nvSpPr>
          <p:cNvPr id="11" name="Tekstvak 10">
            <a:extLst>
              <a:ext uri="{FF2B5EF4-FFF2-40B4-BE49-F238E27FC236}">
                <a16:creationId xmlns:a16="http://schemas.microsoft.com/office/drawing/2014/main" id="{CEFA34F1-2B3B-44BA-A398-18876449114F}"/>
              </a:ext>
            </a:extLst>
          </p:cNvPr>
          <p:cNvSpPr txBox="1"/>
          <p:nvPr/>
        </p:nvSpPr>
        <p:spPr>
          <a:xfrm>
            <a:off x="352559" y="885934"/>
            <a:ext cx="5945060" cy="4524315"/>
          </a:xfrm>
          <a:prstGeom prst="rect">
            <a:avLst/>
          </a:prstGeom>
          <a:noFill/>
        </p:spPr>
        <p:txBody>
          <a:bodyPr wrap="square" rtlCol="0">
            <a:spAutoFit/>
          </a:bodyPr>
          <a:lstStyle/>
          <a:p>
            <a:r>
              <a:rPr lang="nl-NL" sz="1600" b="1" dirty="0">
                <a:latin typeface="+mj-lt"/>
              </a:rPr>
              <a:t>Ontwikkelrichting </a:t>
            </a:r>
          </a:p>
          <a:p>
            <a:pPr marL="285750" indent="-285750">
              <a:buFont typeface="Arial" panose="020B0604020202020204" pitchFamily="34" charset="0"/>
              <a:buChar char="•"/>
            </a:pPr>
            <a:r>
              <a:rPr lang="nl-NL" sz="1600" b="0" dirty="0">
                <a:latin typeface="+mj-lt"/>
              </a:rPr>
              <a:t>Dit zijn dé locaties voor het doen van de dagelijkse boodschappen. En het </a:t>
            </a:r>
            <a:r>
              <a:rPr lang="nl-NL" sz="1600" dirty="0">
                <a:latin typeface="+mj-lt"/>
              </a:rPr>
              <a:t>start- en eindpunt </a:t>
            </a:r>
            <a:r>
              <a:rPr lang="nl-NL" sz="1600" b="0" dirty="0">
                <a:latin typeface="+mj-lt"/>
              </a:rPr>
              <a:t>voor veel (winkel</a:t>
            </a:r>
            <a:r>
              <a:rPr lang="nl-NL" sz="1600" b="0">
                <a:latin typeface="+mj-lt"/>
              </a:rPr>
              <a:t>)bezoekers.</a:t>
            </a:r>
            <a:endParaRPr lang="nl-NL" sz="1600" dirty="0">
              <a:latin typeface="+mj-lt"/>
            </a:endParaRPr>
          </a:p>
          <a:p>
            <a:pPr marL="285750" indent="-285750">
              <a:buFont typeface="Arial" panose="020B0604020202020204" pitchFamily="34" charset="0"/>
              <a:buChar char="•"/>
            </a:pPr>
            <a:endParaRPr lang="nl-NL" sz="1600" b="0" dirty="0">
              <a:latin typeface="+mj-lt"/>
            </a:endParaRPr>
          </a:p>
          <a:p>
            <a:pPr marL="285750" indent="-285750">
              <a:buFont typeface="Arial" panose="020B0604020202020204" pitchFamily="34" charset="0"/>
              <a:buChar char="•"/>
            </a:pPr>
            <a:r>
              <a:rPr lang="nl-NL" sz="1600" b="0" dirty="0">
                <a:latin typeface="+mj-lt"/>
              </a:rPr>
              <a:t>Behouden van ‘haltermodel’ met twee polen AH</a:t>
            </a:r>
            <a:r>
              <a:rPr lang="nl-NL" sz="1600" dirty="0">
                <a:latin typeface="+mj-lt"/>
              </a:rPr>
              <a:t> </a:t>
            </a:r>
            <a:r>
              <a:rPr lang="nl-NL" sz="1600" b="0" dirty="0">
                <a:latin typeface="+mj-lt"/>
              </a:rPr>
              <a:t>en Jumbo/Kruidvat.</a:t>
            </a:r>
          </a:p>
          <a:p>
            <a:pPr marL="285750" indent="-285750">
              <a:buFont typeface="Arial" panose="020B0604020202020204" pitchFamily="34" charset="0"/>
              <a:buChar char="•"/>
            </a:pPr>
            <a:endParaRPr lang="nl-NL" sz="1600" dirty="0">
              <a:latin typeface="+mj-lt"/>
            </a:endParaRPr>
          </a:p>
          <a:p>
            <a:pPr marL="285750" indent="-285750">
              <a:buFont typeface="Arial" panose="020B0604020202020204" pitchFamily="34" charset="0"/>
              <a:buChar char="•"/>
            </a:pPr>
            <a:r>
              <a:rPr lang="nl-NL" sz="1600" dirty="0">
                <a:latin typeface="+mj-lt"/>
              </a:rPr>
              <a:t>Entree Albert Heijn. </a:t>
            </a:r>
          </a:p>
          <a:p>
            <a:endParaRPr lang="nl-NL" sz="1600" b="0" dirty="0">
              <a:latin typeface="+mj-lt"/>
            </a:endParaRPr>
          </a:p>
          <a:p>
            <a:pPr marL="285750" indent="-285750">
              <a:buFont typeface="Arial" panose="020B0604020202020204" pitchFamily="34" charset="0"/>
              <a:buChar char="•"/>
            </a:pPr>
            <a:r>
              <a:rPr lang="nl-NL" sz="1600" dirty="0">
                <a:latin typeface="+mj-lt"/>
              </a:rPr>
              <a:t>Het is b</a:t>
            </a:r>
            <a:r>
              <a:rPr lang="nl-NL" sz="1600" b="0" dirty="0">
                <a:latin typeface="+mj-lt"/>
              </a:rPr>
              <a:t>elangrijk om voldoende parkeergelegenheden te behouden.</a:t>
            </a:r>
          </a:p>
          <a:p>
            <a:r>
              <a:rPr lang="nl-NL" sz="1600" b="0" dirty="0">
                <a:latin typeface="+mj-lt"/>
              </a:rPr>
              <a:t> </a:t>
            </a:r>
          </a:p>
          <a:p>
            <a:endParaRPr lang="nl-NL" sz="1600" b="0" dirty="0">
              <a:latin typeface="+mj-lt"/>
            </a:endParaRPr>
          </a:p>
          <a:p>
            <a:r>
              <a:rPr lang="nl-NL" sz="1600" b="1" dirty="0">
                <a:latin typeface="+mj-lt"/>
              </a:rPr>
              <a:t>Welke functies willen we hier? </a:t>
            </a:r>
            <a:r>
              <a:rPr lang="nl-NL" sz="1600" dirty="0">
                <a:latin typeface="+mj-lt"/>
              </a:rPr>
              <a:t> </a:t>
            </a:r>
          </a:p>
          <a:p>
            <a:pPr marL="285750" indent="-285750">
              <a:buFont typeface="Arial" panose="020B0604020202020204" pitchFamily="34" charset="0"/>
              <a:buChar char="•"/>
            </a:pPr>
            <a:r>
              <a:rPr lang="nl-NL" sz="1600" dirty="0">
                <a:solidFill>
                  <a:srgbClr val="000000"/>
                </a:solidFill>
                <a:latin typeface="+mj-lt"/>
              </a:rPr>
              <a:t>Winkels </a:t>
            </a:r>
            <a:r>
              <a:rPr lang="nl-NL" sz="1600" b="0" dirty="0">
                <a:solidFill>
                  <a:srgbClr val="000000"/>
                </a:solidFill>
                <a:latin typeface="+mj-lt"/>
              </a:rPr>
              <a:t>vooral in de food sector (supermarkten, verswinkels en drogist) en in mindere mate </a:t>
            </a:r>
            <a:r>
              <a:rPr lang="nl-NL" sz="1600" dirty="0">
                <a:solidFill>
                  <a:srgbClr val="000000"/>
                </a:solidFill>
                <a:latin typeface="+mj-lt"/>
              </a:rPr>
              <a:t>non-food </a:t>
            </a:r>
            <a:r>
              <a:rPr lang="nl-NL" sz="1600" b="0" dirty="0">
                <a:solidFill>
                  <a:srgbClr val="000000"/>
                </a:solidFill>
                <a:latin typeface="+mj-lt"/>
              </a:rPr>
              <a:t>sector. </a:t>
            </a:r>
            <a:endParaRPr lang="nl-NL" sz="1600" b="0" dirty="0">
              <a:latin typeface="+mj-lt"/>
            </a:endParaRPr>
          </a:p>
        </p:txBody>
      </p:sp>
      <p:sp>
        <p:nvSpPr>
          <p:cNvPr id="37" name="Ovaal 36">
            <a:extLst>
              <a:ext uri="{FF2B5EF4-FFF2-40B4-BE49-F238E27FC236}">
                <a16:creationId xmlns:a16="http://schemas.microsoft.com/office/drawing/2014/main" id="{BC5FD886-E26A-473F-B93E-4332F0685DF9}"/>
              </a:ext>
            </a:extLst>
          </p:cNvPr>
          <p:cNvSpPr/>
          <p:nvPr/>
        </p:nvSpPr>
        <p:spPr>
          <a:xfrm rot="6335418">
            <a:off x="7467357" y="4240001"/>
            <a:ext cx="404813" cy="747905"/>
          </a:xfrm>
          <a:custGeom>
            <a:avLst/>
            <a:gdLst>
              <a:gd name="connsiteX0" fmla="*/ 0 w 404813"/>
              <a:gd name="connsiteY0" fmla="*/ 373953 h 747905"/>
              <a:gd name="connsiteX1" fmla="*/ 202407 w 404813"/>
              <a:gd name="connsiteY1" fmla="*/ 0 h 747905"/>
              <a:gd name="connsiteX2" fmla="*/ 404814 w 404813"/>
              <a:gd name="connsiteY2" fmla="*/ 373953 h 747905"/>
              <a:gd name="connsiteX3" fmla="*/ 202407 w 404813"/>
              <a:gd name="connsiteY3" fmla="*/ 747906 h 747905"/>
              <a:gd name="connsiteX4" fmla="*/ 0 w 404813"/>
              <a:gd name="connsiteY4" fmla="*/ 373953 h 7479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4813" h="747905" fill="none" extrusionOk="0">
                <a:moveTo>
                  <a:pt x="0" y="373953"/>
                </a:moveTo>
                <a:cubicBezTo>
                  <a:pt x="-16879" y="183643"/>
                  <a:pt x="73338" y="2740"/>
                  <a:pt x="202407" y="0"/>
                </a:cubicBezTo>
                <a:cubicBezTo>
                  <a:pt x="349533" y="20451"/>
                  <a:pt x="381757" y="168422"/>
                  <a:pt x="404814" y="373953"/>
                </a:cubicBezTo>
                <a:cubicBezTo>
                  <a:pt x="393256" y="571113"/>
                  <a:pt x="340063" y="741369"/>
                  <a:pt x="202407" y="747906"/>
                </a:cubicBezTo>
                <a:cubicBezTo>
                  <a:pt x="83669" y="725352"/>
                  <a:pt x="-18715" y="599346"/>
                  <a:pt x="0" y="373953"/>
                </a:cubicBezTo>
                <a:close/>
              </a:path>
              <a:path w="404813" h="747905" stroke="0" extrusionOk="0">
                <a:moveTo>
                  <a:pt x="0" y="373953"/>
                </a:moveTo>
                <a:cubicBezTo>
                  <a:pt x="-9239" y="177625"/>
                  <a:pt x="96735" y="-10661"/>
                  <a:pt x="202407" y="0"/>
                </a:cubicBezTo>
                <a:cubicBezTo>
                  <a:pt x="321878" y="-20245"/>
                  <a:pt x="429541" y="171822"/>
                  <a:pt x="404814" y="373953"/>
                </a:cubicBezTo>
                <a:cubicBezTo>
                  <a:pt x="415907" y="584813"/>
                  <a:pt x="307494" y="746999"/>
                  <a:pt x="202407" y="747906"/>
                </a:cubicBezTo>
                <a:cubicBezTo>
                  <a:pt x="92027" y="739344"/>
                  <a:pt x="-12920" y="619683"/>
                  <a:pt x="0" y="373953"/>
                </a:cubicBezTo>
                <a:close/>
              </a:path>
            </a:pathLst>
          </a:custGeom>
          <a:solidFill>
            <a:srgbClr val="62366E">
              <a:alpha val="50196"/>
            </a:srgbClr>
          </a:solidFill>
          <a:ln w="19050">
            <a:solidFill>
              <a:schemeClr val="accent1"/>
            </a:solidFill>
            <a:prstDash val="lgDash"/>
            <a:extLst>
              <a:ext uri="{C807C97D-BFC1-408E-A445-0C87EB9F89A2}">
                <ask:lineSketchStyleProps xmlns:ask="http://schemas.microsoft.com/office/drawing/2018/sketchyshapes" sd="3066130187">
                  <a:prstGeom prst="ellipse">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0" name="Ovaal 39">
            <a:extLst>
              <a:ext uri="{FF2B5EF4-FFF2-40B4-BE49-F238E27FC236}">
                <a16:creationId xmlns:a16="http://schemas.microsoft.com/office/drawing/2014/main" id="{D5E27040-503B-45F7-A4A9-C854DC7F2612}"/>
              </a:ext>
            </a:extLst>
          </p:cNvPr>
          <p:cNvSpPr/>
          <p:nvPr/>
        </p:nvSpPr>
        <p:spPr>
          <a:xfrm rot="651834">
            <a:off x="8872036" y="2365444"/>
            <a:ext cx="404813" cy="638587"/>
          </a:xfrm>
          <a:custGeom>
            <a:avLst/>
            <a:gdLst>
              <a:gd name="connsiteX0" fmla="*/ 0 w 404813"/>
              <a:gd name="connsiteY0" fmla="*/ 319294 h 638587"/>
              <a:gd name="connsiteX1" fmla="*/ 202407 w 404813"/>
              <a:gd name="connsiteY1" fmla="*/ 0 h 638587"/>
              <a:gd name="connsiteX2" fmla="*/ 404814 w 404813"/>
              <a:gd name="connsiteY2" fmla="*/ 319294 h 638587"/>
              <a:gd name="connsiteX3" fmla="*/ 202407 w 404813"/>
              <a:gd name="connsiteY3" fmla="*/ 638588 h 638587"/>
              <a:gd name="connsiteX4" fmla="*/ 0 w 404813"/>
              <a:gd name="connsiteY4" fmla="*/ 319294 h 6385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4813" h="638587" fill="none" extrusionOk="0">
                <a:moveTo>
                  <a:pt x="0" y="319294"/>
                </a:moveTo>
                <a:cubicBezTo>
                  <a:pt x="5587" y="145475"/>
                  <a:pt x="82698" y="-11820"/>
                  <a:pt x="202407" y="0"/>
                </a:cubicBezTo>
                <a:cubicBezTo>
                  <a:pt x="325096" y="31346"/>
                  <a:pt x="367070" y="127993"/>
                  <a:pt x="404814" y="319294"/>
                </a:cubicBezTo>
                <a:cubicBezTo>
                  <a:pt x="412177" y="492111"/>
                  <a:pt x="320552" y="647823"/>
                  <a:pt x="202407" y="638588"/>
                </a:cubicBezTo>
                <a:cubicBezTo>
                  <a:pt x="101140" y="598697"/>
                  <a:pt x="2982" y="470959"/>
                  <a:pt x="0" y="319294"/>
                </a:cubicBezTo>
                <a:close/>
              </a:path>
              <a:path w="404813" h="638587" stroke="0" extrusionOk="0">
                <a:moveTo>
                  <a:pt x="0" y="319294"/>
                </a:moveTo>
                <a:cubicBezTo>
                  <a:pt x="7359" y="138006"/>
                  <a:pt x="83062" y="810"/>
                  <a:pt x="202407" y="0"/>
                </a:cubicBezTo>
                <a:cubicBezTo>
                  <a:pt x="326641" y="-22425"/>
                  <a:pt x="395708" y="166190"/>
                  <a:pt x="404814" y="319294"/>
                </a:cubicBezTo>
                <a:cubicBezTo>
                  <a:pt x="389144" y="510403"/>
                  <a:pt x="294049" y="644166"/>
                  <a:pt x="202407" y="638588"/>
                </a:cubicBezTo>
                <a:cubicBezTo>
                  <a:pt x="93781" y="602158"/>
                  <a:pt x="-13212" y="507303"/>
                  <a:pt x="0" y="319294"/>
                </a:cubicBezTo>
                <a:close/>
              </a:path>
            </a:pathLst>
          </a:custGeom>
          <a:solidFill>
            <a:srgbClr val="62366E">
              <a:alpha val="50196"/>
            </a:srgbClr>
          </a:solidFill>
          <a:ln w="19050">
            <a:solidFill>
              <a:schemeClr val="accent1"/>
            </a:solidFill>
            <a:prstDash val="lgDash"/>
            <a:extLst>
              <a:ext uri="{C807C97D-BFC1-408E-A445-0C87EB9F89A2}">
                <ask:lineSketchStyleProps xmlns:ask="http://schemas.microsoft.com/office/drawing/2018/sketchyshapes" sd="1935646484">
                  <a:prstGeom prst="ellipse">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0" name="Rechthoek: afgeronde hoeken 19">
            <a:extLst>
              <a:ext uri="{FF2B5EF4-FFF2-40B4-BE49-F238E27FC236}">
                <a16:creationId xmlns:a16="http://schemas.microsoft.com/office/drawing/2014/main" id="{532D34C6-9B03-4136-82C0-AF64795E1D21}"/>
              </a:ext>
            </a:extLst>
          </p:cNvPr>
          <p:cNvSpPr/>
          <p:nvPr/>
        </p:nvSpPr>
        <p:spPr>
          <a:xfrm rot="21152301">
            <a:off x="9531287" y="880121"/>
            <a:ext cx="602403" cy="967251"/>
          </a:xfrm>
          <a:custGeom>
            <a:avLst/>
            <a:gdLst>
              <a:gd name="connsiteX0" fmla="*/ 0 w 602403"/>
              <a:gd name="connsiteY0" fmla="*/ 100403 h 966899"/>
              <a:gd name="connsiteX1" fmla="*/ 100403 w 602403"/>
              <a:gd name="connsiteY1" fmla="*/ 0 h 966899"/>
              <a:gd name="connsiteX2" fmla="*/ 502000 w 602403"/>
              <a:gd name="connsiteY2" fmla="*/ 0 h 966899"/>
              <a:gd name="connsiteX3" fmla="*/ 602403 w 602403"/>
              <a:gd name="connsiteY3" fmla="*/ 100403 h 966899"/>
              <a:gd name="connsiteX4" fmla="*/ 602403 w 602403"/>
              <a:gd name="connsiteY4" fmla="*/ 866496 h 966899"/>
              <a:gd name="connsiteX5" fmla="*/ 502000 w 602403"/>
              <a:gd name="connsiteY5" fmla="*/ 966899 h 966899"/>
              <a:gd name="connsiteX6" fmla="*/ 100403 w 602403"/>
              <a:gd name="connsiteY6" fmla="*/ 966899 h 966899"/>
              <a:gd name="connsiteX7" fmla="*/ 0 w 602403"/>
              <a:gd name="connsiteY7" fmla="*/ 866496 h 966899"/>
              <a:gd name="connsiteX8" fmla="*/ 0 w 602403"/>
              <a:gd name="connsiteY8" fmla="*/ 100403 h 966899"/>
              <a:gd name="connsiteX0" fmla="*/ 0 w 602403"/>
              <a:gd name="connsiteY0" fmla="*/ 100403 h 966899"/>
              <a:gd name="connsiteX1" fmla="*/ 200541 w 602403"/>
              <a:gd name="connsiteY1" fmla="*/ 115583 h 966899"/>
              <a:gd name="connsiteX2" fmla="*/ 502000 w 602403"/>
              <a:gd name="connsiteY2" fmla="*/ 0 h 966899"/>
              <a:gd name="connsiteX3" fmla="*/ 602403 w 602403"/>
              <a:gd name="connsiteY3" fmla="*/ 100403 h 966899"/>
              <a:gd name="connsiteX4" fmla="*/ 602403 w 602403"/>
              <a:gd name="connsiteY4" fmla="*/ 866496 h 966899"/>
              <a:gd name="connsiteX5" fmla="*/ 502000 w 602403"/>
              <a:gd name="connsiteY5" fmla="*/ 966899 h 966899"/>
              <a:gd name="connsiteX6" fmla="*/ 100403 w 602403"/>
              <a:gd name="connsiteY6" fmla="*/ 966899 h 966899"/>
              <a:gd name="connsiteX7" fmla="*/ 0 w 602403"/>
              <a:gd name="connsiteY7" fmla="*/ 866496 h 966899"/>
              <a:gd name="connsiteX8" fmla="*/ 0 w 602403"/>
              <a:gd name="connsiteY8" fmla="*/ 100403 h 966899"/>
              <a:gd name="connsiteX0" fmla="*/ 6442 w 602403"/>
              <a:gd name="connsiteY0" fmla="*/ 344607 h 966899"/>
              <a:gd name="connsiteX1" fmla="*/ 200541 w 602403"/>
              <a:gd name="connsiteY1" fmla="*/ 115583 h 966899"/>
              <a:gd name="connsiteX2" fmla="*/ 502000 w 602403"/>
              <a:gd name="connsiteY2" fmla="*/ 0 h 966899"/>
              <a:gd name="connsiteX3" fmla="*/ 602403 w 602403"/>
              <a:gd name="connsiteY3" fmla="*/ 100403 h 966899"/>
              <a:gd name="connsiteX4" fmla="*/ 602403 w 602403"/>
              <a:gd name="connsiteY4" fmla="*/ 866496 h 966899"/>
              <a:gd name="connsiteX5" fmla="*/ 502000 w 602403"/>
              <a:gd name="connsiteY5" fmla="*/ 966899 h 966899"/>
              <a:gd name="connsiteX6" fmla="*/ 100403 w 602403"/>
              <a:gd name="connsiteY6" fmla="*/ 966899 h 966899"/>
              <a:gd name="connsiteX7" fmla="*/ 0 w 602403"/>
              <a:gd name="connsiteY7" fmla="*/ 866496 h 966899"/>
              <a:gd name="connsiteX8" fmla="*/ 6442 w 602403"/>
              <a:gd name="connsiteY8" fmla="*/ 344607 h 966899"/>
              <a:gd name="connsiteX0" fmla="*/ 6442 w 602403"/>
              <a:gd name="connsiteY0" fmla="*/ 344959 h 967251"/>
              <a:gd name="connsiteX1" fmla="*/ 200541 w 602403"/>
              <a:gd name="connsiteY1" fmla="*/ 115935 h 967251"/>
              <a:gd name="connsiteX2" fmla="*/ 303695 w 602403"/>
              <a:gd name="connsiteY2" fmla="*/ 32315 h 967251"/>
              <a:gd name="connsiteX3" fmla="*/ 502000 w 602403"/>
              <a:gd name="connsiteY3" fmla="*/ 352 h 967251"/>
              <a:gd name="connsiteX4" fmla="*/ 602403 w 602403"/>
              <a:gd name="connsiteY4" fmla="*/ 100755 h 967251"/>
              <a:gd name="connsiteX5" fmla="*/ 602403 w 602403"/>
              <a:gd name="connsiteY5" fmla="*/ 866848 h 967251"/>
              <a:gd name="connsiteX6" fmla="*/ 502000 w 602403"/>
              <a:gd name="connsiteY6" fmla="*/ 967251 h 967251"/>
              <a:gd name="connsiteX7" fmla="*/ 100403 w 602403"/>
              <a:gd name="connsiteY7" fmla="*/ 967251 h 967251"/>
              <a:gd name="connsiteX8" fmla="*/ 0 w 602403"/>
              <a:gd name="connsiteY8" fmla="*/ 866848 h 967251"/>
              <a:gd name="connsiteX9" fmla="*/ 6442 w 602403"/>
              <a:gd name="connsiteY9" fmla="*/ 344959 h 9672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02403" h="967251">
                <a:moveTo>
                  <a:pt x="6442" y="344959"/>
                </a:moveTo>
                <a:cubicBezTo>
                  <a:pt x="6442" y="289508"/>
                  <a:pt x="145090" y="115935"/>
                  <a:pt x="200541" y="115935"/>
                </a:cubicBezTo>
                <a:cubicBezTo>
                  <a:pt x="249683" y="72314"/>
                  <a:pt x="253452" y="51579"/>
                  <a:pt x="303695" y="32315"/>
                </a:cubicBezTo>
                <a:cubicBezTo>
                  <a:pt x="353938" y="13051"/>
                  <a:pt x="451815" y="-2568"/>
                  <a:pt x="502000" y="352"/>
                </a:cubicBezTo>
                <a:cubicBezTo>
                  <a:pt x="557451" y="352"/>
                  <a:pt x="602403" y="45304"/>
                  <a:pt x="602403" y="100755"/>
                </a:cubicBezTo>
                <a:lnTo>
                  <a:pt x="602403" y="866848"/>
                </a:lnTo>
                <a:cubicBezTo>
                  <a:pt x="602403" y="922299"/>
                  <a:pt x="557451" y="967251"/>
                  <a:pt x="502000" y="967251"/>
                </a:cubicBezTo>
                <a:lnTo>
                  <a:pt x="100403" y="967251"/>
                </a:lnTo>
                <a:cubicBezTo>
                  <a:pt x="44952" y="967251"/>
                  <a:pt x="0" y="922299"/>
                  <a:pt x="0" y="866848"/>
                </a:cubicBezTo>
                <a:cubicBezTo>
                  <a:pt x="2147" y="692885"/>
                  <a:pt x="4295" y="518922"/>
                  <a:pt x="6442" y="344959"/>
                </a:cubicBezTo>
                <a:close/>
              </a:path>
            </a:pathLst>
          </a:custGeom>
          <a:solidFill>
            <a:srgbClr val="62366E">
              <a:alpha val="50196"/>
            </a:srgbClr>
          </a:solidFill>
          <a:ln w="19050">
            <a:solidFill>
              <a:schemeClr val="accent1"/>
            </a:solidFill>
            <a:prstDash val="lgDash"/>
            <a:extLst>
              <a:ext uri="{C807C97D-BFC1-408E-A445-0C87EB9F89A2}">
                <ask:lineSketchStyleProps xmlns:ask="http://schemas.microsoft.com/office/drawing/2018/sketchyshapes" sd="4185510750">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3" name="Ovaal 216">
            <a:extLst>
              <a:ext uri="{FF2B5EF4-FFF2-40B4-BE49-F238E27FC236}">
                <a16:creationId xmlns:a16="http://schemas.microsoft.com/office/drawing/2014/main" id="{3C65A127-5FE2-4699-B7A3-C419EBCBB4C3}"/>
              </a:ext>
            </a:extLst>
          </p:cNvPr>
          <p:cNvSpPr/>
          <p:nvPr/>
        </p:nvSpPr>
        <p:spPr>
          <a:xfrm rot="2334895">
            <a:off x="8648942" y="4857757"/>
            <a:ext cx="977943" cy="1448917"/>
          </a:xfrm>
          <a:custGeom>
            <a:avLst/>
            <a:gdLst>
              <a:gd name="connsiteX0" fmla="*/ 0 w 951616"/>
              <a:gd name="connsiteY0" fmla="*/ 601230 h 1202460"/>
              <a:gd name="connsiteX1" fmla="*/ 475808 w 951616"/>
              <a:gd name="connsiteY1" fmla="*/ 0 h 1202460"/>
              <a:gd name="connsiteX2" fmla="*/ 951616 w 951616"/>
              <a:gd name="connsiteY2" fmla="*/ 601230 h 1202460"/>
              <a:gd name="connsiteX3" fmla="*/ 475808 w 951616"/>
              <a:gd name="connsiteY3" fmla="*/ 1202460 h 1202460"/>
              <a:gd name="connsiteX4" fmla="*/ 0 w 951616"/>
              <a:gd name="connsiteY4" fmla="*/ 601230 h 1202460"/>
              <a:gd name="connsiteX0" fmla="*/ 37983 w 989599"/>
              <a:gd name="connsiteY0" fmla="*/ 601230 h 1318861"/>
              <a:gd name="connsiteX1" fmla="*/ 513791 w 989599"/>
              <a:gd name="connsiteY1" fmla="*/ 0 h 1318861"/>
              <a:gd name="connsiteX2" fmla="*/ 989599 w 989599"/>
              <a:gd name="connsiteY2" fmla="*/ 601230 h 1318861"/>
              <a:gd name="connsiteX3" fmla="*/ 207870 w 989599"/>
              <a:gd name="connsiteY3" fmla="*/ 1318861 h 1318861"/>
              <a:gd name="connsiteX4" fmla="*/ 37983 w 989599"/>
              <a:gd name="connsiteY4" fmla="*/ 601230 h 1318861"/>
              <a:gd name="connsiteX0" fmla="*/ 46258 w 877800"/>
              <a:gd name="connsiteY0" fmla="*/ 618569 h 1318895"/>
              <a:gd name="connsiteX1" fmla="*/ 401992 w 877800"/>
              <a:gd name="connsiteY1" fmla="*/ 22 h 1318895"/>
              <a:gd name="connsiteX2" fmla="*/ 877800 w 877800"/>
              <a:gd name="connsiteY2" fmla="*/ 601252 h 1318895"/>
              <a:gd name="connsiteX3" fmla="*/ 96071 w 877800"/>
              <a:gd name="connsiteY3" fmla="*/ 1318883 h 1318895"/>
              <a:gd name="connsiteX4" fmla="*/ 46258 w 877800"/>
              <a:gd name="connsiteY4" fmla="*/ 618569 h 1318895"/>
              <a:gd name="connsiteX0" fmla="*/ 145976 w 977518"/>
              <a:gd name="connsiteY0" fmla="*/ 618569 h 1337824"/>
              <a:gd name="connsiteX1" fmla="*/ 501710 w 977518"/>
              <a:gd name="connsiteY1" fmla="*/ 22 h 1337824"/>
              <a:gd name="connsiteX2" fmla="*/ 977518 w 977518"/>
              <a:gd name="connsiteY2" fmla="*/ 601252 h 1337824"/>
              <a:gd name="connsiteX3" fmla="*/ 195789 w 977518"/>
              <a:gd name="connsiteY3" fmla="*/ 1318883 h 1337824"/>
              <a:gd name="connsiteX4" fmla="*/ 669 w 977518"/>
              <a:gd name="connsiteY4" fmla="*/ 1086179 h 1337824"/>
              <a:gd name="connsiteX5" fmla="*/ 145976 w 977518"/>
              <a:gd name="connsiteY5" fmla="*/ 618569 h 1337824"/>
              <a:gd name="connsiteX0" fmla="*/ 246862 w 977141"/>
              <a:gd name="connsiteY0" fmla="*/ 643017 h 1337930"/>
              <a:gd name="connsiteX1" fmla="*/ 501333 w 977141"/>
              <a:gd name="connsiteY1" fmla="*/ 128 h 1337930"/>
              <a:gd name="connsiteX2" fmla="*/ 977141 w 977141"/>
              <a:gd name="connsiteY2" fmla="*/ 601358 h 1337930"/>
              <a:gd name="connsiteX3" fmla="*/ 195412 w 977141"/>
              <a:gd name="connsiteY3" fmla="*/ 1318989 h 1337930"/>
              <a:gd name="connsiteX4" fmla="*/ 292 w 977141"/>
              <a:gd name="connsiteY4" fmla="*/ 1086285 h 1337930"/>
              <a:gd name="connsiteX5" fmla="*/ 246862 w 977141"/>
              <a:gd name="connsiteY5" fmla="*/ 643017 h 1337930"/>
              <a:gd name="connsiteX0" fmla="*/ 246814 w 977093"/>
              <a:gd name="connsiteY0" fmla="*/ 688278 h 1383191"/>
              <a:gd name="connsiteX1" fmla="*/ 289264 w 977093"/>
              <a:gd name="connsiteY1" fmla="*/ 114745 h 1383191"/>
              <a:gd name="connsiteX2" fmla="*/ 501285 w 977093"/>
              <a:gd name="connsiteY2" fmla="*/ 45389 h 1383191"/>
              <a:gd name="connsiteX3" fmla="*/ 977093 w 977093"/>
              <a:gd name="connsiteY3" fmla="*/ 646619 h 1383191"/>
              <a:gd name="connsiteX4" fmla="*/ 195364 w 977093"/>
              <a:gd name="connsiteY4" fmla="*/ 1364250 h 1383191"/>
              <a:gd name="connsiteX5" fmla="*/ 244 w 977093"/>
              <a:gd name="connsiteY5" fmla="*/ 1131546 h 1383191"/>
              <a:gd name="connsiteX6" fmla="*/ 246814 w 977093"/>
              <a:gd name="connsiteY6" fmla="*/ 688278 h 1383191"/>
              <a:gd name="connsiteX0" fmla="*/ 246814 w 984760"/>
              <a:gd name="connsiteY0" fmla="*/ 762162 h 1457075"/>
              <a:gd name="connsiteX1" fmla="*/ 289264 w 984760"/>
              <a:gd name="connsiteY1" fmla="*/ 188629 h 1457075"/>
              <a:gd name="connsiteX2" fmla="*/ 501285 w 984760"/>
              <a:gd name="connsiteY2" fmla="*/ 119273 h 1457075"/>
              <a:gd name="connsiteX3" fmla="*/ 603934 w 984760"/>
              <a:gd name="connsiteY3" fmla="*/ 32521 h 1457075"/>
              <a:gd name="connsiteX4" fmla="*/ 977093 w 984760"/>
              <a:gd name="connsiteY4" fmla="*/ 720503 h 1457075"/>
              <a:gd name="connsiteX5" fmla="*/ 195364 w 984760"/>
              <a:gd name="connsiteY5" fmla="*/ 1438134 h 1457075"/>
              <a:gd name="connsiteX6" fmla="*/ 244 w 984760"/>
              <a:gd name="connsiteY6" fmla="*/ 1205430 h 1457075"/>
              <a:gd name="connsiteX7" fmla="*/ 246814 w 984760"/>
              <a:gd name="connsiteY7" fmla="*/ 762162 h 1457075"/>
              <a:gd name="connsiteX0" fmla="*/ 246814 w 984760"/>
              <a:gd name="connsiteY0" fmla="*/ 772210 h 1467123"/>
              <a:gd name="connsiteX1" fmla="*/ 289264 w 984760"/>
              <a:gd name="connsiteY1" fmla="*/ 198677 h 1467123"/>
              <a:gd name="connsiteX2" fmla="*/ 439548 w 984760"/>
              <a:gd name="connsiteY2" fmla="*/ 73068 h 1467123"/>
              <a:gd name="connsiteX3" fmla="*/ 603934 w 984760"/>
              <a:gd name="connsiteY3" fmla="*/ 42569 h 1467123"/>
              <a:gd name="connsiteX4" fmla="*/ 977093 w 984760"/>
              <a:gd name="connsiteY4" fmla="*/ 730551 h 1467123"/>
              <a:gd name="connsiteX5" fmla="*/ 195364 w 984760"/>
              <a:gd name="connsiteY5" fmla="*/ 1448182 h 1467123"/>
              <a:gd name="connsiteX6" fmla="*/ 244 w 984760"/>
              <a:gd name="connsiteY6" fmla="*/ 1215478 h 1467123"/>
              <a:gd name="connsiteX7" fmla="*/ 246814 w 984760"/>
              <a:gd name="connsiteY7" fmla="*/ 772210 h 1467123"/>
              <a:gd name="connsiteX0" fmla="*/ 246814 w 977943"/>
              <a:gd name="connsiteY0" fmla="*/ 772210 h 1448917"/>
              <a:gd name="connsiteX1" fmla="*/ 289264 w 977943"/>
              <a:gd name="connsiteY1" fmla="*/ 198677 h 1448917"/>
              <a:gd name="connsiteX2" fmla="*/ 439548 w 977943"/>
              <a:gd name="connsiteY2" fmla="*/ 73068 h 1448917"/>
              <a:gd name="connsiteX3" fmla="*/ 603934 w 977943"/>
              <a:gd name="connsiteY3" fmla="*/ 42569 h 1448917"/>
              <a:gd name="connsiteX4" fmla="*/ 977093 w 977943"/>
              <a:gd name="connsiteY4" fmla="*/ 730551 h 1448917"/>
              <a:gd name="connsiteX5" fmla="*/ 703059 w 977943"/>
              <a:gd name="connsiteY5" fmla="*/ 1145905 h 1448917"/>
              <a:gd name="connsiteX6" fmla="*/ 195364 w 977943"/>
              <a:gd name="connsiteY6" fmla="*/ 1448182 h 1448917"/>
              <a:gd name="connsiteX7" fmla="*/ 244 w 977943"/>
              <a:gd name="connsiteY7" fmla="*/ 1215478 h 1448917"/>
              <a:gd name="connsiteX8" fmla="*/ 246814 w 977943"/>
              <a:gd name="connsiteY8" fmla="*/ 772210 h 14489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77943" h="1448917">
                <a:moveTo>
                  <a:pt x="246814" y="772210"/>
                </a:moveTo>
                <a:cubicBezTo>
                  <a:pt x="294984" y="602743"/>
                  <a:pt x="246852" y="305825"/>
                  <a:pt x="289264" y="198677"/>
                </a:cubicBezTo>
                <a:cubicBezTo>
                  <a:pt x="331676" y="91529"/>
                  <a:pt x="387103" y="99086"/>
                  <a:pt x="439548" y="73068"/>
                </a:cubicBezTo>
                <a:cubicBezTo>
                  <a:pt x="491993" y="47050"/>
                  <a:pt x="524633" y="-57636"/>
                  <a:pt x="603934" y="42569"/>
                </a:cubicBezTo>
                <a:cubicBezTo>
                  <a:pt x="683235" y="142774"/>
                  <a:pt x="963262" y="556732"/>
                  <a:pt x="977093" y="730551"/>
                </a:cubicBezTo>
                <a:cubicBezTo>
                  <a:pt x="990924" y="904370"/>
                  <a:pt x="833347" y="1026300"/>
                  <a:pt x="703059" y="1145905"/>
                </a:cubicBezTo>
                <a:cubicBezTo>
                  <a:pt x="572771" y="1265510"/>
                  <a:pt x="312500" y="1436586"/>
                  <a:pt x="195364" y="1448182"/>
                </a:cubicBezTo>
                <a:cubicBezTo>
                  <a:pt x="78228" y="1459778"/>
                  <a:pt x="8546" y="1332197"/>
                  <a:pt x="244" y="1215478"/>
                </a:cubicBezTo>
                <a:cubicBezTo>
                  <a:pt x="-8058" y="1098759"/>
                  <a:pt x="198644" y="941677"/>
                  <a:pt x="246814" y="772210"/>
                </a:cubicBezTo>
                <a:close/>
              </a:path>
            </a:pathLst>
          </a:custGeom>
          <a:solidFill>
            <a:srgbClr val="62366E">
              <a:alpha val="50196"/>
            </a:srgbClr>
          </a:solidFill>
          <a:ln w="19050">
            <a:solidFill>
              <a:schemeClr val="accent1"/>
            </a:solidFill>
            <a:prstDash val="lgDash"/>
            <a:extLst>
              <a:ext uri="{C807C97D-BFC1-408E-A445-0C87EB9F89A2}">
                <ask:lineSketchStyleProps xmlns:ask="http://schemas.microsoft.com/office/drawing/2018/sketchyshapes" sd="2453652229">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7" name="Paginanummer Seinpost">
            <a:extLst>
              <a:ext uri="{FF2B5EF4-FFF2-40B4-BE49-F238E27FC236}">
                <a16:creationId xmlns:a16="http://schemas.microsoft.com/office/drawing/2014/main" id="{3562692D-52F8-4DBB-938B-8BE7113EF91B}"/>
              </a:ext>
            </a:extLst>
          </p:cNvPr>
          <p:cNvSpPr txBox="1">
            <a:spLocks/>
          </p:cNvSpPr>
          <p:nvPr>
            <p:custDataLst>
              <p:tags r:id="rId1"/>
            </p:custDataLst>
          </p:nvPr>
        </p:nvSpPr>
        <p:spPr>
          <a:xfrm>
            <a:off x="11628018" y="252000"/>
            <a:ext cx="381601" cy="244800"/>
          </a:xfrm>
          <a:prstGeom prst="rect">
            <a:avLst/>
          </a:prstGeom>
          <a:noFill/>
        </p:spPr>
        <p:txBody>
          <a:bodyPr vert="horz" lIns="0" tIns="0" rIns="0" bIns="0" rtlCol="0" anchor="t">
            <a:noAutofit/>
          </a:bodyPr>
          <a:lstStyle/>
          <a:p>
            <a:pPr algn="ctr"/>
            <a:r>
              <a:rPr lang="nl-NL" sz="1000" b="1">
                <a:solidFill>
                  <a:srgbClr val="62366E"/>
                </a:solidFill>
                <a:latin typeface="Open Sans" panose="020B0606030504020204" pitchFamily="34" charset="0"/>
              </a:rPr>
              <a:t>15</a:t>
            </a:r>
          </a:p>
        </p:txBody>
      </p:sp>
      <p:pic>
        <p:nvPicPr>
          <p:cNvPr id="9" name="Paginanummer Seinpost">
            <a:extLst>
              <a:ext uri="{FF2B5EF4-FFF2-40B4-BE49-F238E27FC236}">
                <a16:creationId xmlns:a16="http://schemas.microsoft.com/office/drawing/2014/main" id="{A9889F51-2CAA-4B8B-A219-959B43B3A671}"/>
              </a:ext>
            </a:extLst>
          </p:cNvPr>
          <p:cNvPicPr>
            <a:picLocks noChangeAspect="1"/>
          </p:cNvPicPr>
          <p:nvPr>
            <p:custDataLst>
              <p:tags r:id="rId2"/>
            </p:custDataLst>
          </p:nvPr>
        </p:nvPicPr>
        <p:blipFill>
          <a:blip r:embed="rId13">
            <a:extLst>
              <a:ext uri="{28A0092B-C50C-407E-A947-70E740481C1C}">
                <a14:useLocalDpi xmlns:a14="http://schemas.microsoft.com/office/drawing/2010/main" val="0"/>
              </a:ext>
            </a:extLst>
          </a:blip>
          <a:stretch>
            <a:fillRect/>
          </a:stretch>
        </p:blipFill>
        <p:spPr>
          <a:xfrm>
            <a:off x="11674818" y="172800"/>
            <a:ext cx="298705" cy="289561"/>
          </a:xfrm>
          <a:prstGeom prst="rect">
            <a:avLst/>
          </a:prstGeom>
        </p:spPr>
      </p:pic>
      <p:sp>
        <p:nvSpPr>
          <p:cNvPr id="10" name="Paginanummer Seinpost">
            <a:extLst>
              <a:ext uri="{FF2B5EF4-FFF2-40B4-BE49-F238E27FC236}">
                <a16:creationId xmlns:a16="http://schemas.microsoft.com/office/drawing/2014/main" id="{E338AB8D-F4F8-4242-9BD8-A9509DF627D4}"/>
              </a:ext>
            </a:extLst>
          </p:cNvPr>
          <p:cNvSpPr txBox="1">
            <a:spLocks/>
          </p:cNvSpPr>
          <p:nvPr>
            <p:custDataLst>
              <p:tags r:id="rId3"/>
            </p:custDataLst>
          </p:nvPr>
        </p:nvSpPr>
        <p:spPr>
          <a:xfrm>
            <a:off x="11628018" y="252000"/>
            <a:ext cx="381601" cy="244800"/>
          </a:xfrm>
          <a:prstGeom prst="rect">
            <a:avLst/>
          </a:prstGeom>
          <a:noFill/>
        </p:spPr>
        <p:txBody>
          <a:bodyPr vert="horz" lIns="0" tIns="0" rIns="0" bIns="0" rtlCol="0" anchor="t">
            <a:noAutofit/>
          </a:bodyPr>
          <a:lstStyle/>
          <a:p>
            <a:pPr algn="ctr"/>
            <a:r>
              <a:rPr lang="nl-NL" sz="1000" b="1">
                <a:solidFill>
                  <a:srgbClr val="62366E"/>
                </a:solidFill>
                <a:latin typeface="Open Sans" panose="020B0606030504020204" pitchFamily="34" charset="0"/>
              </a:rPr>
              <a:t>14</a:t>
            </a:r>
          </a:p>
        </p:txBody>
      </p:sp>
    </p:spTree>
    <p:extLst>
      <p:ext uri="{BB962C8B-B14F-4D97-AF65-F5344CB8AC3E}">
        <p14:creationId xmlns:p14="http://schemas.microsoft.com/office/powerpoint/2010/main" val="193998066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1">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1">
                                            <p:txEl>
                                              <p:pRg st="1" end="1"/>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11">
                                            <p:txEl>
                                              <p:pRg st="3" end="3"/>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11">
                                            <p:txEl>
                                              <p:pRg st="5" end="5"/>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11">
                                            <p:txEl>
                                              <p:pRg st="7" end="7"/>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1">
                                            <p:txEl>
                                              <p:pRg st="10" end="10"/>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11">
                                            <p:txEl>
                                              <p:pRg st="11" end="11"/>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2" name="Picture 111" descr="Diagram, engineering drawing&#10;&#10;Description automatically generated">
            <a:extLst>
              <a:ext uri="{FF2B5EF4-FFF2-40B4-BE49-F238E27FC236}">
                <a16:creationId xmlns:a16="http://schemas.microsoft.com/office/drawing/2014/main" id="{EA13C818-2E65-45CF-9BEF-3D48EAA453A1}"/>
              </a:ext>
            </a:extLst>
          </p:cNvPr>
          <p:cNvPicPr>
            <a:picLocks noChangeAspect="1"/>
          </p:cNvPicPr>
          <p:nvPr/>
        </p:nvPicPr>
        <p:blipFill rotWithShape="1">
          <a:blip r:embed="rId11">
            <a:extLst>
              <a:ext uri="{28A0092B-C50C-407E-A947-70E740481C1C}">
                <a14:useLocalDpi xmlns:a14="http://schemas.microsoft.com/office/drawing/2010/main" val="0"/>
              </a:ext>
            </a:extLst>
          </a:blip>
          <a:srcRect l="12282" r="16581"/>
          <a:stretch/>
        </p:blipFill>
        <p:spPr>
          <a:xfrm>
            <a:off x="6558394" y="291463"/>
            <a:ext cx="5381625" cy="6418903"/>
          </a:xfrm>
          <a:prstGeom prst="rect">
            <a:avLst/>
          </a:prstGeom>
          <a:ln>
            <a:solidFill>
              <a:schemeClr val="tx1"/>
            </a:solidFill>
          </a:ln>
        </p:spPr>
      </p:pic>
      <p:sp>
        <p:nvSpPr>
          <p:cNvPr id="56" name="Rechthoek: afgeronde hoeken 19">
            <a:extLst>
              <a:ext uri="{FF2B5EF4-FFF2-40B4-BE49-F238E27FC236}">
                <a16:creationId xmlns:a16="http://schemas.microsoft.com/office/drawing/2014/main" id="{A78DFA18-C147-47B6-8F98-22A0F0F84D09}"/>
              </a:ext>
            </a:extLst>
          </p:cNvPr>
          <p:cNvSpPr/>
          <p:nvPr/>
        </p:nvSpPr>
        <p:spPr>
          <a:xfrm rot="21152301">
            <a:off x="9580637" y="815217"/>
            <a:ext cx="602403" cy="967251"/>
          </a:xfrm>
          <a:custGeom>
            <a:avLst/>
            <a:gdLst>
              <a:gd name="connsiteX0" fmla="*/ 0 w 602403"/>
              <a:gd name="connsiteY0" fmla="*/ 100403 h 966899"/>
              <a:gd name="connsiteX1" fmla="*/ 100403 w 602403"/>
              <a:gd name="connsiteY1" fmla="*/ 0 h 966899"/>
              <a:gd name="connsiteX2" fmla="*/ 502000 w 602403"/>
              <a:gd name="connsiteY2" fmla="*/ 0 h 966899"/>
              <a:gd name="connsiteX3" fmla="*/ 602403 w 602403"/>
              <a:gd name="connsiteY3" fmla="*/ 100403 h 966899"/>
              <a:gd name="connsiteX4" fmla="*/ 602403 w 602403"/>
              <a:gd name="connsiteY4" fmla="*/ 866496 h 966899"/>
              <a:gd name="connsiteX5" fmla="*/ 502000 w 602403"/>
              <a:gd name="connsiteY5" fmla="*/ 966899 h 966899"/>
              <a:gd name="connsiteX6" fmla="*/ 100403 w 602403"/>
              <a:gd name="connsiteY6" fmla="*/ 966899 h 966899"/>
              <a:gd name="connsiteX7" fmla="*/ 0 w 602403"/>
              <a:gd name="connsiteY7" fmla="*/ 866496 h 966899"/>
              <a:gd name="connsiteX8" fmla="*/ 0 w 602403"/>
              <a:gd name="connsiteY8" fmla="*/ 100403 h 966899"/>
              <a:gd name="connsiteX0" fmla="*/ 0 w 602403"/>
              <a:gd name="connsiteY0" fmla="*/ 100403 h 966899"/>
              <a:gd name="connsiteX1" fmla="*/ 200541 w 602403"/>
              <a:gd name="connsiteY1" fmla="*/ 115583 h 966899"/>
              <a:gd name="connsiteX2" fmla="*/ 502000 w 602403"/>
              <a:gd name="connsiteY2" fmla="*/ 0 h 966899"/>
              <a:gd name="connsiteX3" fmla="*/ 602403 w 602403"/>
              <a:gd name="connsiteY3" fmla="*/ 100403 h 966899"/>
              <a:gd name="connsiteX4" fmla="*/ 602403 w 602403"/>
              <a:gd name="connsiteY4" fmla="*/ 866496 h 966899"/>
              <a:gd name="connsiteX5" fmla="*/ 502000 w 602403"/>
              <a:gd name="connsiteY5" fmla="*/ 966899 h 966899"/>
              <a:gd name="connsiteX6" fmla="*/ 100403 w 602403"/>
              <a:gd name="connsiteY6" fmla="*/ 966899 h 966899"/>
              <a:gd name="connsiteX7" fmla="*/ 0 w 602403"/>
              <a:gd name="connsiteY7" fmla="*/ 866496 h 966899"/>
              <a:gd name="connsiteX8" fmla="*/ 0 w 602403"/>
              <a:gd name="connsiteY8" fmla="*/ 100403 h 966899"/>
              <a:gd name="connsiteX0" fmla="*/ 6442 w 602403"/>
              <a:gd name="connsiteY0" fmla="*/ 344607 h 966899"/>
              <a:gd name="connsiteX1" fmla="*/ 200541 w 602403"/>
              <a:gd name="connsiteY1" fmla="*/ 115583 h 966899"/>
              <a:gd name="connsiteX2" fmla="*/ 502000 w 602403"/>
              <a:gd name="connsiteY2" fmla="*/ 0 h 966899"/>
              <a:gd name="connsiteX3" fmla="*/ 602403 w 602403"/>
              <a:gd name="connsiteY3" fmla="*/ 100403 h 966899"/>
              <a:gd name="connsiteX4" fmla="*/ 602403 w 602403"/>
              <a:gd name="connsiteY4" fmla="*/ 866496 h 966899"/>
              <a:gd name="connsiteX5" fmla="*/ 502000 w 602403"/>
              <a:gd name="connsiteY5" fmla="*/ 966899 h 966899"/>
              <a:gd name="connsiteX6" fmla="*/ 100403 w 602403"/>
              <a:gd name="connsiteY6" fmla="*/ 966899 h 966899"/>
              <a:gd name="connsiteX7" fmla="*/ 0 w 602403"/>
              <a:gd name="connsiteY7" fmla="*/ 866496 h 966899"/>
              <a:gd name="connsiteX8" fmla="*/ 6442 w 602403"/>
              <a:gd name="connsiteY8" fmla="*/ 344607 h 966899"/>
              <a:gd name="connsiteX0" fmla="*/ 6442 w 602403"/>
              <a:gd name="connsiteY0" fmla="*/ 344959 h 967251"/>
              <a:gd name="connsiteX1" fmla="*/ 200541 w 602403"/>
              <a:gd name="connsiteY1" fmla="*/ 115935 h 967251"/>
              <a:gd name="connsiteX2" fmla="*/ 303695 w 602403"/>
              <a:gd name="connsiteY2" fmla="*/ 32315 h 967251"/>
              <a:gd name="connsiteX3" fmla="*/ 502000 w 602403"/>
              <a:gd name="connsiteY3" fmla="*/ 352 h 967251"/>
              <a:gd name="connsiteX4" fmla="*/ 602403 w 602403"/>
              <a:gd name="connsiteY4" fmla="*/ 100755 h 967251"/>
              <a:gd name="connsiteX5" fmla="*/ 602403 w 602403"/>
              <a:gd name="connsiteY5" fmla="*/ 866848 h 967251"/>
              <a:gd name="connsiteX6" fmla="*/ 502000 w 602403"/>
              <a:gd name="connsiteY6" fmla="*/ 967251 h 967251"/>
              <a:gd name="connsiteX7" fmla="*/ 100403 w 602403"/>
              <a:gd name="connsiteY7" fmla="*/ 967251 h 967251"/>
              <a:gd name="connsiteX8" fmla="*/ 0 w 602403"/>
              <a:gd name="connsiteY8" fmla="*/ 866848 h 967251"/>
              <a:gd name="connsiteX9" fmla="*/ 6442 w 602403"/>
              <a:gd name="connsiteY9" fmla="*/ 344959 h 9672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02403" h="967251">
                <a:moveTo>
                  <a:pt x="6442" y="344959"/>
                </a:moveTo>
                <a:cubicBezTo>
                  <a:pt x="6442" y="289508"/>
                  <a:pt x="145090" y="115935"/>
                  <a:pt x="200541" y="115935"/>
                </a:cubicBezTo>
                <a:cubicBezTo>
                  <a:pt x="249683" y="72314"/>
                  <a:pt x="253452" y="51579"/>
                  <a:pt x="303695" y="32315"/>
                </a:cubicBezTo>
                <a:cubicBezTo>
                  <a:pt x="353938" y="13051"/>
                  <a:pt x="451815" y="-2568"/>
                  <a:pt x="502000" y="352"/>
                </a:cubicBezTo>
                <a:cubicBezTo>
                  <a:pt x="557451" y="352"/>
                  <a:pt x="602403" y="45304"/>
                  <a:pt x="602403" y="100755"/>
                </a:cubicBezTo>
                <a:lnTo>
                  <a:pt x="602403" y="866848"/>
                </a:lnTo>
                <a:cubicBezTo>
                  <a:pt x="602403" y="922299"/>
                  <a:pt x="557451" y="967251"/>
                  <a:pt x="502000" y="967251"/>
                </a:cubicBezTo>
                <a:lnTo>
                  <a:pt x="100403" y="967251"/>
                </a:lnTo>
                <a:cubicBezTo>
                  <a:pt x="44952" y="967251"/>
                  <a:pt x="0" y="922299"/>
                  <a:pt x="0" y="866848"/>
                </a:cubicBezTo>
                <a:cubicBezTo>
                  <a:pt x="2147" y="692885"/>
                  <a:pt x="4295" y="518922"/>
                  <a:pt x="6442" y="344959"/>
                </a:cubicBezTo>
                <a:close/>
              </a:path>
            </a:pathLst>
          </a:custGeom>
          <a:solidFill>
            <a:srgbClr val="62366E">
              <a:alpha val="50196"/>
            </a:srgbClr>
          </a:solidFill>
          <a:ln w="19050">
            <a:solidFill>
              <a:schemeClr val="accent1"/>
            </a:solidFill>
            <a:prstDash val="lgDash"/>
            <a:extLst>
              <a:ext uri="{C807C97D-BFC1-408E-A445-0C87EB9F89A2}">
                <ask:lineSketchStyleProps xmlns:ask="http://schemas.microsoft.com/office/drawing/2018/sketchyshapes" sd="84421407">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9" name="Ovaal 216">
            <a:extLst>
              <a:ext uri="{FF2B5EF4-FFF2-40B4-BE49-F238E27FC236}">
                <a16:creationId xmlns:a16="http://schemas.microsoft.com/office/drawing/2014/main" id="{0720DCBD-8E5E-440E-A84E-587FF1BF137B}"/>
              </a:ext>
            </a:extLst>
          </p:cNvPr>
          <p:cNvSpPr/>
          <p:nvPr/>
        </p:nvSpPr>
        <p:spPr>
          <a:xfrm rot="2334895">
            <a:off x="8698292" y="4792853"/>
            <a:ext cx="977943" cy="1448917"/>
          </a:xfrm>
          <a:custGeom>
            <a:avLst/>
            <a:gdLst>
              <a:gd name="connsiteX0" fmla="*/ 0 w 951616"/>
              <a:gd name="connsiteY0" fmla="*/ 601230 h 1202460"/>
              <a:gd name="connsiteX1" fmla="*/ 475808 w 951616"/>
              <a:gd name="connsiteY1" fmla="*/ 0 h 1202460"/>
              <a:gd name="connsiteX2" fmla="*/ 951616 w 951616"/>
              <a:gd name="connsiteY2" fmla="*/ 601230 h 1202460"/>
              <a:gd name="connsiteX3" fmla="*/ 475808 w 951616"/>
              <a:gd name="connsiteY3" fmla="*/ 1202460 h 1202460"/>
              <a:gd name="connsiteX4" fmla="*/ 0 w 951616"/>
              <a:gd name="connsiteY4" fmla="*/ 601230 h 1202460"/>
              <a:gd name="connsiteX0" fmla="*/ 37983 w 989599"/>
              <a:gd name="connsiteY0" fmla="*/ 601230 h 1318861"/>
              <a:gd name="connsiteX1" fmla="*/ 513791 w 989599"/>
              <a:gd name="connsiteY1" fmla="*/ 0 h 1318861"/>
              <a:gd name="connsiteX2" fmla="*/ 989599 w 989599"/>
              <a:gd name="connsiteY2" fmla="*/ 601230 h 1318861"/>
              <a:gd name="connsiteX3" fmla="*/ 207870 w 989599"/>
              <a:gd name="connsiteY3" fmla="*/ 1318861 h 1318861"/>
              <a:gd name="connsiteX4" fmla="*/ 37983 w 989599"/>
              <a:gd name="connsiteY4" fmla="*/ 601230 h 1318861"/>
              <a:gd name="connsiteX0" fmla="*/ 46258 w 877800"/>
              <a:gd name="connsiteY0" fmla="*/ 618569 h 1318895"/>
              <a:gd name="connsiteX1" fmla="*/ 401992 w 877800"/>
              <a:gd name="connsiteY1" fmla="*/ 22 h 1318895"/>
              <a:gd name="connsiteX2" fmla="*/ 877800 w 877800"/>
              <a:gd name="connsiteY2" fmla="*/ 601252 h 1318895"/>
              <a:gd name="connsiteX3" fmla="*/ 96071 w 877800"/>
              <a:gd name="connsiteY3" fmla="*/ 1318883 h 1318895"/>
              <a:gd name="connsiteX4" fmla="*/ 46258 w 877800"/>
              <a:gd name="connsiteY4" fmla="*/ 618569 h 1318895"/>
              <a:gd name="connsiteX0" fmla="*/ 145976 w 977518"/>
              <a:gd name="connsiteY0" fmla="*/ 618569 h 1337824"/>
              <a:gd name="connsiteX1" fmla="*/ 501710 w 977518"/>
              <a:gd name="connsiteY1" fmla="*/ 22 h 1337824"/>
              <a:gd name="connsiteX2" fmla="*/ 977518 w 977518"/>
              <a:gd name="connsiteY2" fmla="*/ 601252 h 1337824"/>
              <a:gd name="connsiteX3" fmla="*/ 195789 w 977518"/>
              <a:gd name="connsiteY3" fmla="*/ 1318883 h 1337824"/>
              <a:gd name="connsiteX4" fmla="*/ 669 w 977518"/>
              <a:gd name="connsiteY4" fmla="*/ 1086179 h 1337824"/>
              <a:gd name="connsiteX5" fmla="*/ 145976 w 977518"/>
              <a:gd name="connsiteY5" fmla="*/ 618569 h 1337824"/>
              <a:gd name="connsiteX0" fmla="*/ 246862 w 977141"/>
              <a:gd name="connsiteY0" fmla="*/ 643017 h 1337930"/>
              <a:gd name="connsiteX1" fmla="*/ 501333 w 977141"/>
              <a:gd name="connsiteY1" fmla="*/ 128 h 1337930"/>
              <a:gd name="connsiteX2" fmla="*/ 977141 w 977141"/>
              <a:gd name="connsiteY2" fmla="*/ 601358 h 1337930"/>
              <a:gd name="connsiteX3" fmla="*/ 195412 w 977141"/>
              <a:gd name="connsiteY3" fmla="*/ 1318989 h 1337930"/>
              <a:gd name="connsiteX4" fmla="*/ 292 w 977141"/>
              <a:gd name="connsiteY4" fmla="*/ 1086285 h 1337930"/>
              <a:gd name="connsiteX5" fmla="*/ 246862 w 977141"/>
              <a:gd name="connsiteY5" fmla="*/ 643017 h 1337930"/>
              <a:gd name="connsiteX0" fmla="*/ 246814 w 977093"/>
              <a:gd name="connsiteY0" fmla="*/ 688278 h 1383191"/>
              <a:gd name="connsiteX1" fmla="*/ 289264 w 977093"/>
              <a:gd name="connsiteY1" fmla="*/ 114745 h 1383191"/>
              <a:gd name="connsiteX2" fmla="*/ 501285 w 977093"/>
              <a:gd name="connsiteY2" fmla="*/ 45389 h 1383191"/>
              <a:gd name="connsiteX3" fmla="*/ 977093 w 977093"/>
              <a:gd name="connsiteY3" fmla="*/ 646619 h 1383191"/>
              <a:gd name="connsiteX4" fmla="*/ 195364 w 977093"/>
              <a:gd name="connsiteY4" fmla="*/ 1364250 h 1383191"/>
              <a:gd name="connsiteX5" fmla="*/ 244 w 977093"/>
              <a:gd name="connsiteY5" fmla="*/ 1131546 h 1383191"/>
              <a:gd name="connsiteX6" fmla="*/ 246814 w 977093"/>
              <a:gd name="connsiteY6" fmla="*/ 688278 h 1383191"/>
              <a:gd name="connsiteX0" fmla="*/ 246814 w 984760"/>
              <a:gd name="connsiteY0" fmla="*/ 762162 h 1457075"/>
              <a:gd name="connsiteX1" fmla="*/ 289264 w 984760"/>
              <a:gd name="connsiteY1" fmla="*/ 188629 h 1457075"/>
              <a:gd name="connsiteX2" fmla="*/ 501285 w 984760"/>
              <a:gd name="connsiteY2" fmla="*/ 119273 h 1457075"/>
              <a:gd name="connsiteX3" fmla="*/ 603934 w 984760"/>
              <a:gd name="connsiteY3" fmla="*/ 32521 h 1457075"/>
              <a:gd name="connsiteX4" fmla="*/ 977093 w 984760"/>
              <a:gd name="connsiteY4" fmla="*/ 720503 h 1457075"/>
              <a:gd name="connsiteX5" fmla="*/ 195364 w 984760"/>
              <a:gd name="connsiteY5" fmla="*/ 1438134 h 1457075"/>
              <a:gd name="connsiteX6" fmla="*/ 244 w 984760"/>
              <a:gd name="connsiteY6" fmla="*/ 1205430 h 1457075"/>
              <a:gd name="connsiteX7" fmla="*/ 246814 w 984760"/>
              <a:gd name="connsiteY7" fmla="*/ 762162 h 1457075"/>
              <a:gd name="connsiteX0" fmla="*/ 246814 w 984760"/>
              <a:gd name="connsiteY0" fmla="*/ 772210 h 1467123"/>
              <a:gd name="connsiteX1" fmla="*/ 289264 w 984760"/>
              <a:gd name="connsiteY1" fmla="*/ 198677 h 1467123"/>
              <a:gd name="connsiteX2" fmla="*/ 439548 w 984760"/>
              <a:gd name="connsiteY2" fmla="*/ 73068 h 1467123"/>
              <a:gd name="connsiteX3" fmla="*/ 603934 w 984760"/>
              <a:gd name="connsiteY3" fmla="*/ 42569 h 1467123"/>
              <a:gd name="connsiteX4" fmla="*/ 977093 w 984760"/>
              <a:gd name="connsiteY4" fmla="*/ 730551 h 1467123"/>
              <a:gd name="connsiteX5" fmla="*/ 195364 w 984760"/>
              <a:gd name="connsiteY5" fmla="*/ 1448182 h 1467123"/>
              <a:gd name="connsiteX6" fmla="*/ 244 w 984760"/>
              <a:gd name="connsiteY6" fmla="*/ 1215478 h 1467123"/>
              <a:gd name="connsiteX7" fmla="*/ 246814 w 984760"/>
              <a:gd name="connsiteY7" fmla="*/ 772210 h 1467123"/>
              <a:gd name="connsiteX0" fmla="*/ 246814 w 977943"/>
              <a:gd name="connsiteY0" fmla="*/ 772210 h 1448917"/>
              <a:gd name="connsiteX1" fmla="*/ 289264 w 977943"/>
              <a:gd name="connsiteY1" fmla="*/ 198677 h 1448917"/>
              <a:gd name="connsiteX2" fmla="*/ 439548 w 977943"/>
              <a:gd name="connsiteY2" fmla="*/ 73068 h 1448917"/>
              <a:gd name="connsiteX3" fmla="*/ 603934 w 977943"/>
              <a:gd name="connsiteY3" fmla="*/ 42569 h 1448917"/>
              <a:gd name="connsiteX4" fmla="*/ 977093 w 977943"/>
              <a:gd name="connsiteY4" fmla="*/ 730551 h 1448917"/>
              <a:gd name="connsiteX5" fmla="*/ 703059 w 977943"/>
              <a:gd name="connsiteY5" fmla="*/ 1145905 h 1448917"/>
              <a:gd name="connsiteX6" fmla="*/ 195364 w 977943"/>
              <a:gd name="connsiteY6" fmla="*/ 1448182 h 1448917"/>
              <a:gd name="connsiteX7" fmla="*/ 244 w 977943"/>
              <a:gd name="connsiteY7" fmla="*/ 1215478 h 1448917"/>
              <a:gd name="connsiteX8" fmla="*/ 246814 w 977943"/>
              <a:gd name="connsiteY8" fmla="*/ 772210 h 14489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77943" h="1448917">
                <a:moveTo>
                  <a:pt x="246814" y="772210"/>
                </a:moveTo>
                <a:cubicBezTo>
                  <a:pt x="294984" y="602743"/>
                  <a:pt x="246852" y="305825"/>
                  <a:pt x="289264" y="198677"/>
                </a:cubicBezTo>
                <a:cubicBezTo>
                  <a:pt x="331676" y="91529"/>
                  <a:pt x="387103" y="99086"/>
                  <a:pt x="439548" y="73068"/>
                </a:cubicBezTo>
                <a:cubicBezTo>
                  <a:pt x="491993" y="47050"/>
                  <a:pt x="524633" y="-57636"/>
                  <a:pt x="603934" y="42569"/>
                </a:cubicBezTo>
                <a:cubicBezTo>
                  <a:pt x="683235" y="142774"/>
                  <a:pt x="963262" y="556732"/>
                  <a:pt x="977093" y="730551"/>
                </a:cubicBezTo>
                <a:cubicBezTo>
                  <a:pt x="990924" y="904370"/>
                  <a:pt x="833347" y="1026300"/>
                  <a:pt x="703059" y="1145905"/>
                </a:cubicBezTo>
                <a:cubicBezTo>
                  <a:pt x="572771" y="1265510"/>
                  <a:pt x="312500" y="1436586"/>
                  <a:pt x="195364" y="1448182"/>
                </a:cubicBezTo>
                <a:cubicBezTo>
                  <a:pt x="78228" y="1459778"/>
                  <a:pt x="8546" y="1332197"/>
                  <a:pt x="244" y="1215478"/>
                </a:cubicBezTo>
                <a:cubicBezTo>
                  <a:pt x="-8058" y="1098759"/>
                  <a:pt x="198644" y="941677"/>
                  <a:pt x="246814" y="772210"/>
                </a:cubicBezTo>
                <a:close/>
              </a:path>
            </a:pathLst>
          </a:custGeom>
          <a:solidFill>
            <a:srgbClr val="62366E">
              <a:alpha val="50196"/>
            </a:srgbClr>
          </a:solidFill>
          <a:ln w="19050">
            <a:solidFill>
              <a:schemeClr val="accent1"/>
            </a:solidFill>
            <a:prstDash val="lgDash"/>
            <a:extLst>
              <a:ext uri="{C807C97D-BFC1-408E-A445-0C87EB9F89A2}">
                <ask:lineSketchStyleProps xmlns:ask="http://schemas.microsoft.com/office/drawing/2018/sketchyshapes" sd="427813968">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grpSp>
        <p:nvGrpSpPr>
          <p:cNvPr id="60" name="Groep 59">
            <a:extLst>
              <a:ext uri="{FF2B5EF4-FFF2-40B4-BE49-F238E27FC236}">
                <a16:creationId xmlns:a16="http://schemas.microsoft.com/office/drawing/2014/main" id="{A7E769C7-4E40-496E-A2DA-45BCEE197357}"/>
              </a:ext>
            </a:extLst>
          </p:cNvPr>
          <p:cNvGrpSpPr/>
          <p:nvPr/>
        </p:nvGrpSpPr>
        <p:grpSpPr>
          <a:xfrm>
            <a:off x="8270259" y="5721282"/>
            <a:ext cx="288000" cy="288000"/>
            <a:chOff x="7690156" y="5602619"/>
            <a:chExt cx="329184" cy="329184"/>
          </a:xfrm>
        </p:grpSpPr>
        <p:sp>
          <p:nvSpPr>
            <p:cNvPr id="177" name="Oval 53">
              <a:extLst>
                <a:ext uri="{FF2B5EF4-FFF2-40B4-BE49-F238E27FC236}">
                  <a16:creationId xmlns:a16="http://schemas.microsoft.com/office/drawing/2014/main" id="{C47065A8-80E0-4B92-8E72-315C06DBA333}"/>
                </a:ext>
              </a:extLst>
            </p:cNvPr>
            <p:cNvSpPr/>
            <p:nvPr/>
          </p:nvSpPr>
          <p:spPr>
            <a:xfrm>
              <a:off x="7690156" y="5602619"/>
              <a:ext cx="329184" cy="329184"/>
            </a:xfrm>
            <a:prstGeom prst="ellipse">
              <a:avLst/>
            </a:prstGeom>
            <a:solidFill>
              <a:srgbClr val="62366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78" name="Shopping_cart" descr="{&quot;Key&quot;:&quot;POWER_USER_SHAPE_ICON&quot;,&quot;Value&quot;:&quot;POWER_USER_SHAPE_ICON_STYLE_1&quot;}">
              <a:extLst>
                <a:ext uri="{FF2B5EF4-FFF2-40B4-BE49-F238E27FC236}">
                  <a16:creationId xmlns:a16="http://schemas.microsoft.com/office/drawing/2014/main" id="{416E3555-70B8-4D4B-9EA2-77938804D321}"/>
                </a:ext>
              </a:extLst>
            </p:cNvPr>
            <p:cNvGrpSpPr>
              <a:grpSpLocks noChangeAspect="1"/>
            </p:cNvGrpSpPr>
            <p:nvPr>
              <p:custDataLst>
                <p:tags r:id="rId9"/>
              </p:custDataLst>
            </p:nvPr>
          </p:nvGrpSpPr>
          <p:grpSpPr>
            <a:xfrm>
              <a:off x="7727679" y="5660649"/>
              <a:ext cx="235088" cy="232174"/>
              <a:chOff x="4646614" y="2062164"/>
              <a:chExt cx="384175" cy="379413"/>
            </a:xfrm>
            <a:solidFill>
              <a:schemeClr val="bg1"/>
            </a:solidFill>
          </p:grpSpPr>
          <p:sp>
            <p:nvSpPr>
              <p:cNvPr id="179" name="Freeform 198">
                <a:extLst>
                  <a:ext uri="{FF2B5EF4-FFF2-40B4-BE49-F238E27FC236}">
                    <a16:creationId xmlns:a16="http://schemas.microsoft.com/office/drawing/2014/main" id="{834F49AF-E029-4A0C-AAB4-61444115F4C3}"/>
                  </a:ext>
                </a:extLst>
              </p:cNvPr>
              <p:cNvSpPr>
                <a:spLocks noEditPoints="1"/>
              </p:cNvSpPr>
              <p:nvPr/>
            </p:nvSpPr>
            <p:spPr bwMode="auto">
              <a:xfrm>
                <a:off x="4773614" y="2386014"/>
                <a:ext cx="55563" cy="55563"/>
              </a:xfrm>
              <a:custGeom>
                <a:avLst/>
                <a:gdLst>
                  <a:gd name="T0" fmla="*/ 40 w 80"/>
                  <a:gd name="T1" fmla="*/ 55 h 80"/>
                  <a:gd name="T2" fmla="*/ 25 w 80"/>
                  <a:gd name="T3" fmla="*/ 40 h 80"/>
                  <a:gd name="T4" fmla="*/ 40 w 80"/>
                  <a:gd name="T5" fmla="*/ 25 h 80"/>
                  <a:gd name="T6" fmla="*/ 55 w 80"/>
                  <a:gd name="T7" fmla="*/ 40 h 80"/>
                  <a:gd name="T8" fmla="*/ 40 w 80"/>
                  <a:gd name="T9" fmla="*/ 55 h 80"/>
                  <a:gd name="T10" fmla="*/ 40 w 80"/>
                  <a:gd name="T11" fmla="*/ 0 h 80"/>
                  <a:gd name="T12" fmla="*/ 0 w 80"/>
                  <a:gd name="T13" fmla="*/ 40 h 80"/>
                  <a:gd name="T14" fmla="*/ 40 w 80"/>
                  <a:gd name="T15" fmla="*/ 80 h 80"/>
                  <a:gd name="T16" fmla="*/ 80 w 80"/>
                  <a:gd name="T17" fmla="*/ 40 h 80"/>
                  <a:gd name="T18" fmla="*/ 40 w 80"/>
                  <a:gd name="T19"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0" h="80">
                    <a:moveTo>
                      <a:pt x="40" y="55"/>
                    </a:moveTo>
                    <a:cubicBezTo>
                      <a:pt x="32" y="55"/>
                      <a:pt x="25" y="48"/>
                      <a:pt x="25" y="40"/>
                    </a:cubicBezTo>
                    <a:cubicBezTo>
                      <a:pt x="25" y="32"/>
                      <a:pt x="32" y="25"/>
                      <a:pt x="40" y="25"/>
                    </a:cubicBezTo>
                    <a:cubicBezTo>
                      <a:pt x="48" y="25"/>
                      <a:pt x="55" y="32"/>
                      <a:pt x="55" y="40"/>
                    </a:cubicBezTo>
                    <a:cubicBezTo>
                      <a:pt x="55" y="48"/>
                      <a:pt x="48" y="55"/>
                      <a:pt x="40" y="55"/>
                    </a:cubicBezTo>
                    <a:close/>
                    <a:moveTo>
                      <a:pt x="40" y="0"/>
                    </a:moveTo>
                    <a:cubicBezTo>
                      <a:pt x="18" y="0"/>
                      <a:pt x="0" y="18"/>
                      <a:pt x="0" y="40"/>
                    </a:cubicBezTo>
                    <a:cubicBezTo>
                      <a:pt x="0" y="62"/>
                      <a:pt x="18" y="80"/>
                      <a:pt x="40" y="80"/>
                    </a:cubicBezTo>
                    <a:cubicBezTo>
                      <a:pt x="62" y="80"/>
                      <a:pt x="80" y="62"/>
                      <a:pt x="80" y="40"/>
                    </a:cubicBezTo>
                    <a:cubicBezTo>
                      <a:pt x="80" y="18"/>
                      <a:pt x="62" y="0"/>
                      <a:pt x="40"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0" name="Freeform 199">
                <a:extLst>
                  <a:ext uri="{FF2B5EF4-FFF2-40B4-BE49-F238E27FC236}">
                    <a16:creationId xmlns:a16="http://schemas.microsoft.com/office/drawing/2014/main" id="{96465065-823C-4A5E-B2E4-9258204BDE09}"/>
                  </a:ext>
                </a:extLst>
              </p:cNvPr>
              <p:cNvSpPr>
                <a:spLocks noEditPoints="1"/>
              </p:cNvSpPr>
              <p:nvPr/>
            </p:nvSpPr>
            <p:spPr bwMode="auto">
              <a:xfrm>
                <a:off x="4929189" y="2386014"/>
                <a:ext cx="55563" cy="55563"/>
              </a:xfrm>
              <a:custGeom>
                <a:avLst/>
                <a:gdLst>
                  <a:gd name="T0" fmla="*/ 40 w 80"/>
                  <a:gd name="T1" fmla="*/ 55 h 80"/>
                  <a:gd name="T2" fmla="*/ 25 w 80"/>
                  <a:gd name="T3" fmla="*/ 40 h 80"/>
                  <a:gd name="T4" fmla="*/ 40 w 80"/>
                  <a:gd name="T5" fmla="*/ 25 h 80"/>
                  <a:gd name="T6" fmla="*/ 55 w 80"/>
                  <a:gd name="T7" fmla="*/ 40 h 80"/>
                  <a:gd name="T8" fmla="*/ 40 w 80"/>
                  <a:gd name="T9" fmla="*/ 55 h 80"/>
                  <a:gd name="T10" fmla="*/ 40 w 80"/>
                  <a:gd name="T11" fmla="*/ 0 h 80"/>
                  <a:gd name="T12" fmla="*/ 0 w 80"/>
                  <a:gd name="T13" fmla="*/ 40 h 80"/>
                  <a:gd name="T14" fmla="*/ 40 w 80"/>
                  <a:gd name="T15" fmla="*/ 80 h 80"/>
                  <a:gd name="T16" fmla="*/ 80 w 80"/>
                  <a:gd name="T17" fmla="*/ 40 h 80"/>
                  <a:gd name="T18" fmla="*/ 40 w 80"/>
                  <a:gd name="T19"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0" h="80">
                    <a:moveTo>
                      <a:pt x="40" y="55"/>
                    </a:moveTo>
                    <a:cubicBezTo>
                      <a:pt x="32" y="55"/>
                      <a:pt x="25" y="48"/>
                      <a:pt x="25" y="40"/>
                    </a:cubicBezTo>
                    <a:cubicBezTo>
                      <a:pt x="25" y="32"/>
                      <a:pt x="32" y="25"/>
                      <a:pt x="40" y="25"/>
                    </a:cubicBezTo>
                    <a:cubicBezTo>
                      <a:pt x="48" y="25"/>
                      <a:pt x="55" y="32"/>
                      <a:pt x="55" y="40"/>
                    </a:cubicBezTo>
                    <a:cubicBezTo>
                      <a:pt x="55" y="48"/>
                      <a:pt x="48" y="55"/>
                      <a:pt x="40" y="55"/>
                    </a:cubicBezTo>
                    <a:close/>
                    <a:moveTo>
                      <a:pt x="40" y="0"/>
                    </a:moveTo>
                    <a:cubicBezTo>
                      <a:pt x="18" y="0"/>
                      <a:pt x="0" y="18"/>
                      <a:pt x="0" y="40"/>
                    </a:cubicBezTo>
                    <a:cubicBezTo>
                      <a:pt x="0" y="62"/>
                      <a:pt x="18" y="80"/>
                      <a:pt x="40" y="80"/>
                    </a:cubicBezTo>
                    <a:cubicBezTo>
                      <a:pt x="62" y="80"/>
                      <a:pt x="80" y="62"/>
                      <a:pt x="80" y="40"/>
                    </a:cubicBezTo>
                    <a:cubicBezTo>
                      <a:pt x="80" y="18"/>
                      <a:pt x="62" y="0"/>
                      <a:pt x="40"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1" name="Freeform 200">
                <a:extLst>
                  <a:ext uri="{FF2B5EF4-FFF2-40B4-BE49-F238E27FC236}">
                    <a16:creationId xmlns:a16="http://schemas.microsoft.com/office/drawing/2014/main" id="{1AAFE460-E71A-4E5C-ADC9-721E4DA0C172}"/>
                  </a:ext>
                </a:extLst>
              </p:cNvPr>
              <p:cNvSpPr>
                <a:spLocks noEditPoints="1"/>
              </p:cNvSpPr>
              <p:nvPr/>
            </p:nvSpPr>
            <p:spPr bwMode="auto">
              <a:xfrm>
                <a:off x="4646614" y="2062164"/>
                <a:ext cx="384175" cy="311150"/>
              </a:xfrm>
              <a:custGeom>
                <a:avLst/>
                <a:gdLst>
                  <a:gd name="T0" fmla="*/ 465 w 554"/>
                  <a:gd name="T1" fmla="*/ 168 h 450"/>
                  <a:gd name="T2" fmla="*/ 530 w 554"/>
                  <a:gd name="T3" fmla="*/ 88 h 450"/>
                  <a:gd name="T4" fmla="*/ 483 w 554"/>
                  <a:gd name="T5" fmla="*/ 257 h 450"/>
                  <a:gd name="T6" fmla="*/ 447 w 554"/>
                  <a:gd name="T7" fmla="*/ 273 h 450"/>
                  <a:gd name="T8" fmla="*/ 505 w 554"/>
                  <a:gd name="T9" fmla="*/ 177 h 450"/>
                  <a:gd name="T10" fmla="*/ 432 w 554"/>
                  <a:gd name="T11" fmla="*/ 273 h 450"/>
                  <a:gd name="T12" fmla="*/ 407 w 554"/>
                  <a:gd name="T13" fmla="*/ 177 h 450"/>
                  <a:gd name="T14" fmla="*/ 432 w 554"/>
                  <a:gd name="T15" fmla="*/ 273 h 450"/>
                  <a:gd name="T16" fmla="*/ 352 w 554"/>
                  <a:gd name="T17" fmla="*/ 88 h 450"/>
                  <a:gd name="T18" fmla="*/ 393 w 554"/>
                  <a:gd name="T19" fmla="*/ 168 h 450"/>
                  <a:gd name="T20" fmla="*/ 383 w 554"/>
                  <a:gd name="T21" fmla="*/ 273 h 450"/>
                  <a:gd name="T22" fmla="*/ 352 w 554"/>
                  <a:gd name="T23" fmla="*/ 177 h 450"/>
                  <a:gd name="T24" fmla="*/ 383 w 554"/>
                  <a:gd name="T25" fmla="*/ 273 h 450"/>
                  <a:gd name="T26" fmla="*/ 297 w 554"/>
                  <a:gd name="T27" fmla="*/ 168 h 450"/>
                  <a:gd name="T28" fmla="*/ 337 w 554"/>
                  <a:gd name="T29" fmla="*/ 88 h 450"/>
                  <a:gd name="T30" fmla="*/ 337 w 554"/>
                  <a:gd name="T31" fmla="*/ 273 h 450"/>
                  <a:gd name="T32" fmla="*/ 298 w 554"/>
                  <a:gd name="T33" fmla="*/ 177 h 450"/>
                  <a:gd name="T34" fmla="*/ 337 w 554"/>
                  <a:gd name="T35" fmla="*/ 273 h 450"/>
                  <a:gd name="T36" fmla="*/ 242 w 554"/>
                  <a:gd name="T37" fmla="*/ 177 h 450"/>
                  <a:gd name="T38" fmla="*/ 292 w 554"/>
                  <a:gd name="T39" fmla="*/ 273 h 450"/>
                  <a:gd name="T40" fmla="*/ 210 w 554"/>
                  <a:gd name="T41" fmla="*/ 273 h 450"/>
                  <a:gd name="T42" fmla="*/ 227 w 554"/>
                  <a:gd name="T43" fmla="*/ 177 h 450"/>
                  <a:gd name="T44" fmla="*/ 210 w 554"/>
                  <a:gd name="T45" fmla="*/ 273 h 450"/>
                  <a:gd name="T46" fmla="*/ 157 w 554"/>
                  <a:gd name="T47" fmla="*/ 268 h 450"/>
                  <a:gd name="T48" fmla="*/ 173 w 554"/>
                  <a:gd name="T49" fmla="*/ 177 h 450"/>
                  <a:gd name="T50" fmla="*/ 170 w 554"/>
                  <a:gd name="T51" fmla="*/ 273 h 450"/>
                  <a:gd name="T52" fmla="*/ 106 w 554"/>
                  <a:gd name="T53" fmla="*/ 88 h 450"/>
                  <a:gd name="T54" fmla="*/ 171 w 554"/>
                  <a:gd name="T55" fmla="*/ 168 h 450"/>
                  <a:gd name="T56" fmla="*/ 126 w 554"/>
                  <a:gd name="T57" fmla="*/ 156 h 450"/>
                  <a:gd name="T58" fmla="*/ 225 w 554"/>
                  <a:gd name="T59" fmla="*/ 168 h 450"/>
                  <a:gd name="T60" fmla="*/ 168 w 554"/>
                  <a:gd name="T61" fmla="*/ 88 h 450"/>
                  <a:gd name="T62" fmla="*/ 274 w 554"/>
                  <a:gd name="T63" fmla="*/ 88 h 450"/>
                  <a:gd name="T64" fmla="*/ 241 w 554"/>
                  <a:gd name="T65" fmla="*/ 168 h 450"/>
                  <a:gd name="T66" fmla="*/ 274 w 554"/>
                  <a:gd name="T67" fmla="*/ 88 h 450"/>
                  <a:gd name="T68" fmla="*/ 462 w 554"/>
                  <a:gd name="T69" fmla="*/ 88 h 450"/>
                  <a:gd name="T70" fmla="*/ 408 w 554"/>
                  <a:gd name="T71" fmla="*/ 168 h 450"/>
                  <a:gd name="T72" fmla="*/ 24 w 554"/>
                  <a:gd name="T73" fmla="*/ 29 h 450"/>
                  <a:gd name="T74" fmla="*/ 19 w 554"/>
                  <a:gd name="T75" fmla="*/ 13 h 450"/>
                  <a:gd name="T76" fmla="*/ 24 w 554"/>
                  <a:gd name="T77" fmla="*/ 29 h 450"/>
                  <a:gd name="T78" fmla="*/ 110 w 554"/>
                  <a:gd name="T79" fmla="*/ 63 h 450"/>
                  <a:gd name="T80" fmla="*/ 91 w 554"/>
                  <a:gd name="T81" fmla="*/ 34 h 450"/>
                  <a:gd name="T82" fmla="*/ 39 w 554"/>
                  <a:gd name="T83" fmla="*/ 12 h 450"/>
                  <a:gd name="T84" fmla="*/ 3 w 554"/>
                  <a:gd name="T85" fmla="*/ 27 h 450"/>
                  <a:gd name="T86" fmla="*/ 38 w 554"/>
                  <a:gd name="T87" fmla="*/ 31 h 450"/>
                  <a:gd name="T88" fmla="*/ 67 w 554"/>
                  <a:gd name="T89" fmla="*/ 40 h 450"/>
                  <a:gd name="T90" fmla="*/ 209 w 554"/>
                  <a:gd name="T91" fmla="*/ 450 h 450"/>
                  <a:gd name="T92" fmla="*/ 496 w 554"/>
                  <a:gd name="T93" fmla="*/ 437 h 450"/>
                  <a:gd name="T94" fmla="*/ 212 w 554"/>
                  <a:gd name="T95" fmla="*/ 420 h 450"/>
                  <a:gd name="T96" fmla="*/ 168 w 554"/>
                  <a:gd name="T97" fmla="*/ 309 h 450"/>
                  <a:gd name="T98" fmla="*/ 451 w 554"/>
                  <a:gd name="T99" fmla="*/ 314 h 450"/>
                  <a:gd name="T100" fmla="*/ 552 w 554"/>
                  <a:gd name="T101" fmla="*/ 88 h 4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54" h="450">
                    <a:moveTo>
                      <a:pt x="508" y="168"/>
                    </a:moveTo>
                    <a:lnTo>
                      <a:pt x="465" y="168"/>
                    </a:lnTo>
                    <a:lnTo>
                      <a:pt x="478" y="88"/>
                    </a:lnTo>
                    <a:lnTo>
                      <a:pt x="530" y="88"/>
                    </a:lnTo>
                    <a:lnTo>
                      <a:pt x="508" y="168"/>
                    </a:lnTo>
                    <a:close/>
                    <a:moveTo>
                      <a:pt x="483" y="257"/>
                    </a:moveTo>
                    <a:cubicBezTo>
                      <a:pt x="480" y="265"/>
                      <a:pt x="471" y="273"/>
                      <a:pt x="462" y="273"/>
                    </a:cubicBezTo>
                    <a:lnTo>
                      <a:pt x="447" y="273"/>
                    </a:lnTo>
                    <a:lnTo>
                      <a:pt x="463" y="177"/>
                    </a:lnTo>
                    <a:lnTo>
                      <a:pt x="505" y="177"/>
                    </a:lnTo>
                    <a:lnTo>
                      <a:pt x="483" y="257"/>
                    </a:lnTo>
                    <a:close/>
                    <a:moveTo>
                      <a:pt x="432" y="273"/>
                    </a:moveTo>
                    <a:lnTo>
                      <a:pt x="398" y="273"/>
                    </a:lnTo>
                    <a:lnTo>
                      <a:pt x="407" y="177"/>
                    </a:lnTo>
                    <a:lnTo>
                      <a:pt x="447" y="177"/>
                    </a:lnTo>
                    <a:lnTo>
                      <a:pt x="432" y="273"/>
                    </a:lnTo>
                    <a:close/>
                    <a:moveTo>
                      <a:pt x="352" y="168"/>
                    </a:moveTo>
                    <a:lnTo>
                      <a:pt x="352" y="88"/>
                    </a:lnTo>
                    <a:lnTo>
                      <a:pt x="401" y="88"/>
                    </a:lnTo>
                    <a:lnTo>
                      <a:pt x="393" y="168"/>
                    </a:lnTo>
                    <a:lnTo>
                      <a:pt x="352" y="168"/>
                    </a:lnTo>
                    <a:close/>
                    <a:moveTo>
                      <a:pt x="383" y="273"/>
                    </a:moveTo>
                    <a:lnTo>
                      <a:pt x="352" y="273"/>
                    </a:lnTo>
                    <a:lnTo>
                      <a:pt x="352" y="177"/>
                    </a:lnTo>
                    <a:lnTo>
                      <a:pt x="392" y="177"/>
                    </a:lnTo>
                    <a:lnTo>
                      <a:pt x="383" y="273"/>
                    </a:lnTo>
                    <a:close/>
                    <a:moveTo>
                      <a:pt x="337" y="168"/>
                    </a:moveTo>
                    <a:lnTo>
                      <a:pt x="297" y="168"/>
                    </a:lnTo>
                    <a:lnTo>
                      <a:pt x="289" y="88"/>
                    </a:lnTo>
                    <a:lnTo>
                      <a:pt x="337" y="88"/>
                    </a:lnTo>
                    <a:lnTo>
                      <a:pt x="337" y="168"/>
                    </a:lnTo>
                    <a:close/>
                    <a:moveTo>
                      <a:pt x="337" y="273"/>
                    </a:moveTo>
                    <a:lnTo>
                      <a:pt x="307" y="273"/>
                    </a:lnTo>
                    <a:lnTo>
                      <a:pt x="298" y="177"/>
                    </a:lnTo>
                    <a:lnTo>
                      <a:pt x="337" y="177"/>
                    </a:lnTo>
                    <a:lnTo>
                      <a:pt x="337" y="273"/>
                    </a:lnTo>
                    <a:close/>
                    <a:moveTo>
                      <a:pt x="258" y="273"/>
                    </a:moveTo>
                    <a:lnTo>
                      <a:pt x="242" y="177"/>
                    </a:lnTo>
                    <a:lnTo>
                      <a:pt x="282" y="177"/>
                    </a:lnTo>
                    <a:lnTo>
                      <a:pt x="292" y="273"/>
                    </a:lnTo>
                    <a:lnTo>
                      <a:pt x="258" y="273"/>
                    </a:lnTo>
                    <a:close/>
                    <a:moveTo>
                      <a:pt x="210" y="273"/>
                    </a:moveTo>
                    <a:lnTo>
                      <a:pt x="188" y="177"/>
                    </a:lnTo>
                    <a:lnTo>
                      <a:pt x="227" y="177"/>
                    </a:lnTo>
                    <a:lnTo>
                      <a:pt x="242" y="273"/>
                    </a:lnTo>
                    <a:lnTo>
                      <a:pt x="210" y="273"/>
                    </a:lnTo>
                    <a:close/>
                    <a:moveTo>
                      <a:pt x="170" y="273"/>
                    </a:moveTo>
                    <a:cubicBezTo>
                      <a:pt x="165" y="273"/>
                      <a:pt x="161" y="271"/>
                      <a:pt x="157" y="268"/>
                    </a:cubicBezTo>
                    <a:cubicBezTo>
                      <a:pt x="150" y="244"/>
                      <a:pt x="141" y="211"/>
                      <a:pt x="131" y="177"/>
                    </a:cubicBezTo>
                    <a:lnTo>
                      <a:pt x="173" y="177"/>
                    </a:lnTo>
                    <a:lnTo>
                      <a:pt x="194" y="273"/>
                    </a:lnTo>
                    <a:lnTo>
                      <a:pt x="170" y="273"/>
                    </a:lnTo>
                    <a:close/>
                    <a:moveTo>
                      <a:pt x="126" y="156"/>
                    </a:moveTo>
                    <a:cubicBezTo>
                      <a:pt x="119" y="133"/>
                      <a:pt x="112" y="109"/>
                      <a:pt x="106" y="88"/>
                    </a:cubicBezTo>
                    <a:lnTo>
                      <a:pt x="153" y="88"/>
                    </a:lnTo>
                    <a:lnTo>
                      <a:pt x="171" y="168"/>
                    </a:lnTo>
                    <a:lnTo>
                      <a:pt x="129" y="168"/>
                    </a:lnTo>
                    <a:cubicBezTo>
                      <a:pt x="128" y="164"/>
                      <a:pt x="127" y="160"/>
                      <a:pt x="126" y="156"/>
                    </a:cubicBezTo>
                    <a:close/>
                    <a:moveTo>
                      <a:pt x="212" y="88"/>
                    </a:moveTo>
                    <a:lnTo>
                      <a:pt x="225" y="168"/>
                    </a:lnTo>
                    <a:lnTo>
                      <a:pt x="186" y="168"/>
                    </a:lnTo>
                    <a:lnTo>
                      <a:pt x="168" y="88"/>
                    </a:lnTo>
                    <a:lnTo>
                      <a:pt x="212" y="88"/>
                    </a:lnTo>
                    <a:close/>
                    <a:moveTo>
                      <a:pt x="274" y="88"/>
                    </a:moveTo>
                    <a:lnTo>
                      <a:pt x="281" y="168"/>
                    </a:lnTo>
                    <a:lnTo>
                      <a:pt x="241" y="168"/>
                    </a:lnTo>
                    <a:lnTo>
                      <a:pt x="228" y="88"/>
                    </a:lnTo>
                    <a:lnTo>
                      <a:pt x="274" y="88"/>
                    </a:lnTo>
                    <a:close/>
                    <a:moveTo>
                      <a:pt x="416" y="88"/>
                    </a:moveTo>
                    <a:lnTo>
                      <a:pt x="462" y="88"/>
                    </a:lnTo>
                    <a:lnTo>
                      <a:pt x="449" y="168"/>
                    </a:lnTo>
                    <a:lnTo>
                      <a:pt x="408" y="168"/>
                    </a:lnTo>
                    <a:lnTo>
                      <a:pt x="416" y="88"/>
                    </a:lnTo>
                    <a:close/>
                    <a:moveTo>
                      <a:pt x="24" y="29"/>
                    </a:moveTo>
                    <a:cubicBezTo>
                      <a:pt x="19" y="31"/>
                      <a:pt x="15" y="28"/>
                      <a:pt x="13" y="24"/>
                    </a:cubicBezTo>
                    <a:cubicBezTo>
                      <a:pt x="12" y="19"/>
                      <a:pt x="14" y="14"/>
                      <a:pt x="19" y="13"/>
                    </a:cubicBezTo>
                    <a:cubicBezTo>
                      <a:pt x="24" y="12"/>
                      <a:pt x="28" y="14"/>
                      <a:pt x="30" y="19"/>
                    </a:cubicBezTo>
                    <a:cubicBezTo>
                      <a:pt x="31" y="23"/>
                      <a:pt x="29" y="28"/>
                      <a:pt x="24" y="29"/>
                    </a:cubicBezTo>
                    <a:close/>
                    <a:moveTo>
                      <a:pt x="533" y="63"/>
                    </a:moveTo>
                    <a:lnTo>
                      <a:pt x="110" y="63"/>
                    </a:lnTo>
                    <a:cubicBezTo>
                      <a:pt x="106" y="63"/>
                      <a:pt x="103" y="63"/>
                      <a:pt x="100" y="65"/>
                    </a:cubicBezTo>
                    <a:cubicBezTo>
                      <a:pt x="99" y="61"/>
                      <a:pt x="94" y="44"/>
                      <a:pt x="91" y="34"/>
                    </a:cubicBezTo>
                    <a:cubicBezTo>
                      <a:pt x="88" y="22"/>
                      <a:pt x="79" y="12"/>
                      <a:pt x="64" y="12"/>
                    </a:cubicBezTo>
                    <a:cubicBezTo>
                      <a:pt x="61" y="12"/>
                      <a:pt x="40" y="12"/>
                      <a:pt x="39" y="12"/>
                    </a:cubicBezTo>
                    <a:cubicBezTo>
                      <a:pt x="34" y="4"/>
                      <a:pt x="25" y="0"/>
                      <a:pt x="16" y="2"/>
                    </a:cubicBezTo>
                    <a:cubicBezTo>
                      <a:pt x="5" y="6"/>
                      <a:pt x="0" y="16"/>
                      <a:pt x="3" y="27"/>
                    </a:cubicBezTo>
                    <a:cubicBezTo>
                      <a:pt x="6" y="37"/>
                      <a:pt x="17" y="43"/>
                      <a:pt x="27" y="40"/>
                    </a:cubicBezTo>
                    <a:cubicBezTo>
                      <a:pt x="32" y="39"/>
                      <a:pt x="36" y="35"/>
                      <a:pt x="38" y="31"/>
                    </a:cubicBezTo>
                    <a:cubicBezTo>
                      <a:pt x="40" y="31"/>
                      <a:pt x="52" y="31"/>
                      <a:pt x="54" y="31"/>
                    </a:cubicBezTo>
                    <a:cubicBezTo>
                      <a:pt x="63" y="31"/>
                      <a:pt x="65" y="33"/>
                      <a:pt x="67" y="40"/>
                    </a:cubicBezTo>
                    <a:cubicBezTo>
                      <a:pt x="73" y="61"/>
                      <a:pt x="165" y="388"/>
                      <a:pt x="171" y="409"/>
                    </a:cubicBezTo>
                    <a:cubicBezTo>
                      <a:pt x="180" y="439"/>
                      <a:pt x="194" y="450"/>
                      <a:pt x="209" y="450"/>
                    </a:cubicBezTo>
                    <a:lnTo>
                      <a:pt x="483" y="450"/>
                    </a:lnTo>
                    <a:cubicBezTo>
                      <a:pt x="492" y="450"/>
                      <a:pt x="496" y="441"/>
                      <a:pt x="496" y="437"/>
                    </a:cubicBezTo>
                    <a:cubicBezTo>
                      <a:pt x="498" y="423"/>
                      <a:pt x="486" y="420"/>
                      <a:pt x="480" y="420"/>
                    </a:cubicBezTo>
                    <a:lnTo>
                      <a:pt x="212" y="420"/>
                    </a:lnTo>
                    <a:cubicBezTo>
                      <a:pt x="205" y="420"/>
                      <a:pt x="198" y="415"/>
                      <a:pt x="196" y="408"/>
                    </a:cubicBezTo>
                    <a:cubicBezTo>
                      <a:pt x="195" y="404"/>
                      <a:pt x="170" y="315"/>
                      <a:pt x="168" y="309"/>
                    </a:cubicBezTo>
                    <a:cubicBezTo>
                      <a:pt x="174" y="315"/>
                      <a:pt x="179" y="314"/>
                      <a:pt x="182" y="314"/>
                    </a:cubicBezTo>
                    <a:lnTo>
                      <a:pt x="451" y="314"/>
                    </a:lnTo>
                    <a:cubicBezTo>
                      <a:pt x="486" y="314"/>
                      <a:pt x="500" y="272"/>
                      <a:pt x="503" y="259"/>
                    </a:cubicBezTo>
                    <a:lnTo>
                      <a:pt x="552" y="88"/>
                    </a:lnTo>
                    <a:cubicBezTo>
                      <a:pt x="554" y="81"/>
                      <a:pt x="552" y="63"/>
                      <a:pt x="533" y="63"/>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grpSp>
        <p:nvGrpSpPr>
          <p:cNvPr id="61" name="Groep 60">
            <a:extLst>
              <a:ext uri="{FF2B5EF4-FFF2-40B4-BE49-F238E27FC236}">
                <a16:creationId xmlns:a16="http://schemas.microsoft.com/office/drawing/2014/main" id="{08919EB1-7FA4-41D7-9957-F438F51229F0}"/>
              </a:ext>
            </a:extLst>
          </p:cNvPr>
          <p:cNvGrpSpPr/>
          <p:nvPr/>
        </p:nvGrpSpPr>
        <p:grpSpPr>
          <a:xfrm>
            <a:off x="9546139" y="717591"/>
            <a:ext cx="288000" cy="288000"/>
            <a:chOff x="8966036" y="598928"/>
            <a:chExt cx="324000" cy="329184"/>
          </a:xfrm>
        </p:grpSpPr>
        <p:sp>
          <p:nvSpPr>
            <p:cNvPr id="172" name="Oval 53">
              <a:extLst>
                <a:ext uri="{FF2B5EF4-FFF2-40B4-BE49-F238E27FC236}">
                  <a16:creationId xmlns:a16="http://schemas.microsoft.com/office/drawing/2014/main" id="{A7842A07-D49F-45E1-BE4E-2049ECED812A}"/>
                </a:ext>
              </a:extLst>
            </p:cNvPr>
            <p:cNvSpPr/>
            <p:nvPr/>
          </p:nvSpPr>
          <p:spPr>
            <a:xfrm>
              <a:off x="8966036" y="598928"/>
              <a:ext cx="324000" cy="329184"/>
            </a:xfrm>
            <a:prstGeom prst="ellipse">
              <a:avLst/>
            </a:prstGeom>
            <a:solidFill>
              <a:srgbClr val="62366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73" name="Shopping_cart" descr="{&quot;Key&quot;:&quot;POWER_USER_SHAPE_ICON&quot;,&quot;Value&quot;:&quot;POWER_USER_SHAPE_ICON_STYLE_1&quot;}">
              <a:extLst>
                <a:ext uri="{FF2B5EF4-FFF2-40B4-BE49-F238E27FC236}">
                  <a16:creationId xmlns:a16="http://schemas.microsoft.com/office/drawing/2014/main" id="{7555FDB1-C5F2-42F3-B538-31CC01F89C7D}"/>
                </a:ext>
              </a:extLst>
            </p:cNvPr>
            <p:cNvGrpSpPr>
              <a:grpSpLocks noChangeAspect="1"/>
            </p:cNvGrpSpPr>
            <p:nvPr>
              <p:custDataLst>
                <p:tags r:id="rId8"/>
              </p:custDataLst>
            </p:nvPr>
          </p:nvGrpSpPr>
          <p:grpSpPr>
            <a:xfrm>
              <a:off x="9003559" y="656958"/>
              <a:ext cx="235088" cy="232174"/>
              <a:chOff x="4646614" y="2062164"/>
              <a:chExt cx="384175" cy="379413"/>
            </a:xfrm>
            <a:solidFill>
              <a:schemeClr val="bg1"/>
            </a:solidFill>
          </p:grpSpPr>
          <p:sp>
            <p:nvSpPr>
              <p:cNvPr id="174" name="Freeform 198">
                <a:extLst>
                  <a:ext uri="{FF2B5EF4-FFF2-40B4-BE49-F238E27FC236}">
                    <a16:creationId xmlns:a16="http://schemas.microsoft.com/office/drawing/2014/main" id="{702AE75E-92D0-4F7D-812E-21257831B08C}"/>
                  </a:ext>
                </a:extLst>
              </p:cNvPr>
              <p:cNvSpPr>
                <a:spLocks noEditPoints="1"/>
              </p:cNvSpPr>
              <p:nvPr/>
            </p:nvSpPr>
            <p:spPr bwMode="auto">
              <a:xfrm>
                <a:off x="4773614" y="2386014"/>
                <a:ext cx="55563" cy="55563"/>
              </a:xfrm>
              <a:custGeom>
                <a:avLst/>
                <a:gdLst>
                  <a:gd name="T0" fmla="*/ 40 w 80"/>
                  <a:gd name="T1" fmla="*/ 55 h 80"/>
                  <a:gd name="T2" fmla="*/ 25 w 80"/>
                  <a:gd name="T3" fmla="*/ 40 h 80"/>
                  <a:gd name="T4" fmla="*/ 40 w 80"/>
                  <a:gd name="T5" fmla="*/ 25 h 80"/>
                  <a:gd name="T6" fmla="*/ 55 w 80"/>
                  <a:gd name="T7" fmla="*/ 40 h 80"/>
                  <a:gd name="T8" fmla="*/ 40 w 80"/>
                  <a:gd name="T9" fmla="*/ 55 h 80"/>
                  <a:gd name="T10" fmla="*/ 40 w 80"/>
                  <a:gd name="T11" fmla="*/ 0 h 80"/>
                  <a:gd name="T12" fmla="*/ 0 w 80"/>
                  <a:gd name="T13" fmla="*/ 40 h 80"/>
                  <a:gd name="T14" fmla="*/ 40 w 80"/>
                  <a:gd name="T15" fmla="*/ 80 h 80"/>
                  <a:gd name="T16" fmla="*/ 80 w 80"/>
                  <a:gd name="T17" fmla="*/ 40 h 80"/>
                  <a:gd name="T18" fmla="*/ 40 w 80"/>
                  <a:gd name="T19"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0" h="80">
                    <a:moveTo>
                      <a:pt x="40" y="55"/>
                    </a:moveTo>
                    <a:cubicBezTo>
                      <a:pt x="32" y="55"/>
                      <a:pt x="25" y="48"/>
                      <a:pt x="25" y="40"/>
                    </a:cubicBezTo>
                    <a:cubicBezTo>
                      <a:pt x="25" y="32"/>
                      <a:pt x="32" y="25"/>
                      <a:pt x="40" y="25"/>
                    </a:cubicBezTo>
                    <a:cubicBezTo>
                      <a:pt x="48" y="25"/>
                      <a:pt x="55" y="32"/>
                      <a:pt x="55" y="40"/>
                    </a:cubicBezTo>
                    <a:cubicBezTo>
                      <a:pt x="55" y="48"/>
                      <a:pt x="48" y="55"/>
                      <a:pt x="40" y="55"/>
                    </a:cubicBezTo>
                    <a:close/>
                    <a:moveTo>
                      <a:pt x="40" y="0"/>
                    </a:moveTo>
                    <a:cubicBezTo>
                      <a:pt x="18" y="0"/>
                      <a:pt x="0" y="18"/>
                      <a:pt x="0" y="40"/>
                    </a:cubicBezTo>
                    <a:cubicBezTo>
                      <a:pt x="0" y="62"/>
                      <a:pt x="18" y="80"/>
                      <a:pt x="40" y="80"/>
                    </a:cubicBezTo>
                    <a:cubicBezTo>
                      <a:pt x="62" y="80"/>
                      <a:pt x="80" y="62"/>
                      <a:pt x="80" y="40"/>
                    </a:cubicBezTo>
                    <a:cubicBezTo>
                      <a:pt x="80" y="18"/>
                      <a:pt x="62" y="0"/>
                      <a:pt x="40"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5" name="Freeform 199">
                <a:extLst>
                  <a:ext uri="{FF2B5EF4-FFF2-40B4-BE49-F238E27FC236}">
                    <a16:creationId xmlns:a16="http://schemas.microsoft.com/office/drawing/2014/main" id="{C57808F1-0BFA-4D6B-988A-C3588C026E66}"/>
                  </a:ext>
                </a:extLst>
              </p:cNvPr>
              <p:cNvSpPr>
                <a:spLocks noEditPoints="1"/>
              </p:cNvSpPr>
              <p:nvPr/>
            </p:nvSpPr>
            <p:spPr bwMode="auto">
              <a:xfrm>
                <a:off x="4929189" y="2386014"/>
                <a:ext cx="55563" cy="55563"/>
              </a:xfrm>
              <a:custGeom>
                <a:avLst/>
                <a:gdLst>
                  <a:gd name="T0" fmla="*/ 40 w 80"/>
                  <a:gd name="T1" fmla="*/ 55 h 80"/>
                  <a:gd name="T2" fmla="*/ 25 w 80"/>
                  <a:gd name="T3" fmla="*/ 40 h 80"/>
                  <a:gd name="T4" fmla="*/ 40 w 80"/>
                  <a:gd name="T5" fmla="*/ 25 h 80"/>
                  <a:gd name="T6" fmla="*/ 55 w 80"/>
                  <a:gd name="T7" fmla="*/ 40 h 80"/>
                  <a:gd name="T8" fmla="*/ 40 w 80"/>
                  <a:gd name="T9" fmla="*/ 55 h 80"/>
                  <a:gd name="T10" fmla="*/ 40 w 80"/>
                  <a:gd name="T11" fmla="*/ 0 h 80"/>
                  <a:gd name="T12" fmla="*/ 0 w 80"/>
                  <a:gd name="T13" fmla="*/ 40 h 80"/>
                  <a:gd name="T14" fmla="*/ 40 w 80"/>
                  <a:gd name="T15" fmla="*/ 80 h 80"/>
                  <a:gd name="T16" fmla="*/ 80 w 80"/>
                  <a:gd name="T17" fmla="*/ 40 h 80"/>
                  <a:gd name="T18" fmla="*/ 40 w 80"/>
                  <a:gd name="T19"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0" h="80">
                    <a:moveTo>
                      <a:pt x="40" y="55"/>
                    </a:moveTo>
                    <a:cubicBezTo>
                      <a:pt x="32" y="55"/>
                      <a:pt x="25" y="48"/>
                      <a:pt x="25" y="40"/>
                    </a:cubicBezTo>
                    <a:cubicBezTo>
                      <a:pt x="25" y="32"/>
                      <a:pt x="32" y="25"/>
                      <a:pt x="40" y="25"/>
                    </a:cubicBezTo>
                    <a:cubicBezTo>
                      <a:pt x="48" y="25"/>
                      <a:pt x="55" y="32"/>
                      <a:pt x="55" y="40"/>
                    </a:cubicBezTo>
                    <a:cubicBezTo>
                      <a:pt x="55" y="48"/>
                      <a:pt x="48" y="55"/>
                      <a:pt x="40" y="55"/>
                    </a:cubicBezTo>
                    <a:close/>
                    <a:moveTo>
                      <a:pt x="40" y="0"/>
                    </a:moveTo>
                    <a:cubicBezTo>
                      <a:pt x="18" y="0"/>
                      <a:pt x="0" y="18"/>
                      <a:pt x="0" y="40"/>
                    </a:cubicBezTo>
                    <a:cubicBezTo>
                      <a:pt x="0" y="62"/>
                      <a:pt x="18" y="80"/>
                      <a:pt x="40" y="80"/>
                    </a:cubicBezTo>
                    <a:cubicBezTo>
                      <a:pt x="62" y="80"/>
                      <a:pt x="80" y="62"/>
                      <a:pt x="80" y="40"/>
                    </a:cubicBezTo>
                    <a:cubicBezTo>
                      <a:pt x="80" y="18"/>
                      <a:pt x="62" y="0"/>
                      <a:pt x="40"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6" name="Freeform 200">
                <a:extLst>
                  <a:ext uri="{FF2B5EF4-FFF2-40B4-BE49-F238E27FC236}">
                    <a16:creationId xmlns:a16="http://schemas.microsoft.com/office/drawing/2014/main" id="{D11E643A-8179-4E19-BC08-760A6AB33E24}"/>
                  </a:ext>
                </a:extLst>
              </p:cNvPr>
              <p:cNvSpPr>
                <a:spLocks noEditPoints="1"/>
              </p:cNvSpPr>
              <p:nvPr/>
            </p:nvSpPr>
            <p:spPr bwMode="auto">
              <a:xfrm>
                <a:off x="4646614" y="2062164"/>
                <a:ext cx="384175" cy="311150"/>
              </a:xfrm>
              <a:custGeom>
                <a:avLst/>
                <a:gdLst>
                  <a:gd name="T0" fmla="*/ 465 w 554"/>
                  <a:gd name="T1" fmla="*/ 168 h 450"/>
                  <a:gd name="T2" fmla="*/ 530 w 554"/>
                  <a:gd name="T3" fmla="*/ 88 h 450"/>
                  <a:gd name="T4" fmla="*/ 483 w 554"/>
                  <a:gd name="T5" fmla="*/ 257 h 450"/>
                  <a:gd name="T6" fmla="*/ 447 w 554"/>
                  <a:gd name="T7" fmla="*/ 273 h 450"/>
                  <a:gd name="T8" fmla="*/ 505 w 554"/>
                  <a:gd name="T9" fmla="*/ 177 h 450"/>
                  <a:gd name="T10" fmla="*/ 432 w 554"/>
                  <a:gd name="T11" fmla="*/ 273 h 450"/>
                  <a:gd name="T12" fmla="*/ 407 w 554"/>
                  <a:gd name="T13" fmla="*/ 177 h 450"/>
                  <a:gd name="T14" fmla="*/ 432 w 554"/>
                  <a:gd name="T15" fmla="*/ 273 h 450"/>
                  <a:gd name="T16" fmla="*/ 352 w 554"/>
                  <a:gd name="T17" fmla="*/ 88 h 450"/>
                  <a:gd name="T18" fmla="*/ 393 w 554"/>
                  <a:gd name="T19" fmla="*/ 168 h 450"/>
                  <a:gd name="T20" fmla="*/ 383 w 554"/>
                  <a:gd name="T21" fmla="*/ 273 h 450"/>
                  <a:gd name="T22" fmla="*/ 352 w 554"/>
                  <a:gd name="T23" fmla="*/ 177 h 450"/>
                  <a:gd name="T24" fmla="*/ 383 w 554"/>
                  <a:gd name="T25" fmla="*/ 273 h 450"/>
                  <a:gd name="T26" fmla="*/ 297 w 554"/>
                  <a:gd name="T27" fmla="*/ 168 h 450"/>
                  <a:gd name="T28" fmla="*/ 337 w 554"/>
                  <a:gd name="T29" fmla="*/ 88 h 450"/>
                  <a:gd name="T30" fmla="*/ 337 w 554"/>
                  <a:gd name="T31" fmla="*/ 273 h 450"/>
                  <a:gd name="T32" fmla="*/ 298 w 554"/>
                  <a:gd name="T33" fmla="*/ 177 h 450"/>
                  <a:gd name="T34" fmla="*/ 337 w 554"/>
                  <a:gd name="T35" fmla="*/ 273 h 450"/>
                  <a:gd name="T36" fmla="*/ 242 w 554"/>
                  <a:gd name="T37" fmla="*/ 177 h 450"/>
                  <a:gd name="T38" fmla="*/ 292 w 554"/>
                  <a:gd name="T39" fmla="*/ 273 h 450"/>
                  <a:gd name="T40" fmla="*/ 210 w 554"/>
                  <a:gd name="T41" fmla="*/ 273 h 450"/>
                  <a:gd name="T42" fmla="*/ 227 w 554"/>
                  <a:gd name="T43" fmla="*/ 177 h 450"/>
                  <a:gd name="T44" fmla="*/ 210 w 554"/>
                  <a:gd name="T45" fmla="*/ 273 h 450"/>
                  <a:gd name="T46" fmla="*/ 157 w 554"/>
                  <a:gd name="T47" fmla="*/ 268 h 450"/>
                  <a:gd name="T48" fmla="*/ 173 w 554"/>
                  <a:gd name="T49" fmla="*/ 177 h 450"/>
                  <a:gd name="T50" fmla="*/ 170 w 554"/>
                  <a:gd name="T51" fmla="*/ 273 h 450"/>
                  <a:gd name="T52" fmla="*/ 106 w 554"/>
                  <a:gd name="T53" fmla="*/ 88 h 450"/>
                  <a:gd name="T54" fmla="*/ 171 w 554"/>
                  <a:gd name="T55" fmla="*/ 168 h 450"/>
                  <a:gd name="T56" fmla="*/ 126 w 554"/>
                  <a:gd name="T57" fmla="*/ 156 h 450"/>
                  <a:gd name="T58" fmla="*/ 225 w 554"/>
                  <a:gd name="T59" fmla="*/ 168 h 450"/>
                  <a:gd name="T60" fmla="*/ 168 w 554"/>
                  <a:gd name="T61" fmla="*/ 88 h 450"/>
                  <a:gd name="T62" fmla="*/ 274 w 554"/>
                  <a:gd name="T63" fmla="*/ 88 h 450"/>
                  <a:gd name="T64" fmla="*/ 241 w 554"/>
                  <a:gd name="T65" fmla="*/ 168 h 450"/>
                  <a:gd name="T66" fmla="*/ 274 w 554"/>
                  <a:gd name="T67" fmla="*/ 88 h 450"/>
                  <a:gd name="T68" fmla="*/ 462 w 554"/>
                  <a:gd name="T69" fmla="*/ 88 h 450"/>
                  <a:gd name="T70" fmla="*/ 408 w 554"/>
                  <a:gd name="T71" fmla="*/ 168 h 450"/>
                  <a:gd name="T72" fmla="*/ 24 w 554"/>
                  <a:gd name="T73" fmla="*/ 29 h 450"/>
                  <a:gd name="T74" fmla="*/ 19 w 554"/>
                  <a:gd name="T75" fmla="*/ 13 h 450"/>
                  <a:gd name="T76" fmla="*/ 24 w 554"/>
                  <a:gd name="T77" fmla="*/ 29 h 450"/>
                  <a:gd name="T78" fmla="*/ 110 w 554"/>
                  <a:gd name="T79" fmla="*/ 63 h 450"/>
                  <a:gd name="T80" fmla="*/ 91 w 554"/>
                  <a:gd name="T81" fmla="*/ 34 h 450"/>
                  <a:gd name="T82" fmla="*/ 39 w 554"/>
                  <a:gd name="T83" fmla="*/ 12 h 450"/>
                  <a:gd name="T84" fmla="*/ 3 w 554"/>
                  <a:gd name="T85" fmla="*/ 27 h 450"/>
                  <a:gd name="T86" fmla="*/ 38 w 554"/>
                  <a:gd name="T87" fmla="*/ 31 h 450"/>
                  <a:gd name="T88" fmla="*/ 67 w 554"/>
                  <a:gd name="T89" fmla="*/ 40 h 450"/>
                  <a:gd name="T90" fmla="*/ 209 w 554"/>
                  <a:gd name="T91" fmla="*/ 450 h 450"/>
                  <a:gd name="T92" fmla="*/ 496 w 554"/>
                  <a:gd name="T93" fmla="*/ 437 h 450"/>
                  <a:gd name="T94" fmla="*/ 212 w 554"/>
                  <a:gd name="T95" fmla="*/ 420 h 450"/>
                  <a:gd name="T96" fmla="*/ 168 w 554"/>
                  <a:gd name="T97" fmla="*/ 309 h 450"/>
                  <a:gd name="T98" fmla="*/ 451 w 554"/>
                  <a:gd name="T99" fmla="*/ 314 h 450"/>
                  <a:gd name="T100" fmla="*/ 552 w 554"/>
                  <a:gd name="T101" fmla="*/ 88 h 4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54" h="450">
                    <a:moveTo>
                      <a:pt x="508" y="168"/>
                    </a:moveTo>
                    <a:lnTo>
                      <a:pt x="465" y="168"/>
                    </a:lnTo>
                    <a:lnTo>
                      <a:pt x="478" y="88"/>
                    </a:lnTo>
                    <a:lnTo>
                      <a:pt x="530" y="88"/>
                    </a:lnTo>
                    <a:lnTo>
                      <a:pt x="508" y="168"/>
                    </a:lnTo>
                    <a:close/>
                    <a:moveTo>
                      <a:pt x="483" y="257"/>
                    </a:moveTo>
                    <a:cubicBezTo>
                      <a:pt x="480" y="265"/>
                      <a:pt x="471" y="273"/>
                      <a:pt x="462" y="273"/>
                    </a:cubicBezTo>
                    <a:lnTo>
                      <a:pt x="447" y="273"/>
                    </a:lnTo>
                    <a:lnTo>
                      <a:pt x="463" y="177"/>
                    </a:lnTo>
                    <a:lnTo>
                      <a:pt x="505" y="177"/>
                    </a:lnTo>
                    <a:lnTo>
                      <a:pt x="483" y="257"/>
                    </a:lnTo>
                    <a:close/>
                    <a:moveTo>
                      <a:pt x="432" y="273"/>
                    </a:moveTo>
                    <a:lnTo>
                      <a:pt x="398" y="273"/>
                    </a:lnTo>
                    <a:lnTo>
                      <a:pt x="407" y="177"/>
                    </a:lnTo>
                    <a:lnTo>
                      <a:pt x="447" y="177"/>
                    </a:lnTo>
                    <a:lnTo>
                      <a:pt x="432" y="273"/>
                    </a:lnTo>
                    <a:close/>
                    <a:moveTo>
                      <a:pt x="352" y="168"/>
                    </a:moveTo>
                    <a:lnTo>
                      <a:pt x="352" y="88"/>
                    </a:lnTo>
                    <a:lnTo>
                      <a:pt x="401" y="88"/>
                    </a:lnTo>
                    <a:lnTo>
                      <a:pt x="393" y="168"/>
                    </a:lnTo>
                    <a:lnTo>
                      <a:pt x="352" y="168"/>
                    </a:lnTo>
                    <a:close/>
                    <a:moveTo>
                      <a:pt x="383" y="273"/>
                    </a:moveTo>
                    <a:lnTo>
                      <a:pt x="352" y="273"/>
                    </a:lnTo>
                    <a:lnTo>
                      <a:pt x="352" y="177"/>
                    </a:lnTo>
                    <a:lnTo>
                      <a:pt x="392" y="177"/>
                    </a:lnTo>
                    <a:lnTo>
                      <a:pt x="383" y="273"/>
                    </a:lnTo>
                    <a:close/>
                    <a:moveTo>
                      <a:pt x="337" y="168"/>
                    </a:moveTo>
                    <a:lnTo>
                      <a:pt x="297" y="168"/>
                    </a:lnTo>
                    <a:lnTo>
                      <a:pt x="289" y="88"/>
                    </a:lnTo>
                    <a:lnTo>
                      <a:pt x="337" y="88"/>
                    </a:lnTo>
                    <a:lnTo>
                      <a:pt x="337" y="168"/>
                    </a:lnTo>
                    <a:close/>
                    <a:moveTo>
                      <a:pt x="337" y="273"/>
                    </a:moveTo>
                    <a:lnTo>
                      <a:pt x="307" y="273"/>
                    </a:lnTo>
                    <a:lnTo>
                      <a:pt x="298" y="177"/>
                    </a:lnTo>
                    <a:lnTo>
                      <a:pt x="337" y="177"/>
                    </a:lnTo>
                    <a:lnTo>
                      <a:pt x="337" y="273"/>
                    </a:lnTo>
                    <a:close/>
                    <a:moveTo>
                      <a:pt x="258" y="273"/>
                    </a:moveTo>
                    <a:lnTo>
                      <a:pt x="242" y="177"/>
                    </a:lnTo>
                    <a:lnTo>
                      <a:pt x="282" y="177"/>
                    </a:lnTo>
                    <a:lnTo>
                      <a:pt x="292" y="273"/>
                    </a:lnTo>
                    <a:lnTo>
                      <a:pt x="258" y="273"/>
                    </a:lnTo>
                    <a:close/>
                    <a:moveTo>
                      <a:pt x="210" y="273"/>
                    </a:moveTo>
                    <a:lnTo>
                      <a:pt x="188" y="177"/>
                    </a:lnTo>
                    <a:lnTo>
                      <a:pt x="227" y="177"/>
                    </a:lnTo>
                    <a:lnTo>
                      <a:pt x="242" y="273"/>
                    </a:lnTo>
                    <a:lnTo>
                      <a:pt x="210" y="273"/>
                    </a:lnTo>
                    <a:close/>
                    <a:moveTo>
                      <a:pt x="170" y="273"/>
                    </a:moveTo>
                    <a:cubicBezTo>
                      <a:pt x="165" y="273"/>
                      <a:pt x="161" y="271"/>
                      <a:pt x="157" y="268"/>
                    </a:cubicBezTo>
                    <a:cubicBezTo>
                      <a:pt x="150" y="244"/>
                      <a:pt x="141" y="211"/>
                      <a:pt x="131" y="177"/>
                    </a:cubicBezTo>
                    <a:lnTo>
                      <a:pt x="173" y="177"/>
                    </a:lnTo>
                    <a:lnTo>
                      <a:pt x="194" y="273"/>
                    </a:lnTo>
                    <a:lnTo>
                      <a:pt x="170" y="273"/>
                    </a:lnTo>
                    <a:close/>
                    <a:moveTo>
                      <a:pt x="126" y="156"/>
                    </a:moveTo>
                    <a:cubicBezTo>
                      <a:pt x="119" y="133"/>
                      <a:pt x="112" y="109"/>
                      <a:pt x="106" y="88"/>
                    </a:cubicBezTo>
                    <a:lnTo>
                      <a:pt x="153" y="88"/>
                    </a:lnTo>
                    <a:lnTo>
                      <a:pt x="171" y="168"/>
                    </a:lnTo>
                    <a:lnTo>
                      <a:pt x="129" y="168"/>
                    </a:lnTo>
                    <a:cubicBezTo>
                      <a:pt x="128" y="164"/>
                      <a:pt x="127" y="160"/>
                      <a:pt x="126" y="156"/>
                    </a:cubicBezTo>
                    <a:close/>
                    <a:moveTo>
                      <a:pt x="212" y="88"/>
                    </a:moveTo>
                    <a:lnTo>
                      <a:pt x="225" y="168"/>
                    </a:lnTo>
                    <a:lnTo>
                      <a:pt x="186" y="168"/>
                    </a:lnTo>
                    <a:lnTo>
                      <a:pt x="168" y="88"/>
                    </a:lnTo>
                    <a:lnTo>
                      <a:pt x="212" y="88"/>
                    </a:lnTo>
                    <a:close/>
                    <a:moveTo>
                      <a:pt x="274" y="88"/>
                    </a:moveTo>
                    <a:lnTo>
                      <a:pt x="281" y="168"/>
                    </a:lnTo>
                    <a:lnTo>
                      <a:pt x="241" y="168"/>
                    </a:lnTo>
                    <a:lnTo>
                      <a:pt x="228" y="88"/>
                    </a:lnTo>
                    <a:lnTo>
                      <a:pt x="274" y="88"/>
                    </a:lnTo>
                    <a:close/>
                    <a:moveTo>
                      <a:pt x="416" y="88"/>
                    </a:moveTo>
                    <a:lnTo>
                      <a:pt x="462" y="88"/>
                    </a:lnTo>
                    <a:lnTo>
                      <a:pt x="449" y="168"/>
                    </a:lnTo>
                    <a:lnTo>
                      <a:pt x="408" y="168"/>
                    </a:lnTo>
                    <a:lnTo>
                      <a:pt x="416" y="88"/>
                    </a:lnTo>
                    <a:close/>
                    <a:moveTo>
                      <a:pt x="24" y="29"/>
                    </a:moveTo>
                    <a:cubicBezTo>
                      <a:pt x="19" y="31"/>
                      <a:pt x="15" y="28"/>
                      <a:pt x="13" y="24"/>
                    </a:cubicBezTo>
                    <a:cubicBezTo>
                      <a:pt x="12" y="19"/>
                      <a:pt x="14" y="14"/>
                      <a:pt x="19" y="13"/>
                    </a:cubicBezTo>
                    <a:cubicBezTo>
                      <a:pt x="24" y="12"/>
                      <a:pt x="28" y="14"/>
                      <a:pt x="30" y="19"/>
                    </a:cubicBezTo>
                    <a:cubicBezTo>
                      <a:pt x="31" y="23"/>
                      <a:pt x="29" y="28"/>
                      <a:pt x="24" y="29"/>
                    </a:cubicBezTo>
                    <a:close/>
                    <a:moveTo>
                      <a:pt x="533" y="63"/>
                    </a:moveTo>
                    <a:lnTo>
                      <a:pt x="110" y="63"/>
                    </a:lnTo>
                    <a:cubicBezTo>
                      <a:pt x="106" y="63"/>
                      <a:pt x="103" y="63"/>
                      <a:pt x="100" y="65"/>
                    </a:cubicBezTo>
                    <a:cubicBezTo>
                      <a:pt x="99" y="61"/>
                      <a:pt x="94" y="44"/>
                      <a:pt x="91" y="34"/>
                    </a:cubicBezTo>
                    <a:cubicBezTo>
                      <a:pt x="88" y="22"/>
                      <a:pt x="79" y="12"/>
                      <a:pt x="64" y="12"/>
                    </a:cubicBezTo>
                    <a:cubicBezTo>
                      <a:pt x="61" y="12"/>
                      <a:pt x="40" y="12"/>
                      <a:pt x="39" y="12"/>
                    </a:cubicBezTo>
                    <a:cubicBezTo>
                      <a:pt x="34" y="4"/>
                      <a:pt x="25" y="0"/>
                      <a:pt x="16" y="2"/>
                    </a:cubicBezTo>
                    <a:cubicBezTo>
                      <a:pt x="5" y="6"/>
                      <a:pt x="0" y="16"/>
                      <a:pt x="3" y="27"/>
                    </a:cubicBezTo>
                    <a:cubicBezTo>
                      <a:pt x="6" y="37"/>
                      <a:pt x="17" y="43"/>
                      <a:pt x="27" y="40"/>
                    </a:cubicBezTo>
                    <a:cubicBezTo>
                      <a:pt x="32" y="39"/>
                      <a:pt x="36" y="35"/>
                      <a:pt x="38" y="31"/>
                    </a:cubicBezTo>
                    <a:cubicBezTo>
                      <a:pt x="40" y="31"/>
                      <a:pt x="52" y="31"/>
                      <a:pt x="54" y="31"/>
                    </a:cubicBezTo>
                    <a:cubicBezTo>
                      <a:pt x="63" y="31"/>
                      <a:pt x="65" y="33"/>
                      <a:pt x="67" y="40"/>
                    </a:cubicBezTo>
                    <a:cubicBezTo>
                      <a:pt x="73" y="61"/>
                      <a:pt x="165" y="388"/>
                      <a:pt x="171" y="409"/>
                    </a:cubicBezTo>
                    <a:cubicBezTo>
                      <a:pt x="180" y="439"/>
                      <a:pt x="194" y="450"/>
                      <a:pt x="209" y="450"/>
                    </a:cubicBezTo>
                    <a:lnTo>
                      <a:pt x="483" y="450"/>
                    </a:lnTo>
                    <a:cubicBezTo>
                      <a:pt x="492" y="450"/>
                      <a:pt x="496" y="441"/>
                      <a:pt x="496" y="437"/>
                    </a:cubicBezTo>
                    <a:cubicBezTo>
                      <a:pt x="498" y="423"/>
                      <a:pt x="486" y="420"/>
                      <a:pt x="480" y="420"/>
                    </a:cubicBezTo>
                    <a:lnTo>
                      <a:pt x="212" y="420"/>
                    </a:lnTo>
                    <a:cubicBezTo>
                      <a:pt x="205" y="420"/>
                      <a:pt x="198" y="415"/>
                      <a:pt x="196" y="408"/>
                    </a:cubicBezTo>
                    <a:cubicBezTo>
                      <a:pt x="195" y="404"/>
                      <a:pt x="170" y="315"/>
                      <a:pt x="168" y="309"/>
                    </a:cubicBezTo>
                    <a:cubicBezTo>
                      <a:pt x="174" y="315"/>
                      <a:pt x="179" y="314"/>
                      <a:pt x="182" y="314"/>
                    </a:cubicBezTo>
                    <a:lnTo>
                      <a:pt x="451" y="314"/>
                    </a:lnTo>
                    <a:cubicBezTo>
                      <a:pt x="486" y="314"/>
                      <a:pt x="500" y="272"/>
                      <a:pt x="503" y="259"/>
                    </a:cubicBezTo>
                    <a:lnTo>
                      <a:pt x="552" y="88"/>
                    </a:lnTo>
                    <a:cubicBezTo>
                      <a:pt x="554" y="81"/>
                      <a:pt x="552" y="63"/>
                      <a:pt x="533" y="63"/>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grpSp>
        <p:nvGrpSpPr>
          <p:cNvPr id="66" name="Groep 65">
            <a:extLst>
              <a:ext uri="{FF2B5EF4-FFF2-40B4-BE49-F238E27FC236}">
                <a16:creationId xmlns:a16="http://schemas.microsoft.com/office/drawing/2014/main" id="{50C67954-F6B9-4B2C-81DA-45E7C73E2FE0}"/>
              </a:ext>
            </a:extLst>
          </p:cNvPr>
          <p:cNvGrpSpPr/>
          <p:nvPr/>
        </p:nvGrpSpPr>
        <p:grpSpPr>
          <a:xfrm>
            <a:off x="8116264" y="3946957"/>
            <a:ext cx="288000" cy="288000"/>
            <a:chOff x="7536161" y="3828294"/>
            <a:chExt cx="329184" cy="329184"/>
          </a:xfrm>
        </p:grpSpPr>
        <p:sp>
          <p:nvSpPr>
            <p:cNvPr id="126" name="Oval 221">
              <a:extLst>
                <a:ext uri="{FF2B5EF4-FFF2-40B4-BE49-F238E27FC236}">
                  <a16:creationId xmlns:a16="http://schemas.microsoft.com/office/drawing/2014/main" id="{98045398-7DB2-4892-AAFE-FC95F2163460}"/>
                </a:ext>
              </a:extLst>
            </p:cNvPr>
            <p:cNvSpPr/>
            <p:nvPr/>
          </p:nvSpPr>
          <p:spPr>
            <a:xfrm>
              <a:off x="7536161" y="3828294"/>
              <a:ext cx="329184" cy="329184"/>
            </a:xfrm>
            <a:prstGeom prst="ellipse">
              <a:avLst/>
            </a:prstGeom>
            <a:solidFill>
              <a:srgbClr val="7D2B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27" name="Group 1">
              <a:extLst>
                <a:ext uri="{FF2B5EF4-FFF2-40B4-BE49-F238E27FC236}">
                  <a16:creationId xmlns:a16="http://schemas.microsoft.com/office/drawing/2014/main" id="{A508A187-9E45-409E-9EA2-C19977C95D6E}"/>
                </a:ext>
              </a:extLst>
            </p:cNvPr>
            <p:cNvGrpSpPr/>
            <p:nvPr/>
          </p:nvGrpSpPr>
          <p:grpSpPr>
            <a:xfrm>
              <a:off x="7558082" y="3918651"/>
              <a:ext cx="268066" cy="148469"/>
              <a:chOff x="4827318" y="3775979"/>
              <a:chExt cx="371092" cy="205530"/>
            </a:xfrm>
          </p:grpSpPr>
          <p:sp>
            <p:nvSpPr>
              <p:cNvPr id="128" name="Tag2" descr="{&quot;Key&quot;:&quot;POWER_USER_SHAPE_ICON&quot;,&quot;Value&quot;:&quot;POWER_USER_SHAPE_ICON_STYLE_1&quot;}">
                <a:extLst>
                  <a:ext uri="{FF2B5EF4-FFF2-40B4-BE49-F238E27FC236}">
                    <a16:creationId xmlns:a16="http://schemas.microsoft.com/office/drawing/2014/main" id="{208FBFF8-3DD6-4C79-9B73-2E7159210ADF}"/>
                  </a:ext>
                </a:extLst>
              </p:cNvPr>
              <p:cNvSpPr>
                <a:spLocks noChangeAspect="1" noEditPoints="1"/>
              </p:cNvSpPr>
              <p:nvPr>
                <p:custDataLst>
                  <p:tags r:id="rId6"/>
                </p:custDataLst>
              </p:nvPr>
            </p:nvSpPr>
            <p:spPr bwMode="auto">
              <a:xfrm>
                <a:off x="4827318" y="3775979"/>
                <a:ext cx="179598" cy="178796"/>
              </a:xfrm>
              <a:custGeom>
                <a:avLst/>
                <a:gdLst>
                  <a:gd name="T0" fmla="*/ 537 w 621"/>
                  <a:gd name="T1" fmla="*/ 117 h 617"/>
                  <a:gd name="T2" fmla="*/ 504 w 621"/>
                  <a:gd name="T3" fmla="*/ 83 h 617"/>
                  <a:gd name="T4" fmla="*/ 537 w 621"/>
                  <a:gd name="T5" fmla="*/ 50 h 617"/>
                  <a:gd name="T6" fmla="*/ 571 w 621"/>
                  <a:gd name="T7" fmla="*/ 83 h 617"/>
                  <a:gd name="T8" fmla="*/ 537 w 621"/>
                  <a:gd name="T9" fmla="*/ 117 h 617"/>
                  <a:gd name="T10" fmla="*/ 601 w 621"/>
                  <a:gd name="T11" fmla="*/ 0 h 617"/>
                  <a:gd name="T12" fmla="*/ 600 w 621"/>
                  <a:gd name="T13" fmla="*/ 0 h 617"/>
                  <a:gd name="T14" fmla="*/ 599 w 621"/>
                  <a:gd name="T15" fmla="*/ 0 h 617"/>
                  <a:gd name="T16" fmla="*/ 341 w 621"/>
                  <a:gd name="T17" fmla="*/ 0 h 617"/>
                  <a:gd name="T18" fmla="*/ 318 w 621"/>
                  <a:gd name="T19" fmla="*/ 12 h 617"/>
                  <a:gd name="T20" fmla="*/ 16 w 621"/>
                  <a:gd name="T21" fmla="*/ 314 h 617"/>
                  <a:gd name="T22" fmla="*/ 16 w 621"/>
                  <a:gd name="T23" fmla="*/ 372 h 617"/>
                  <a:gd name="T24" fmla="*/ 248 w 621"/>
                  <a:gd name="T25" fmla="*/ 605 h 617"/>
                  <a:gd name="T26" fmla="*/ 277 w 621"/>
                  <a:gd name="T27" fmla="*/ 617 h 617"/>
                  <a:gd name="T28" fmla="*/ 306 w 621"/>
                  <a:gd name="T29" fmla="*/ 605 h 617"/>
                  <a:gd name="T30" fmla="*/ 608 w 621"/>
                  <a:gd name="T31" fmla="*/ 302 h 617"/>
                  <a:gd name="T32" fmla="*/ 621 w 621"/>
                  <a:gd name="T33" fmla="*/ 280 h 617"/>
                  <a:gd name="T34" fmla="*/ 621 w 621"/>
                  <a:gd name="T35" fmla="*/ 20 h 617"/>
                  <a:gd name="T36" fmla="*/ 601 w 621"/>
                  <a:gd name="T37" fmla="*/ 0 h 6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21" h="617">
                    <a:moveTo>
                      <a:pt x="537" y="117"/>
                    </a:moveTo>
                    <a:cubicBezTo>
                      <a:pt x="519" y="117"/>
                      <a:pt x="504" y="102"/>
                      <a:pt x="504" y="83"/>
                    </a:cubicBezTo>
                    <a:cubicBezTo>
                      <a:pt x="504" y="65"/>
                      <a:pt x="519" y="50"/>
                      <a:pt x="537" y="50"/>
                    </a:cubicBezTo>
                    <a:cubicBezTo>
                      <a:pt x="556" y="50"/>
                      <a:pt x="571" y="65"/>
                      <a:pt x="571" y="83"/>
                    </a:cubicBezTo>
                    <a:cubicBezTo>
                      <a:pt x="571" y="102"/>
                      <a:pt x="556" y="117"/>
                      <a:pt x="537" y="117"/>
                    </a:cubicBezTo>
                    <a:close/>
                    <a:moveTo>
                      <a:pt x="601" y="0"/>
                    </a:moveTo>
                    <a:lnTo>
                      <a:pt x="600" y="0"/>
                    </a:lnTo>
                    <a:cubicBezTo>
                      <a:pt x="600" y="0"/>
                      <a:pt x="600" y="0"/>
                      <a:pt x="599" y="0"/>
                    </a:cubicBezTo>
                    <a:lnTo>
                      <a:pt x="341" y="0"/>
                    </a:lnTo>
                    <a:cubicBezTo>
                      <a:pt x="334" y="0"/>
                      <a:pt x="320" y="10"/>
                      <a:pt x="318" y="12"/>
                    </a:cubicBezTo>
                    <a:lnTo>
                      <a:pt x="16" y="314"/>
                    </a:lnTo>
                    <a:cubicBezTo>
                      <a:pt x="0" y="330"/>
                      <a:pt x="0" y="356"/>
                      <a:pt x="16" y="372"/>
                    </a:cubicBezTo>
                    <a:lnTo>
                      <a:pt x="248" y="605"/>
                    </a:lnTo>
                    <a:cubicBezTo>
                      <a:pt x="256" y="613"/>
                      <a:pt x="267" y="617"/>
                      <a:pt x="277" y="617"/>
                    </a:cubicBezTo>
                    <a:cubicBezTo>
                      <a:pt x="288" y="617"/>
                      <a:pt x="298" y="613"/>
                      <a:pt x="306" y="605"/>
                    </a:cubicBezTo>
                    <a:lnTo>
                      <a:pt x="608" y="302"/>
                    </a:lnTo>
                    <a:cubicBezTo>
                      <a:pt x="610" y="300"/>
                      <a:pt x="621" y="288"/>
                      <a:pt x="621" y="280"/>
                    </a:cubicBezTo>
                    <a:lnTo>
                      <a:pt x="621" y="20"/>
                    </a:lnTo>
                    <a:cubicBezTo>
                      <a:pt x="621" y="9"/>
                      <a:pt x="613" y="0"/>
                      <a:pt x="601"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9" name="Shopping_Basket2" descr="{&quot;Key&quot;:&quot;POWER_USER_SHAPE_ICON&quot;,&quot;Value&quot;:&quot;POWER_USER_SHAPE_ICON_STYLE_1&quot;}">
                <a:extLst>
                  <a:ext uri="{FF2B5EF4-FFF2-40B4-BE49-F238E27FC236}">
                    <a16:creationId xmlns:a16="http://schemas.microsoft.com/office/drawing/2014/main" id="{BBFCCB61-34A1-4833-9831-1373CB98892F}"/>
                  </a:ext>
                </a:extLst>
              </p:cNvPr>
              <p:cNvSpPr>
                <a:spLocks noChangeAspect="1" noChangeArrowheads="1"/>
              </p:cNvSpPr>
              <p:nvPr>
                <p:custDataLst>
                  <p:tags r:id="rId7"/>
                </p:custDataLst>
              </p:nvPr>
            </p:nvSpPr>
            <p:spPr bwMode="auto">
              <a:xfrm>
                <a:off x="4994952" y="3802713"/>
                <a:ext cx="203458" cy="178796"/>
              </a:xfrm>
              <a:custGeom>
                <a:avLst/>
                <a:gdLst>
                  <a:gd name="T0" fmla="*/ 429 w 583"/>
                  <a:gd name="T1" fmla="*/ 183 h 512"/>
                  <a:gd name="T2" fmla="*/ 312 w 583"/>
                  <a:gd name="T3" fmla="*/ 10 h 512"/>
                  <a:gd name="T4" fmla="*/ 291 w 583"/>
                  <a:gd name="T5" fmla="*/ 0 h 512"/>
                  <a:gd name="T6" fmla="*/ 271 w 583"/>
                  <a:gd name="T7" fmla="*/ 10 h 512"/>
                  <a:gd name="T8" fmla="*/ 153 w 583"/>
                  <a:gd name="T9" fmla="*/ 183 h 512"/>
                  <a:gd name="T10" fmla="*/ 26 w 583"/>
                  <a:gd name="T11" fmla="*/ 183 h 512"/>
                  <a:gd name="T12" fmla="*/ 0 w 583"/>
                  <a:gd name="T13" fmla="*/ 214 h 512"/>
                  <a:gd name="T14" fmla="*/ 0 w 583"/>
                  <a:gd name="T15" fmla="*/ 219 h 512"/>
                  <a:gd name="T16" fmla="*/ 66 w 583"/>
                  <a:gd name="T17" fmla="*/ 470 h 512"/>
                  <a:gd name="T18" fmla="*/ 117 w 583"/>
                  <a:gd name="T19" fmla="*/ 511 h 512"/>
                  <a:gd name="T20" fmla="*/ 465 w 583"/>
                  <a:gd name="T21" fmla="*/ 511 h 512"/>
                  <a:gd name="T22" fmla="*/ 516 w 583"/>
                  <a:gd name="T23" fmla="*/ 470 h 512"/>
                  <a:gd name="T24" fmla="*/ 582 w 583"/>
                  <a:gd name="T25" fmla="*/ 219 h 512"/>
                  <a:gd name="T26" fmla="*/ 582 w 583"/>
                  <a:gd name="T27" fmla="*/ 214 h 512"/>
                  <a:gd name="T28" fmla="*/ 552 w 583"/>
                  <a:gd name="T29" fmla="*/ 183 h 512"/>
                  <a:gd name="T30" fmla="*/ 429 w 583"/>
                  <a:gd name="T31" fmla="*/ 183 h 512"/>
                  <a:gd name="T32" fmla="*/ 209 w 583"/>
                  <a:gd name="T33" fmla="*/ 183 h 512"/>
                  <a:gd name="T34" fmla="*/ 291 w 583"/>
                  <a:gd name="T35" fmla="*/ 66 h 512"/>
                  <a:gd name="T36" fmla="*/ 373 w 583"/>
                  <a:gd name="T37" fmla="*/ 183 h 512"/>
                  <a:gd name="T38" fmla="*/ 209 w 583"/>
                  <a:gd name="T39" fmla="*/ 183 h 512"/>
                  <a:gd name="T40" fmla="*/ 291 w 583"/>
                  <a:gd name="T41" fmla="*/ 398 h 512"/>
                  <a:gd name="T42" fmla="*/ 240 w 583"/>
                  <a:gd name="T43" fmla="*/ 347 h 512"/>
                  <a:gd name="T44" fmla="*/ 291 w 583"/>
                  <a:gd name="T45" fmla="*/ 291 h 512"/>
                  <a:gd name="T46" fmla="*/ 347 w 583"/>
                  <a:gd name="T47" fmla="*/ 347 h 512"/>
                  <a:gd name="T48" fmla="*/ 291 w 583"/>
                  <a:gd name="T49" fmla="*/ 39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83" h="512">
                    <a:moveTo>
                      <a:pt x="429" y="183"/>
                    </a:moveTo>
                    <a:lnTo>
                      <a:pt x="312" y="10"/>
                    </a:lnTo>
                    <a:cubicBezTo>
                      <a:pt x="307" y="5"/>
                      <a:pt x="299" y="0"/>
                      <a:pt x="291" y="0"/>
                    </a:cubicBezTo>
                    <a:cubicBezTo>
                      <a:pt x="284" y="0"/>
                      <a:pt x="276" y="0"/>
                      <a:pt x="271" y="10"/>
                    </a:cubicBezTo>
                    <a:lnTo>
                      <a:pt x="153" y="183"/>
                    </a:lnTo>
                    <a:lnTo>
                      <a:pt x="26" y="183"/>
                    </a:lnTo>
                    <a:cubicBezTo>
                      <a:pt x="10" y="183"/>
                      <a:pt x="0" y="194"/>
                      <a:pt x="0" y="214"/>
                    </a:cubicBezTo>
                    <a:lnTo>
                      <a:pt x="0" y="219"/>
                    </a:lnTo>
                    <a:lnTo>
                      <a:pt x="66" y="470"/>
                    </a:lnTo>
                    <a:cubicBezTo>
                      <a:pt x="72" y="490"/>
                      <a:pt x="92" y="511"/>
                      <a:pt x="117" y="511"/>
                    </a:cubicBezTo>
                    <a:lnTo>
                      <a:pt x="465" y="511"/>
                    </a:lnTo>
                    <a:cubicBezTo>
                      <a:pt x="485" y="511"/>
                      <a:pt x="506" y="490"/>
                      <a:pt x="516" y="470"/>
                    </a:cubicBezTo>
                    <a:lnTo>
                      <a:pt x="582" y="219"/>
                    </a:lnTo>
                    <a:lnTo>
                      <a:pt x="582" y="214"/>
                    </a:lnTo>
                    <a:cubicBezTo>
                      <a:pt x="582" y="194"/>
                      <a:pt x="572" y="183"/>
                      <a:pt x="552" y="183"/>
                    </a:cubicBezTo>
                    <a:lnTo>
                      <a:pt x="429" y="183"/>
                    </a:lnTo>
                    <a:close/>
                    <a:moveTo>
                      <a:pt x="209" y="183"/>
                    </a:moveTo>
                    <a:lnTo>
                      <a:pt x="291" y="66"/>
                    </a:lnTo>
                    <a:lnTo>
                      <a:pt x="373" y="183"/>
                    </a:lnTo>
                    <a:lnTo>
                      <a:pt x="209" y="183"/>
                    </a:lnTo>
                    <a:close/>
                    <a:moveTo>
                      <a:pt x="291" y="398"/>
                    </a:moveTo>
                    <a:cubicBezTo>
                      <a:pt x="261" y="398"/>
                      <a:pt x="240" y="375"/>
                      <a:pt x="240" y="347"/>
                    </a:cubicBezTo>
                    <a:cubicBezTo>
                      <a:pt x="240" y="319"/>
                      <a:pt x="261" y="291"/>
                      <a:pt x="291" y="291"/>
                    </a:cubicBezTo>
                    <a:cubicBezTo>
                      <a:pt x="322" y="291"/>
                      <a:pt x="347" y="319"/>
                      <a:pt x="347" y="347"/>
                    </a:cubicBezTo>
                    <a:cubicBezTo>
                      <a:pt x="347" y="375"/>
                      <a:pt x="322" y="398"/>
                      <a:pt x="291" y="398"/>
                    </a:cubicBezTo>
                    <a:close/>
                  </a:path>
                </a:pathLst>
              </a:custGeom>
              <a:solidFill>
                <a:schemeClr val="bg1"/>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grpSp>
        <p:nvGrpSpPr>
          <p:cNvPr id="68" name="Groep 67">
            <a:extLst>
              <a:ext uri="{FF2B5EF4-FFF2-40B4-BE49-F238E27FC236}">
                <a16:creationId xmlns:a16="http://schemas.microsoft.com/office/drawing/2014/main" id="{F5EF8927-4AD5-4B46-9829-5F8DE8F7E8C5}"/>
              </a:ext>
            </a:extLst>
          </p:cNvPr>
          <p:cNvGrpSpPr/>
          <p:nvPr/>
        </p:nvGrpSpPr>
        <p:grpSpPr>
          <a:xfrm>
            <a:off x="7235887" y="4435453"/>
            <a:ext cx="252000" cy="252000"/>
            <a:chOff x="8342489" y="1970656"/>
            <a:chExt cx="329184" cy="329184"/>
          </a:xfrm>
        </p:grpSpPr>
        <p:sp>
          <p:nvSpPr>
            <p:cNvPr id="116" name="Oval 53">
              <a:extLst>
                <a:ext uri="{FF2B5EF4-FFF2-40B4-BE49-F238E27FC236}">
                  <a16:creationId xmlns:a16="http://schemas.microsoft.com/office/drawing/2014/main" id="{D418EA53-E79A-40AE-BB52-B0DF9D8B43D1}"/>
                </a:ext>
              </a:extLst>
            </p:cNvPr>
            <p:cNvSpPr/>
            <p:nvPr/>
          </p:nvSpPr>
          <p:spPr>
            <a:xfrm>
              <a:off x="8342489" y="1970656"/>
              <a:ext cx="329184" cy="329184"/>
            </a:xfrm>
            <a:prstGeom prst="ellipse">
              <a:avLst/>
            </a:prstGeom>
            <a:solidFill>
              <a:srgbClr val="62366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17" name="Shopping_cart" descr="{&quot;Key&quot;:&quot;POWER_USER_SHAPE_ICON&quot;,&quot;Value&quot;:&quot;POWER_USER_SHAPE_ICON_STYLE_1&quot;}">
              <a:extLst>
                <a:ext uri="{FF2B5EF4-FFF2-40B4-BE49-F238E27FC236}">
                  <a16:creationId xmlns:a16="http://schemas.microsoft.com/office/drawing/2014/main" id="{553049C4-F2D9-487A-A17C-5E8D6FA3EA7A}"/>
                </a:ext>
              </a:extLst>
            </p:cNvPr>
            <p:cNvGrpSpPr>
              <a:grpSpLocks noChangeAspect="1"/>
            </p:cNvGrpSpPr>
            <p:nvPr>
              <p:custDataLst>
                <p:tags r:id="rId5"/>
              </p:custDataLst>
            </p:nvPr>
          </p:nvGrpSpPr>
          <p:grpSpPr>
            <a:xfrm>
              <a:off x="8380012" y="2028686"/>
              <a:ext cx="235088" cy="232174"/>
              <a:chOff x="4646614" y="2062164"/>
              <a:chExt cx="384175" cy="379413"/>
            </a:xfrm>
            <a:solidFill>
              <a:schemeClr val="bg1"/>
            </a:solidFill>
          </p:grpSpPr>
          <p:sp>
            <p:nvSpPr>
              <p:cNvPr id="118" name="Freeform 198">
                <a:extLst>
                  <a:ext uri="{FF2B5EF4-FFF2-40B4-BE49-F238E27FC236}">
                    <a16:creationId xmlns:a16="http://schemas.microsoft.com/office/drawing/2014/main" id="{A1541277-CDEE-4E15-8DC3-0C71EC984EB2}"/>
                  </a:ext>
                </a:extLst>
              </p:cNvPr>
              <p:cNvSpPr>
                <a:spLocks noEditPoints="1"/>
              </p:cNvSpPr>
              <p:nvPr/>
            </p:nvSpPr>
            <p:spPr bwMode="auto">
              <a:xfrm>
                <a:off x="4773614" y="2386014"/>
                <a:ext cx="55563" cy="55563"/>
              </a:xfrm>
              <a:custGeom>
                <a:avLst/>
                <a:gdLst>
                  <a:gd name="T0" fmla="*/ 40 w 80"/>
                  <a:gd name="T1" fmla="*/ 55 h 80"/>
                  <a:gd name="T2" fmla="*/ 25 w 80"/>
                  <a:gd name="T3" fmla="*/ 40 h 80"/>
                  <a:gd name="T4" fmla="*/ 40 w 80"/>
                  <a:gd name="T5" fmla="*/ 25 h 80"/>
                  <a:gd name="T6" fmla="*/ 55 w 80"/>
                  <a:gd name="T7" fmla="*/ 40 h 80"/>
                  <a:gd name="T8" fmla="*/ 40 w 80"/>
                  <a:gd name="T9" fmla="*/ 55 h 80"/>
                  <a:gd name="T10" fmla="*/ 40 w 80"/>
                  <a:gd name="T11" fmla="*/ 0 h 80"/>
                  <a:gd name="T12" fmla="*/ 0 w 80"/>
                  <a:gd name="T13" fmla="*/ 40 h 80"/>
                  <a:gd name="T14" fmla="*/ 40 w 80"/>
                  <a:gd name="T15" fmla="*/ 80 h 80"/>
                  <a:gd name="T16" fmla="*/ 80 w 80"/>
                  <a:gd name="T17" fmla="*/ 40 h 80"/>
                  <a:gd name="T18" fmla="*/ 40 w 80"/>
                  <a:gd name="T19"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0" h="80">
                    <a:moveTo>
                      <a:pt x="40" y="55"/>
                    </a:moveTo>
                    <a:cubicBezTo>
                      <a:pt x="32" y="55"/>
                      <a:pt x="25" y="48"/>
                      <a:pt x="25" y="40"/>
                    </a:cubicBezTo>
                    <a:cubicBezTo>
                      <a:pt x="25" y="32"/>
                      <a:pt x="32" y="25"/>
                      <a:pt x="40" y="25"/>
                    </a:cubicBezTo>
                    <a:cubicBezTo>
                      <a:pt x="48" y="25"/>
                      <a:pt x="55" y="32"/>
                      <a:pt x="55" y="40"/>
                    </a:cubicBezTo>
                    <a:cubicBezTo>
                      <a:pt x="55" y="48"/>
                      <a:pt x="48" y="55"/>
                      <a:pt x="40" y="55"/>
                    </a:cubicBezTo>
                    <a:close/>
                    <a:moveTo>
                      <a:pt x="40" y="0"/>
                    </a:moveTo>
                    <a:cubicBezTo>
                      <a:pt x="18" y="0"/>
                      <a:pt x="0" y="18"/>
                      <a:pt x="0" y="40"/>
                    </a:cubicBezTo>
                    <a:cubicBezTo>
                      <a:pt x="0" y="62"/>
                      <a:pt x="18" y="80"/>
                      <a:pt x="40" y="80"/>
                    </a:cubicBezTo>
                    <a:cubicBezTo>
                      <a:pt x="62" y="80"/>
                      <a:pt x="80" y="62"/>
                      <a:pt x="80" y="40"/>
                    </a:cubicBezTo>
                    <a:cubicBezTo>
                      <a:pt x="80" y="18"/>
                      <a:pt x="62" y="0"/>
                      <a:pt x="40"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9" name="Freeform 199">
                <a:extLst>
                  <a:ext uri="{FF2B5EF4-FFF2-40B4-BE49-F238E27FC236}">
                    <a16:creationId xmlns:a16="http://schemas.microsoft.com/office/drawing/2014/main" id="{BEA11E25-436B-4B4F-94B3-03CFD8F9169A}"/>
                  </a:ext>
                </a:extLst>
              </p:cNvPr>
              <p:cNvSpPr>
                <a:spLocks noEditPoints="1"/>
              </p:cNvSpPr>
              <p:nvPr/>
            </p:nvSpPr>
            <p:spPr bwMode="auto">
              <a:xfrm>
                <a:off x="4929189" y="2386014"/>
                <a:ext cx="55563" cy="55563"/>
              </a:xfrm>
              <a:custGeom>
                <a:avLst/>
                <a:gdLst>
                  <a:gd name="T0" fmla="*/ 40 w 80"/>
                  <a:gd name="T1" fmla="*/ 55 h 80"/>
                  <a:gd name="T2" fmla="*/ 25 w 80"/>
                  <a:gd name="T3" fmla="*/ 40 h 80"/>
                  <a:gd name="T4" fmla="*/ 40 w 80"/>
                  <a:gd name="T5" fmla="*/ 25 h 80"/>
                  <a:gd name="T6" fmla="*/ 55 w 80"/>
                  <a:gd name="T7" fmla="*/ 40 h 80"/>
                  <a:gd name="T8" fmla="*/ 40 w 80"/>
                  <a:gd name="T9" fmla="*/ 55 h 80"/>
                  <a:gd name="T10" fmla="*/ 40 w 80"/>
                  <a:gd name="T11" fmla="*/ 0 h 80"/>
                  <a:gd name="T12" fmla="*/ 0 w 80"/>
                  <a:gd name="T13" fmla="*/ 40 h 80"/>
                  <a:gd name="T14" fmla="*/ 40 w 80"/>
                  <a:gd name="T15" fmla="*/ 80 h 80"/>
                  <a:gd name="T16" fmla="*/ 80 w 80"/>
                  <a:gd name="T17" fmla="*/ 40 h 80"/>
                  <a:gd name="T18" fmla="*/ 40 w 80"/>
                  <a:gd name="T19"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0" h="80">
                    <a:moveTo>
                      <a:pt x="40" y="55"/>
                    </a:moveTo>
                    <a:cubicBezTo>
                      <a:pt x="32" y="55"/>
                      <a:pt x="25" y="48"/>
                      <a:pt x="25" y="40"/>
                    </a:cubicBezTo>
                    <a:cubicBezTo>
                      <a:pt x="25" y="32"/>
                      <a:pt x="32" y="25"/>
                      <a:pt x="40" y="25"/>
                    </a:cubicBezTo>
                    <a:cubicBezTo>
                      <a:pt x="48" y="25"/>
                      <a:pt x="55" y="32"/>
                      <a:pt x="55" y="40"/>
                    </a:cubicBezTo>
                    <a:cubicBezTo>
                      <a:pt x="55" y="48"/>
                      <a:pt x="48" y="55"/>
                      <a:pt x="40" y="55"/>
                    </a:cubicBezTo>
                    <a:close/>
                    <a:moveTo>
                      <a:pt x="40" y="0"/>
                    </a:moveTo>
                    <a:cubicBezTo>
                      <a:pt x="18" y="0"/>
                      <a:pt x="0" y="18"/>
                      <a:pt x="0" y="40"/>
                    </a:cubicBezTo>
                    <a:cubicBezTo>
                      <a:pt x="0" y="62"/>
                      <a:pt x="18" y="80"/>
                      <a:pt x="40" y="80"/>
                    </a:cubicBezTo>
                    <a:cubicBezTo>
                      <a:pt x="62" y="80"/>
                      <a:pt x="80" y="62"/>
                      <a:pt x="80" y="40"/>
                    </a:cubicBezTo>
                    <a:cubicBezTo>
                      <a:pt x="80" y="18"/>
                      <a:pt x="62" y="0"/>
                      <a:pt x="40"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0" name="Freeform 200">
                <a:extLst>
                  <a:ext uri="{FF2B5EF4-FFF2-40B4-BE49-F238E27FC236}">
                    <a16:creationId xmlns:a16="http://schemas.microsoft.com/office/drawing/2014/main" id="{5E969609-1F1D-4EB8-BE7E-D5B22161E77C}"/>
                  </a:ext>
                </a:extLst>
              </p:cNvPr>
              <p:cNvSpPr>
                <a:spLocks noEditPoints="1"/>
              </p:cNvSpPr>
              <p:nvPr/>
            </p:nvSpPr>
            <p:spPr bwMode="auto">
              <a:xfrm>
                <a:off x="4646614" y="2062164"/>
                <a:ext cx="384175" cy="311150"/>
              </a:xfrm>
              <a:custGeom>
                <a:avLst/>
                <a:gdLst>
                  <a:gd name="T0" fmla="*/ 465 w 554"/>
                  <a:gd name="T1" fmla="*/ 168 h 450"/>
                  <a:gd name="T2" fmla="*/ 530 w 554"/>
                  <a:gd name="T3" fmla="*/ 88 h 450"/>
                  <a:gd name="T4" fmla="*/ 483 w 554"/>
                  <a:gd name="T5" fmla="*/ 257 h 450"/>
                  <a:gd name="T6" fmla="*/ 447 w 554"/>
                  <a:gd name="T7" fmla="*/ 273 h 450"/>
                  <a:gd name="T8" fmla="*/ 505 w 554"/>
                  <a:gd name="T9" fmla="*/ 177 h 450"/>
                  <a:gd name="T10" fmla="*/ 432 w 554"/>
                  <a:gd name="T11" fmla="*/ 273 h 450"/>
                  <a:gd name="T12" fmla="*/ 407 w 554"/>
                  <a:gd name="T13" fmla="*/ 177 h 450"/>
                  <a:gd name="T14" fmla="*/ 432 w 554"/>
                  <a:gd name="T15" fmla="*/ 273 h 450"/>
                  <a:gd name="T16" fmla="*/ 352 w 554"/>
                  <a:gd name="T17" fmla="*/ 88 h 450"/>
                  <a:gd name="T18" fmla="*/ 393 w 554"/>
                  <a:gd name="T19" fmla="*/ 168 h 450"/>
                  <a:gd name="T20" fmla="*/ 383 w 554"/>
                  <a:gd name="T21" fmla="*/ 273 h 450"/>
                  <a:gd name="T22" fmla="*/ 352 w 554"/>
                  <a:gd name="T23" fmla="*/ 177 h 450"/>
                  <a:gd name="T24" fmla="*/ 383 w 554"/>
                  <a:gd name="T25" fmla="*/ 273 h 450"/>
                  <a:gd name="T26" fmla="*/ 297 w 554"/>
                  <a:gd name="T27" fmla="*/ 168 h 450"/>
                  <a:gd name="T28" fmla="*/ 337 w 554"/>
                  <a:gd name="T29" fmla="*/ 88 h 450"/>
                  <a:gd name="T30" fmla="*/ 337 w 554"/>
                  <a:gd name="T31" fmla="*/ 273 h 450"/>
                  <a:gd name="T32" fmla="*/ 298 w 554"/>
                  <a:gd name="T33" fmla="*/ 177 h 450"/>
                  <a:gd name="T34" fmla="*/ 337 w 554"/>
                  <a:gd name="T35" fmla="*/ 273 h 450"/>
                  <a:gd name="T36" fmla="*/ 242 w 554"/>
                  <a:gd name="T37" fmla="*/ 177 h 450"/>
                  <a:gd name="T38" fmla="*/ 292 w 554"/>
                  <a:gd name="T39" fmla="*/ 273 h 450"/>
                  <a:gd name="T40" fmla="*/ 210 w 554"/>
                  <a:gd name="T41" fmla="*/ 273 h 450"/>
                  <a:gd name="T42" fmla="*/ 227 w 554"/>
                  <a:gd name="T43" fmla="*/ 177 h 450"/>
                  <a:gd name="T44" fmla="*/ 210 w 554"/>
                  <a:gd name="T45" fmla="*/ 273 h 450"/>
                  <a:gd name="T46" fmla="*/ 157 w 554"/>
                  <a:gd name="T47" fmla="*/ 268 h 450"/>
                  <a:gd name="T48" fmla="*/ 173 w 554"/>
                  <a:gd name="T49" fmla="*/ 177 h 450"/>
                  <a:gd name="T50" fmla="*/ 170 w 554"/>
                  <a:gd name="T51" fmla="*/ 273 h 450"/>
                  <a:gd name="T52" fmla="*/ 106 w 554"/>
                  <a:gd name="T53" fmla="*/ 88 h 450"/>
                  <a:gd name="T54" fmla="*/ 171 w 554"/>
                  <a:gd name="T55" fmla="*/ 168 h 450"/>
                  <a:gd name="T56" fmla="*/ 126 w 554"/>
                  <a:gd name="T57" fmla="*/ 156 h 450"/>
                  <a:gd name="T58" fmla="*/ 225 w 554"/>
                  <a:gd name="T59" fmla="*/ 168 h 450"/>
                  <a:gd name="T60" fmla="*/ 168 w 554"/>
                  <a:gd name="T61" fmla="*/ 88 h 450"/>
                  <a:gd name="T62" fmla="*/ 274 w 554"/>
                  <a:gd name="T63" fmla="*/ 88 h 450"/>
                  <a:gd name="T64" fmla="*/ 241 w 554"/>
                  <a:gd name="T65" fmla="*/ 168 h 450"/>
                  <a:gd name="T66" fmla="*/ 274 w 554"/>
                  <a:gd name="T67" fmla="*/ 88 h 450"/>
                  <a:gd name="T68" fmla="*/ 462 w 554"/>
                  <a:gd name="T69" fmla="*/ 88 h 450"/>
                  <a:gd name="T70" fmla="*/ 408 w 554"/>
                  <a:gd name="T71" fmla="*/ 168 h 450"/>
                  <a:gd name="T72" fmla="*/ 24 w 554"/>
                  <a:gd name="T73" fmla="*/ 29 h 450"/>
                  <a:gd name="T74" fmla="*/ 19 w 554"/>
                  <a:gd name="T75" fmla="*/ 13 h 450"/>
                  <a:gd name="T76" fmla="*/ 24 w 554"/>
                  <a:gd name="T77" fmla="*/ 29 h 450"/>
                  <a:gd name="T78" fmla="*/ 110 w 554"/>
                  <a:gd name="T79" fmla="*/ 63 h 450"/>
                  <a:gd name="T80" fmla="*/ 91 w 554"/>
                  <a:gd name="T81" fmla="*/ 34 h 450"/>
                  <a:gd name="T82" fmla="*/ 39 w 554"/>
                  <a:gd name="T83" fmla="*/ 12 h 450"/>
                  <a:gd name="T84" fmla="*/ 3 w 554"/>
                  <a:gd name="T85" fmla="*/ 27 h 450"/>
                  <a:gd name="T86" fmla="*/ 38 w 554"/>
                  <a:gd name="T87" fmla="*/ 31 h 450"/>
                  <a:gd name="T88" fmla="*/ 67 w 554"/>
                  <a:gd name="T89" fmla="*/ 40 h 450"/>
                  <a:gd name="T90" fmla="*/ 209 w 554"/>
                  <a:gd name="T91" fmla="*/ 450 h 450"/>
                  <a:gd name="T92" fmla="*/ 496 w 554"/>
                  <a:gd name="T93" fmla="*/ 437 h 450"/>
                  <a:gd name="T94" fmla="*/ 212 w 554"/>
                  <a:gd name="T95" fmla="*/ 420 h 450"/>
                  <a:gd name="T96" fmla="*/ 168 w 554"/>
                  <a:gd name="T97" fmla="*/ 309 h 450"/>
                  <a:gd name="T98" fmla="*/ 451 w 554"/>
                  <a:gd name="T99" fmla="*/ 314 h 450"/>
                  <a:gd name="T100" fmla="*/ 552 w 554"/>
                  <a:gd name="T101" fmla="*/ 88 h 4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54" h="450">
                    <a:moveTo>
                      <a:pt x="508" y="168"/>
                    </a:moveTo>
                    <a:lnTo>
                      <a:pt x="465" y="168"/>
                    </a:lnTo>
                    <a:lnTo>
                      <a:pt x="478" y="88"/>
                    </a:lnTo>
                    <a:lnTo>
                      <a:pt x="530" y="88"/>
                    </a:lnTo>
                    <a:lnTo>
                      <a:pt x="508" y="168"/>
                    </a:lnTo>
                    <a:close/>
                    <a:moveTo>
                      <a:pt x="483" y="257"/>
                    </a:moveTo>
                    <a:cubicBezTo>
                      <a:pt x="480" y="265"/>
                      <a:pt x="471" y="273"/>
                      <a:pt x="462" y="273"/>
                    </a:cubicBezTo>
                    <a:lnTo>
                      <a:pt x="447" y="273"/>
                    </a:lnTo>
                    <a:lnTo>
                      <a:pt x="463" y="177"/>
                    </a:lnTo>
                    <a:lnTo>
                      <a:pt x="505" y="177"/>
                    </a:lnTo>
                    <a:lnTo>
                      <a:pt x="483" y="257"/>
                    </a:lnTo>
                    <a:close/>
                    <a:moveTo>
                      <a:pt x="432" y="273"/>
                    </a:moveTo>
                    <a:lnTo>
                      <a:pt x="398" y="273"/>
                    </a:lnTo>
                    <a:lnTo>
                      <a:pt x="407" y="177"/>
                    </a:lnTo>
                    <a:lnTo>
                      <a:pt x="447" y="177"/>
                    </a:lnTo>
                    <a:lnTo>
                      <a:pt x="432" y="273"/>
                    </a:lnTo>
                    <a:close/>
                    <a:moveTo>
                      <a:pt x="352" y="168"/>
                    </a:moveTo>
                    <a:lnTo>
                      <a:pt x="352" y="88"/>
                    </a:lnTo>
                    <a:lnTo>
                      <a:pt x="401" y="88"/>
                    </a:lnTo>
                    <a:lnTo>
                      <a:pt x="393" y="168"/>
                    </a:lnTo>
                    <a:lnTo>
                      <a:pt x="352" y="168"/>
                    </a:lnTo>
                    <a:close/>
                    <a:moveTo>
                      <a:pt x="383" y="273"/>
                    </a:moveTo>
                    <a:lnTo>
                      <a:pt x="352" y="273"/>
                    </a:lnTo>
                    <a:lnTo>
                      <a:pt x="352" y="177"/>
                    </a:lnTo>
                    <a:lnTo>
                      <a:pt x="392" y="177"/>
                    </a:lnTo>
                    <a:lnTo>
                      <a:pt x="383" y="273"/>
                    </a:lnTo>
                    <a:close/>
                    <a:moveTo>
                      <a:pt x="337" y="168"/>
                    </a:moveTo>
                    <a:lnTo>
                      <a:pt x="297" y="168"/>
                    </a:lnTo>
                    <a:lnTo>
                      <a:pt x="289" y="88"/>
                    </a:lnTo>
                    <a:lnTo>
                      <a:pt x="337" y="88"/>
                    </a:lnTo>
                    <a:lnTo>
                      <a:pt x="337" y="168"/>
                    </a:lnTo>
                    <a:close/>
                    <a:moveTo>
                      <a:pt x="337" y="273"/>
                    </a:moveTo>
                    <a:lnTo>
                      <a:pt x="307" y="273"/>
                    </a:lnTo>
                    <a:lnTo>
                      <a:pt x="298" y="177"/>
                    </a:lnTo>
                    <a:lnTo>
                      <a:pt x="337" y="177"/>
                    </a:lnTo>
                    <a:lnTo>
                      <a:pt x="337" y="273"/>
                    </a:lnTo>
                    <a:close/>
                    <a:moveTo>
                      <a:pt x="258" y="273"/>
                    </a:moveTo>
                    <a:lnTo>
                      <a:pt x="242" y="177"/>
                    </a:lnTo>
                    <a:lnTo>
                      <a:pt x="282" y="177"/>
                    </a:lnTo>
                    <a:lnTo>
                      <a:pt x="292" y="273"/>
                    </a:lnTo>
                    <a:lnTo>
                      <a:pt x="258" y="273"/>
                    </a:lnTo>
                    <a:close/>
                    <a:moveTo>
                      <a:pt x="210" y="273"/>
                    </a:moveTo>
                    <a:lnTo>
                      <a:pt x="188" y="177"/>
                    </a:lnTo>
                    <a:lnTo>
                      <a:pt x="227" y="177"/>
                    </a:lnTo>
                    <a:lnTo>
                      <a:pt x="242" y="273"/>
                    </a:lnTo>
                    <a:lnTo>
                      <a:pt x="210" y="273"/>
                    </a:lnTo>
                    <a:close/>
                    <a:moveTo>
                      <a:pt x="170" y="273"/>
                    </a:moveTo>
                    <a:cubicBezTo>
                      <a:pt x="165" y="273"/>
                      <a:pt x="161" y="271"/>
                      <a:pt x="157" y="268"/>
                    </a:cubicBezTo>
                    <a:cubicBezTo>
                      <a:pt x="150" y="244"/>
                      <a:pt x="141" y="211"/>
                      <a:pt x="131" y="177"/>
                    </a:cubicBezTo>
                    <a:lnTo>
                      <a:pt x="173" y="177"/>
                    </a:lnTo>
                    <a:lnTo>
                      <a:pt x="194" y="273"/>
                    </a:lnTo>
                    <a:lnTo>
                      <a:pt x="170" y="273"/>
                    </a:lnTo>
                    <a:close/>
                    <a:moveTo>
                      <a:pt x="126" y="156"/>
                    </a:moveTo>
                    <a:cubicBezTo>
                      <a:pt x="119" y="133"/>
                      <a:pt x="112" y="109"/>
                      <a:pt x="106" y="88"/>
                    </a:cubicBezTo>
                    <a:lnTo>
                      <a:pt x="153" y="88"/>
                    </a:lnTo>
                    <a:lnTo>
                      <a:pt x="171" y="168"/>
                    </a:lnTo>
                    <a:lnTo>
                      <a:pt x="129" y="168"/>
                    </a:lnTo>
                    <a:cubicBezTo>
                      <a:pt x="128" y="164"/>
                      <a:pt x="127" y="160"/>
                      <a:pt x="126" y="156"/>
                    </a:cubicBezTo>
                    <a:close/>
                    <a:moveTo>
                      <a:pt x="212" y="88"/>
                    </a:moveTo>
                    <a:lnTo>
                      <a:pt x="225" y="168"/>
                    </a:lnTo>
                    <a:lnTo>
                      <a:pt x="186" y="168"/>
                    </a:lnTo>
                    <a:lnTo>
                      <a:pt x="168" y="88"/>
                    </a:lnTo>
                    <a:lnTo>
                      <a:pt x="212" y="88"/>
                    </a:lnTo>
                    <a:close/>
                    <a:moveTo>
                      <a:pt x="274" y="88"/>
                    </a:moveTo>
                    <a:lnTo>
                      <a:pt x="281" y="168"/>
                    </a:lnTo>
                    <a:lnTo>
                      <a:pt x="241" y="168"/>
                    </a:lnTo>
                    <a:lnTo>
                      <a:pt x="228" y="88"/>
                    </a:lnTo>
                    <a:lnTo>
                      <a:pt x="274" y="88"/>
                    </a:lnTo>
                    <a:close/>
                    <a:moveTo>
                      <a:pt x="416" y="88"/>
                    </a:moveTo>
                    <a:lnTo>
                      <a:pt x="462" y="88"/>
                    </a:lnTo>
                    <a:lnTo>
                      <a:pt x="449" y="168"/>
                    </a:lnTo>
                    <a:lnTo>
                      <a:pt x="408" y="168"/>
                    </a:lnTo>
                    <a:lnTo>
                      <a:pt x="416" y="88"/>
                    </a:lnTo>
                    <a:close/>
                    <a:moveTo>
                      <a:pt x="24" y="29"/>
                    </a:moveTo>
                    <a:cubicBezTo>
                      <a:pt x="19" y="31"/>
                      <a:pt x="15" y="28"/>
                      <a:pt x="13" y="24"/>
                    </a:cubicBezTo>
                    <a:cubicBezTo>
                      <a:pt x="12" y="19"/>
                      <a:pt x="14" y="14"/>
                      <a:pt x="19" y="13"/>
                    </a:cubicBezTo>
                    <a:cubicBezTo>
                      <a:pt x="24" y="12"/>
                      <a:pt x="28" y="14"/>
                      <a:pt x="30" y="19"/>
                    </a:cubicBezTo>
                    <a:cubicBezTo>
                      <a:pt x="31" y="23"/>
                      <a:pt x="29" y="28"/>
                      <a:pt x="24" y="29"/>
                    </a:cubicBezTo>
                    <a:close/>
                    <a:moveTo>
                      <a:pt x="533" y="63"/>
                    </a:moveTo>
                    <a:lnTo>
                      <a:pt x="110" y="63"/>
                    </a:lnTo>
                    <a:cubicBezTo>
                      <a:pt x="106" y="63"/>
                      <a:pt x="103" y="63"/>
                      <a:pt x="100" y="65"/>
                    </a:cubicBezTo>
                    <a:cubicBezTo>
                      <a:pt x="99" y="61"/>
                      <a:pt x="94" y="44"/>
                      <a:pt x="91" y="34"/>
                    </a:cubicBezTo>
                    <a:cubicBezTo>
                      <a:pt x="88" y="22"/>
                      <a:pt x="79" y="12"/>
                      <a:pt x="64" y="12"/>
                    </a:cubicBezTo>
                    <a:cubicBezTo>
                      <a:pt x="61" y="12"/>
                      <a:pt x="40" y="12"/>
                      <a:pt x="39" y="12"/>
                    </a:cubicBezTo>
                    <a:cubicBezTo>
                      <a:pt x="34" y="4"/>
                      <a:pt x="25" y="0"/>
                      <a:pt x="16" y="2"/>
                    </a:cubicBezTo>
                    <a:cubicBezTo>
                      <a:pt x="5" y="6"/>
                      <a:pt x="0" y="16"/>
                      <a:pt x="3" y="27"/>
                    </a:cubicBezTo>
                    <a:cubicBezTo>
                      <a:pt x="6" y="37"/>
                      <a:pt x="17" y="43"/>
                      <a:pt x="27" y="40"/>
                    </a:cubicBezTo>
                    <a:cubicBezTo>
                      <a:pt x="32" y="39"/>
                      <a:pt x="36" y="35"/>
                      <a:pt x="38" y="31"/>
                    </a:cubicBezTo>
                    <a:cubicBezTo>
                      <a:pt x="40" y="31"/>
                      <a:pt x="52" y="31"/>
                      <a:pt x="54" y="31"/>
                    </a:cubicBezTo>
                    <a:cubicBezTo>
                      <a:pt x="63" y="31"/>
                      <a:pt x="65" y="33"/>
                      <a:pt x="67" y="40"/>
                    </a:cubicBezTo>
                    <a:cubicBezTo>
                      <a:pt x="73" y="61"/>
                      <a:pt x="165" y="388"/>
                      <a:pt x="171" y="409"/>
                    </a:cubicBezTo>
                    <a:cubicBezTo>
                      <a:pt x="180" y="439"/>
                      <a:pt x="194" y="450"/>
                      <a:pt x="209" y="450"/>
                    </a:cubicBezTo>
                    <a:lnTo>
                      <a:pt x="483" y="450"/>
                    </a:lnTo>
                    <a:cubicBezTo>
                      <a:pt x="492" y="450"/>
                      <a:pt x="496" y="441"/>
                      <a:pt x="496" y="437"/>
                    </a:cubicBezTo>
                    <a:cubicBezTo>
                      <a:pt x="498" y="423"/>
                      <a:pt x="486" y="420"/>
                      <a:pt x="480" y="420"/>
                    </a:cubicBezTo>
                    <a:lnTo>
                      <a:pt x="212" y="420"/>
                    </a:lnTo>
                    <a:cubicBezTo>
                      <a:pt x="205" y="420"/>
                      <a:pt x="198" y="415"/>
                      <a:pt x="196" y="408"/>
                    </a:cubicBezTo>
                    <a:cubicBezTo>
                      <a:pt x="195" y="404"/>
                      <a:pt x="170" y="315"/>
                      <a:pt x="168" y="309"/>
                    </a:cubicBezTo>
                    <a:cubicBezTo>
                      <a:pt x="174" y="315"/>
                      <a:pt x="179" y="314"/>
                      <a:pt x="182" y="314"/>
                    </a:cubicBezTo>
                    <a:lnTo>
                      <a:pt x="451" y="314"/>
                    </a:lnTo>
                    <a:cubicBezTo>
                      <a:pt x="486" y="314"/>
                      <a:pt x="500" y="272"/>
                      <a:pt x="503" y="259"/>
                    </a:cubicBezTo>
                    <a:lnTo>
                      <a:pt x="552" y="88"/>
                    </a:lnTo>
                    <a:cubicBezTo>
                      <a:pt x="554" y="81"/>
                      <a:pt x="552" y="63"/>
                      <a:pt x="533" y="63"/>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
        <p:nvSpPr>
          <p:cNvPr id="77" name="Rechthoek 63">
            <a:extLst>
              <a:ext uri="{FF2B5EF4-FFF2-40B4-BE49-F238E27FC236}">
                <a16:creationId xmlns:a16="http://schemas.microsoft.com/office/drawing/2014/main" id="{D665EDA6-73D8-479B-8FEE-1740F9F6BB59}"/>
              </a:ext>
            </a:extLst>
          </p:cNvPr>
          <p:cNvSpPr/>
          <p:nvPr/>
        </p:nvSpPr>
        <p:spPr>
          <a:xfrm>
            <a:off x="7172418" y="1845170"/>
            <a:ext cx="137160" cy="182880"/>
          </a:xfrm>
          <a:prstGeom prst="rect">
            <a:avLst/>
          </a:prstGeom>
          <a:ln/>
        </p:spPr>
        <p:style>
          <a:lnRef idx="0">
            <a:schemeClr val="accent2"/>
          </a:lnRef>
          <a:fillRef idx="3">
            <a:schemeClr val="accent2"/>
          </a:fillRef>
          <a:effectRef idx="3">
            <a:schemeClr val="accent2"/>
          </a:effectRef>
          <a:fontRef idx="minor">
            <a:schemeClr val="lt1"/>
          </a:fontRef>
        </p:style>
        <p:txBody>
          <a:bodyPr rtlCol="0" anchor="ctr"/>
          <a:lstStyle/>
          <a:p>
            <a:pPr algn="ctr"/>
            <a:r>
              <a:rPr lang="nl-NL" sz="1200" b="1"/>
              <a:t>P</a:t>
            </a:r>
          </a:p>
        </p:txBody>
      </p:sp>
      <p:sp>
        <p:nvSpPr>
          <p:cNvPr id="78" name="Rechthoek 63">
            <a:extLst>
              <a:ext uri="{FF2B5EF4-FFF2-40B4-BE49-F238E27FC236}">
                <a16:creationId xmlns:a16="http://schemas.microsoft.com/office/drawing/2014/main" id="{2EAEE8CD-B8B1-4F95-814F-B83F3DFF6198}"/>
              </a:ext>
            </a:extLst>
          </p:cNvPr>
          <p:cNvSpPr/>
          <p:nvPr/>
        </p:nvSpPr>
        <p:spPr>
          <a:xfrm>
            <a:off x="9152558" y="797363"/>
            <a:ext cx="137160" cy="182880"/>
          </a:xfrm>
          <a:prstGeom prst="rect">
            <a:avLst/>
          </a:prstGeom>
          <a:ln/>
        </p:spPr>
        <p:style>
          <a:lnRef idx="0">
            <a:schemeClr val="accent2"/>
          </a:lnRef>
          <a:fillRef idx="3">
            <a:schemeClr val="accent2"/>
          </a:fillRef>
          <a:effectRef idx="3">
            <a:schemeClr val="accent2"/>
          </a:effectRef>
          <a:fontRef idx="minor">
            <a:schemeClr val="lt1"/>
          </a:fontRef>
        </p:style>
        <p:txBody>
          <a:bodyPr rtlCol="0" anchor="ctr"/>
          <a:lstStyle/>
          <a:p>
            <a:pPr algn="ctr"/>
            <a:r>
              <a:rPr lang="nl-NL" sz="1200" b="1"/>
              <a:t>P</a:t>
            </a:r>
          </a:p>
        </p:txBody>
      </p:sp>
      <p:sp>
        <p:nvSpPr>
          <p:cNvPr id="80" name="Rechthoek 63">
            <a:extLst>
              <a:ext uri="{FF2B5EF4-FFF2-40B4-BE49-F238E27FC236}">
                <a16:creationId xmlns:a16="http://schemas.microsoft.com/office/drawing/2014/main" id="{344CF2C1-550E-4FC8-8DB3-ECBEECB023F2}"/>
              </a:ext>
            </a:extLst>
          </p:cNvPr>
          <p:cNvSpPr/>
          <p:nvPr/>
        </p:nvSpPr>
        <p:spPr>
          <a:xfrm>
            <a:off x="7960682" y="3777745"/>
            <a:ext cx="137160" cy="182880"/>
          </a:xfrm>
          <a:prstGeom prst="rect">
            <a:avLst/>
          </a:prstGeom>
          <a:ln/>
        </p:spPr>
        <p:style>
          <a:lnRef idx="0">
            <a:schemeClr val="accent2"/>
          </a:lnRef>
          <a:fillRef idx="3">
            <a:schemeClr val="accent2"/>
          </a:fillRef>
          <a:effectRef idx="3">
            <a:schemeClr val="accent2"/>
          </a:effectRef>
          <a:fontRef idx="minor">
            <a:schemeClr val="lt1"/>
          </a:fontRef>
        </p:style>
        <p:txBody>
          <a:bodyPr rtlCol="0" anchor="ctr"/>
          <a:lstStyle/>
          <a:p>
            <a:pPr algn="ctr"/>
            <a:r>
              <a:rPr lang="nl-NL" sz="1200" b="1"/>
              <a:t>P</a:t>
            </a:r>
          </a:p>
        </p:txBody>
      </p:sp>
      <p:sp>
        <p:nvSpPr>
          <p:cNvPr id="82" name="Rechthoek 63">
            <a:extLst>
              <a:ext uri="{FF2B5EF4-FFF2-40B4-BE49-F238E27FC236}">
                <a16:creationId xmlns:a16="http://schemas.microsoft.com/office/drawing/2014/main" id="{8E7B2E07-45DA-4341-A05E-266030969CFE}"/>
              </a:ext>
            </a:extLst>
          </p:cNvPr>
          <p:cNvSpPr/>
          <p:nvPr/>
        </p:nvSpPr>
        <p:spPr>
          <a:xfrm>
            <a:off x="9268416" y="4243071"/>
            <a:ext cx="137160" cy="182880"/>
          </a:xfrm>
          <a:prstGeom prst="rect">
            <a:avLst/>
          </a:prstGeom>
          <a:ln/>
        </p:spPr>
        <p:style>
          <a:lnRef idx="0">
            <a:schemeClr val="accent2"/>
          </a:lnRef>
          <a:fillRef idx="3">
            <a:schemeClr val="accent2"/>
          </a:fillRef>
          <a:effectRef idx="3">
            <a:schemeClr val="accent2"/>
          </a:effectRef>
          <a:fontRef idx="minor">
            <a:schemeClr val="lt1"/>
          </a:fontRef>
        </p:style>
        <p:txBody>
          <a:bodyPr rtlCol="0" anchor="ctr"/>
          <a:lstStyle/>
          <a:p>
            <a:pPr algn="ctr"/>
            <a:r>
              <a:rPr lang="nl-NL" sz="1200" b="1"/>
              <a:t>P</a:t>
            </a:r>
          </a:p>
        </p:txBody>
      </p:sp>
      <p:sp>
        <p:nvSpPr>
          <p:cNvPr id="83" name="Rechthoek 63">
            <a:extLst>
              <a:ext uri="{FF2B5EF4-FFF2-40B4-BE49-F238E27FC236}">
                <a16:creationId xmlns:a16="http://schemas.microsoft.com/office/drawing/2014/main" id="{82096789-28BB-43B8-BBF5-671125694ABC}"/>
              </a:ext>
            </a:extLst>
          </p:cNvPr>
          <p:cNvSpPr/>
          <p:nvPr/>
        </p:nvSpPr>
        <p:spPr>
          <a:xfrm>
            <a:off x="9953992" y="5340978"/>
            <a:ext cx="137160" cy="182880"/>
          </a:xfrm>
          <a:prstGeom prst="rect">
            <a:avLst/>
          </a:prstGeom>
          <a:ln/>
        </p:spPr>
        <p:style>
          <a:lnRef idx="0">
            <a:schemeClr val="accent2"/>
          </a:lnRef>
          <a:fillRef idx="3">
            <a:schemeClr val="accent2"/>
          </a:fillRef>
          <a:effectRef idx="3">
            <a:schemeClr val="accent2"/>
          </a:effectRef>
          <a:fontRef idx="minor">
            <a:schemeClr val="lt1"/>
          </a:fontRef>
        </p:style>
        <p:txBody>
          <a:bodyPr rtlCol="0" anchor="ctr"/>
          <a:lstStyle/>
          <a:p>
            <a:pPr algn="ctr"/>
            <a:r>
              <a:rPr lang="nl-NL" sz="1200" b="1"/>
              <a:t>P</a:t>
            </a:r>
          </a:p>
        </p:txBody>
      </p:sp>
      <p:sp>
        <p:nvSpPr>
          <p:cNvPr id="84" name="Rechthoek 63">
            <a:extLst>
              <a:ext uri="{FF2B5EF4-FFF2-40B4-BE49-F238E27FC236}">
                <a16:creationId xmlns:a16="http://schemas.microsoft.com/office/drawing/2014/main" id="{1AA328AD-390E-454D-B6F3-AB9C8E16EC7B}"/>
              </a:ext>
            </a:extLst>
          </p:cNvPr>
          <p:cNvSpPr/>
          <p:nvPr/>
        </p:nvSpPr>
        <p:spPr>
          <a:xfrm>
            <a:off x="7560664" y="5059702"/>
            <a:ext cx="137160" cy="182880"/>
          </a:xfrm>
          <a:prstGeom prst="rect">
            <a:avLst/>
          </a:prstGeom>
          <a:ln/>
        </p:spPr>
        <p:style>
          <a:lnRef idx="0">
            <a:schemeClr val="accent2"/>
          </a:lnRef>
          <a:fillRef idx="3">
            <a:schemeClr val="accent2"/>
          </a:fillRef>
          <a:effectRef idx="3">
            <a:schemeClr val="accent2"/>
          </a:effectRef>
          <a:fontRef idx="minor">
            <a:schemeClr val="lt1"/>
          </a:fontRef>
        </p:style>
        <p:txBody>
          <a:bodyPr rtlCol="0" anchor="ctr"/>
          <a:lstStyle/>
          <a:p>
            <a:pPr algn="ctr"/>
            <a:r>
              <a:rPr lang="nl-NL" sz="1200" b="1"/>
              <a:t>P</a:t>
            </a:r>
          </a:p>
        </p:txBody>
      </p:sp>
      <p:sp>
        <p:nvSpPr>
          <p:cNvPr id="85" name="Rechthoek 63">
            <a:extLst>
              <a:ext uri="{FF2B5EF4-FFF2-40B4-BE49-F238E27FC236}">
                <a16:creationId xmlns:a16="http://schemas.microsoft.com/office/drawing/2014/main" id="{6402921F-9E7A-4E73-A575-BC63975E2AE0}"/>
              </a:ext>
            </a:extLst>
          </p:cNvPr>
          <p:cNvSpPr/>
          <p:nvPr/>
        </p:nvSpPr>
        <p:spPr>
          <a:xfrm>
            <a:off x="8100118" y="6296714"/>
            <a:ext cx="137160" cy="182880"/>
          </a:xfrm>
          <a:prstGeom prst="rect">
            <a:avLst/>
          </a:prstGeom>
          <a:ln/>
        </p:spPr>
        <p:style>
          <a:lnRef idx="0">
            <a:schemeClr val="accent2"/>
          </a:lnRef>
          <a:fillRef idx="3">
            <a:schemeClr val="accent2"/>
          </a:fillRef>
          <a:effectRef idx="3">
            <a:schemeClr val="accent2"/>
          </a:effectRef>
          <a:fontRef idx="minor">
            <a:schemeClr val="lt1"/>
          </a:fontRef>
        </p:style>
        <p:txBody>
          <a:bodyPr rtlCol="0" anchor="ctr"/>
          <a:lstStyle/>
          <a:p>
            <a:pPr algn="ctr"/>
            <a:r>
              <a:rPr lang="nl-NL" sz="1200" b="1"/>
              <a:t>P</a:t>
            </a:r>
          </a:p>
        </p:txBody>
      </p:sp>
      <p:sp>
        <p:nvSpPr>
          <p:cNvPr id="86" name="Rechthoek 63">
            <a:extLst>
              <a:ext uri="{FF2B5EF4-FFF2-40B4-BE49-F238E27FC236}">
                <a16:creationId xmlns:a16="http://schemas.microsoft.com/office/drawing/2014/main" id="{87D97907-8E91-4D14-BDAB-6FB626B233CC}"/>
              </a:ext>
            </a:extLst>
          </p:cNvPr>
          <p:cNvSpPr/>
          <p:nvPr/>
        </p:nvSpPr>
        <p:spPr>
          <a:xfrm>
            <a:off x="10778744" y="1072800"/>
            <a:ext cx="137160" cy="182880"/>
          </a:xfrm>
          <a:prstGeom prst="rect">
            <a:avLst/>
          </a:prstGeom>
          <a:ln/>
        </p:spPr>
        <p:style>
          <a:lnRef idx="0">
            <a:schemeClr val="accent2"/>
          </a:lnRef>
          <a:fillRef idx="3">
            <a:schemeClr val="accent2"/>
          </a:fillRef>
          <a:effectRef idx="3">
            <a:schemeClr val="accent2"/>
          </a:effectRef>
          <a:fontRef idx="minor">
            <a:schemeClr val="lt1"/>
          </a:fontRef>
        </p:style>
        <p:txBody>
          <a:bodyPr rtlCol="0" anchor="ctr"/>
          <a:lstStyle/>
          <a:p>
            <a:pPr algn="ctr"/>
            <a:r>
              <a:rPr lang="nl-NL" sz="1200" b="1"/>
              <a:t>P</a:t>
            </a:r>
          </a:p>
        </p:txBody>
      </p:sp>
      <p:sp>
        <p:nvSpPr>
          <p:cNvPr id="87" name="Rechthoek 63">
            <a:extLst>
              <a:ext uri="{FF2B5EF4-FFF2-40B4-BE49-F238E27FC236}">
                <a16:creationId xmlns:a16="http://schemas.microsoft.com/office/drawing/2014/main" id="{1CA8D621-FA28-4F40-A24F-3DCFFDFAB06E}"/>
              </a:ext>
            </a:extLst>
          </p:cNvPr>
          <p:cNvSpPr/>
          <p:nvPr/>
        </p:nvSpPr>
        <p:spPr>
          <a:xfrm>
            <a:off x="6814699" y="1269591"/>
            <a:ext cx="137160" cy="182880"/>
          </a:xfrm>
          <a:prstGeom prst="rect">
            <a:avLst/>
          </a:prstGeom>
          <a:ln/>
        </p:spPr>
        <p:style>
          <a:lnRef idx="0">
            <a:schemeClr val="accent2"/>
          </a:lnRef>
          <a:fillRef idx="3">
            <a:schemeClr val="accent2"/>
          </a:fillRef>
          <a:effectRef idx="3">
            <a:schemeClr val="accent2"/>
          </a:effectRef>
          <a:fontRef idx="minor">
            <a:schemeClr val="lt1"/>
          </a:fontRef>
        </p:style>
        <p:txBody>
          <a:bodyPr rtlCol="0" anchor="ctr"/>
          <a:lstStyle/>
          <a:p>
            <a:pPr algn="ctr"/>
            <a:r>
              <a:rPr lang="nl-NL" sz="1200" b="1"/>
              <a:t>P</a:t>
            </a:r>
          </a:p>
        </p:txBody>
      </p:sp>
      <p:sp>
        <p:nvSpPr>
          <p:cNvPr id="40" name="Tekstvak 78">
            <a:extLst>
              <a:ext uri="{FF2B5EF4-FFF2-40B4-BE49-F238E27FC236}">
                <a16:creationId xmlns:a16="http://schemas.microsoft.com/office/drawing/2014/main" id="{6D6828F3-B5CB-4D05-9D4D-EF65B4260D38}"/>
              </a:ext>
            </a:extLst>
          </p:cNvPr>
          <p:cNvSpPr txBox="1"/>
          <p:nvPr/>
        </p:nvSpPr>
        <p:spPr>
          <a:xfrm>
            <a:off x="422522" y="317580"/>
            <a:ext cx="5601192" cy="338554"/>
          </a:xfrm>
          <a:custGeom>
            <a:avLst/>
            <a:gdLst>
              <a:gd name="connsiteX0" fmla="*/ 0 w 5601192"/>
              <a:gd name="connsiteY0" fmla="*/ 0 h 338554"/>
              <a:gd name="connsiteX1" fmla="*/ 622355 w 5601192"/>
              <a:gd name="connsiteY1" fmla="*/ 0 h 338554"/>
              <a:gd name="connsiteX2" fmla="*/ 1244709 w 5601192"/>
              <a:gd name="connsiteY2" fmla="*/ 0 h 338554"/>
              <a:gd name="connsiteX3" fmla="*/ 1979088 w 5601192"/>
              <a:gd name="connsiteY3" fmla="*/ 0 h 338554"/>
              <a:gd name="connsiteX4" fmla="*/ 2657454 w 5601192"/>
              <a:gd name="connsiteY4" fmla="*/ 0 h 338554"/>
              <a:gd name="connsiteX5" fmla="*/ 3223797 w 5601192"/>
              <a:gd name="connsiteY5" fmla="*/ 0 h 338554"/>
              <a:gd name="connsiteX6" fmla="*/ 3790140 w 5601192"/>
              <a:gd name="connsiteY6" fmla="*/ 0 h 338554"/>
              <a:gd name="connsiteX7" fmla="*/ 4356483 w 5601192"/>
              <a:gd name="connsiteY7" fmla="*/ 0 h 338554"/>
              <a:gd name="connsiteX8" fmla="*/ 5601192 w 5601192"/>
              <a:gd name="connsiteY8" fmla="*/ 0 h 338554"/>
              <a:gd name="connsiteX9" fmla="*/ 5601192 w 5601192"/>
              <a:gd name="connsiteY9" fmla="*/ 338554 h 338554"/>
              <a:gd name="connsiteX10" fmla="*/ 4866813 w 5601192"/>
              <a:gd name="connsiteY10" fmla="*/ 338554 h 338554"/>
              <a:gd name="connsiteX11" fmla="*/ 4300471 w 5601192"/>
              <a:gd name="connsiteY11" fmla="*/ 338554 h 338554"/>
              <a:gd name="connsiteX12" fmla="*/ 3566092 w 5601192"/>
              <a:gd name="connsiteY12" fmla="*/ 338554 h 338554"/>
              <a:gd name="connsiteX13" fmla="*/ 2999749 w 5601192"/>
              <a:gd name="connsiteY13" fmla="*/ 338554 h 338554"/>
              <a:gd name="connsiteX14" fmla="*/ 2489419 w 5601192"/>
              <a:gd name="connsiteY14" fmla="*/ 338554 h 338554"/>
              <a:gd name="connsiteX15" fmla="*/ 1755040 w 5601192"/>
              <a:gd name="connsiteY15" fmla="*/ 338554 h 338554"/>
              <a:gd name="connsiteX16" fmla="*/ 1020662 w 5601192"/>
              <a:gd name="connsiteY16" fmla="*/ 338554 h 338554"/>
              <a:gd name="connsiteX17" fmla="*/ 0 w 5601192"/>
              <a:gd name="connsiteY17" fmla="*/ 338554 h 338554"/>
              <a:gd name="connsiteX18" fmla="*/ 0 w 5601192"/>
              <a:gd name="connsiteY18" fmla="*/ 0 h 3385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5601192" h="338554" fill="none" extrusionOk="0">
                <a:moveTo>
                  <a:pt x="0" y="0"/>
                </a:moveTo>
                <a:cubicBezTo>
                  <a:pt x="253104" y="-27603"/>
                  <a:pt x="458608" y="-15943"/>
                  <a:pt x="622355" y="0"/>
                </a:cubicBezTo>
                <a:cubicBezTo>
                  <a:pt x="786103" y="15943"/>
                  <a:pt x="1098894" y="-9291"/>
                  <a:pt x="1244709" y="0"/>
                </a:cubicBezTo>
                <a:cubicBezTo>
                  <a:pt x="1390524" y="9291"/>
                  <a:pt x="1657264" y="-29950"/>
                  <a:pt x="1979088" y="0"/>
                </a:cubicBezTo>
                <a:cubicBezTo>
                  <a:pt x="2300912" y="29950"/>
                  <a:pt x="2385089" y="-28808"/>
                  <a:pt x="2657454" y="0"/>
                </a:cubicBezTo>
                <a:cubicBezTo>
                  <a:pt x="2929819" y="28808"/>
                  <a:pt x="3067953" y="4672"/>
                  <a:pt x="3223797" y="0"/>
                </a:cubicBezTo>
                <a:cubicBezTo>
                  <a:pt x="3379641" y="-4672"/>
                  <a:pt x="3618529" y="25199"/>
                  <a:pt x="3790140" y="0"/>
                </a:cubicBezTo>
                <a:cubicBezTo>
                  <a:pt x="3961751" y="-25199"/>
                  <a:pt x="4236875" y="16601"/>
                  <a:pt x="4356483" y="0"/>
                </a:cubicBezTo>
                <a:cubicBezTo>
                  <a:pt x="4476091" y="-16601"/>
                  <a:pt x="5152378" y="-28715"/>
                  <a:pt x="5601192" y="0"/>
                </a:cubicBezTo>
                <a:cubicBezTo>
                  <a:pt x="5586027" y="126576"/>
                  <a:pt x="5586027" y="246222"/>
                  <a:pt x="5601192" y="338554"/>
                </a:cubicBezTo>
                <a:cubicBezTo>
                  <a:pt x="5365453" y="327052"/>
                  <a:pt x="5049578" y="355323"/>
                  <a:pt x="4866813" y="338554"/>
                </a:cubicBezTo>
                <a:cubicBezTo>
                  <a:pt x="4684048" y="321785"/>
                  <a:pt x="4526283" y="315109"/>
                  <a:pt x="4300471" y="338554"/>
                </a:cubicBezTo>
                <a:cubicBezTo>
                  <a:pt x="4074659" y="361999"/>
                  <a:pt x="3837381" y="319427"/>
                  <a:pt x="3566092" y="338554"/>
                </a:cubicBezTo>
                <a:cubicBezTo>
                  <a:pt x="3294803" y="357681"/>
                  <a:pt x="3268458" y="333148"/>
                  <a:pt x="2999749" y="338554"/>
                </a:cubicBezTo>
                <a:cubicBezTo>
                  <a:pt x="2731040" y="343960"/>
                  <a:pt x="2696042" y="353562"/>
                  <a:pt x="2489419" y="338554"/>
                </a:cubicBezTo>
                <a:cubicBezTo>
                  <a:pt x="2282796" y="323547"/>
                  <a:pt x="2024272" y="372240"/>
                  <a:pt x="1755040" y="338554"/>
                </a:cubicBezTo>
                <a:cubicBezTo>
                  <a:pt x="1485808" y="304868"/>
                  <a:pt x="1360042" y="305710"/>
                  <a:pt x="1020662" y="338554"/>
                </a:cubicBezTo>
                <a:cubicBezTo>
                  <a:pt x="681282" y="371398"/>
                  <a:pt x="435328" y="295961"/>
                  <a:pt x="0" y="338554"/>
                </a:cubicBezTo>
                <a:cubicBezTo>
                  <a:pt x="-9818" y="270562"/>
                  <a:pt x="5648" y="98091"/>
                  <a:pt x="0" y="0"/>
                </a:cubicBezTo>
                <a:close/>
              </a:path>
              <a:path w="5601192" h="338554" stroke="0" extrusionOk="0">
                <a:moveTo>
                  <a:pt x="0" y="0"/>
                </a:moveTo>
                <a:cubicBezTo>
                  <a:pt x="149966" y="-17429"/>
                  <a:pt x="306384" y="-5464"/>
                  <a:pt x="454319" y="0"/>
                </a:cubicBezTo>
                <a:cubicBezTo>
                  <a:pt x="602254" y="5464"/>
                  <a:pt x="952755" y="24479"/>
                  <a:pt x="1188697" y="0"/>
                </a:cubicBezTo>
                <a:cubicBezTo>
                  <a:pt x="1424639" y="-24479"/>
                  <a:pt x="1509394" y="27678"/>
                  <a:pt x="1811052" y="0"/>
                </a:cubicBezTo>
                <a:cubicBezTo>
                  <a:pt x="2112711" y="-27678"/>
                  <a:pt x="2294313" y="-33183"/>
                  <a:pt x="2545431" y="0"/>
                </a:cubicBezTo>
                <a:cubicBezTo>
                  <a:pt x="2796549" y="33183"/>
                  <a:pt x="2852956" y="707"/>
                  <a:pt x="3055761" y="0"/>
                </a:cubicBezTo>
                <a:cubicBezTo>
                  <a:pt x="3258566" y="-707"/>
                  <a:pt x="3461268" y="-24320"/>
                  <a:pt x="3566092" y="0"/>
                </a:cubicBezTo>
                <a:cubicBezTo>
                  <a:pt x="3670916" y="24320"/>
                  <a:pt x="3862914" y="14393"/>
                  <a:pt x="4132435" y="0"/>
                </a:cubicBezTo>
                <a:cubicBezTo>
                  <a:pt x="4401956" y="-14393"/>
                  <a:pt x="4525903" y="-24622"/>
                  <a:pt x="4698778" y="0"/>
                </a:cubicBezTo>
                <a:cubicBezTo>
                  <a:pt x="4871653" y="24622"/>
                  <a:pt x="5154102" y="11410"/>
                  <a:pt x="5601192" y="0"/>
                </a:cubicBezTo>
                <a:cubicBezTo>
                  <a:pt x="5587682" y="77627"/>
                  <a:pt x="5612003" y="191917"/>
                  <a:pt x="5601192" y="338554"/>
                </a:cubicBezTo>
                <a:cubicBezTo>
                  <a:pt x="5417652" y="354703"/>
                  <a:pt x="5170916" y="356673"/>
                  <a:pt x="4866813" y="338554"/>
                </a:cubicBezTo>
                <a:cubicBezTo>
                  <a:pt x="4562710" y="320435"/>
                  <a:pt x="4444594" y="346945"/>
                  <a:pt x="4244459" y="338554"/>
                </a:cubicBezTo>
                <a:cubicBezTo>
                  <a:pt x="4044324" y="330163"/>
                  <a:pt x="3968181" y="344736"/>
                  <a:pt x="3734128" y="338554"/>
                </a:cubicBezTo>
                <a:cubicBezTo>
                  <a:pt x="3500075" y="332372"/>
                  <a:pt x="3313253" y="339945"/>
                  <a:pt x="3111773" y="338554"/>
                </a:cubicBezTo>
                <a:cubicBezTo>
                  <a:pt x="2910294" y="337163"/>
                  <a:pt x="2594349" y="334688"/>
                  <a:pt x="2377395" y="338554"/>
                </a:cubicBezTo>
                <a:cubicBezTo>
                  <a:pt x="2160441" y="342420"/>
                  <a:pt x="2000278" y="360836"/>
                  <a:pt x="1755040" y="338554"/>
                </a:cubicBezTo>
                <a:cubicBezTo>
                  <a:pt x="1509802" y="316272"/>
                  <a:pt x="1232226" y="358380"/>
                  <a:pt x="1020662" y="338554"/>
                </a:cubicBezTo>
                <a:cubicBezTo>
                  <a:pt x="809098" y="318728"/>
                  <a:pt x="405368" y="355509"/>
                  <a:pt x="0" y="338554"/>
                </a:cubicBezTo>
                <a:cubicBezTo>
                  <a:pt x="12789" y="224524"/>
                  <a:pt x="-2512" y="110174"/>
                  <a:pt x="0" y="0"/>
                </a:cubicBezTo>
                <a:close/>
              </a:path>
            </a:pathLst>
          </a:custGeom>
          <a:solidFill>
            <a:srgbClr val="DB9AA0"/>
          </a:solidFill>
          <a:ln>
            <a:solidFill>
              <a:schemeClr val="accent4">
                <a:lumMod val="50000"/>
              </a:schemeClr>
            </a:solidFill>
            <a:extLst>
              <a:ext uri="{C807C97D-BFC1-408E-A445-0C87EB9F89A2}">
                <ask:lineSketchStyleProps xmlns:ask="http://schemas.microsoft.com/office/drawing/2018/sketchyshapes" sd="1808659002">
                  <a:prstGeom prst="rect">
                    <a:avLst/>
                  </a:prstGeom>
                  <ask:type>
                    <ask:lineSketchFreehand/>
                  </ask:type>
                </ask:lineSketchStyleProps>
              </a:ext>
            </a:extLst>
          </a:ln>
        </p:spPr>
        <p:txBody>
          <a:bodyPr wrap="square" rtlCol="0">
            <a:spAutoFit/>
          </a:bodyPr>
          <a:lstStyle/>
          <a:p>
            <a:r>
              <a:rPr lang="nl-NL" sz="1600" b="1">
                <a:solidFill>
                  <a:schemeClr val="accent4">
                    <a:lumMod val="50000"/>
                  </a:schemeClr>
                </a:solidFill>
                <a:latin typeface="+mj-lt"/>
              </a:rPr>
              <a:t>2. De Grutterij - </a:t>
            </a:r>
            <a:r>
              <a:rPr lang="nl-NL" sz="1600">
                <a:solidFill>
                  <a:schemeClr val="accent4">
                    <a:lumMod val="50000"/>
                  </a:schemeClr>
                </a:solidFill>
                <a:latin typeface="+mj-lt"/>
              </a:rPr>
              <a:t>de winkelstraat van Leusden </a:t>
            </a:r>
          </a:p>
        </p:txBody>
      </p:sp>
      <p:sp>
        <p:nvSpPr>
          <p:cNvPr id="41" name="Tekstvak 78">
            <a:extLst>
              <a:ext uri="{FF2B5EF4-FFF2-40B4-BE49-F238E27FC236}">
                <a16:creationId xmlns:a16="http://schemas.microsoft.com/office/drawing/2014/main" id="{352F256E-390B-4684-9ED4-28366025F8EE}"/>
              </a:ext>
            </a:extLst>
          </p:cNvPr>
          <p:cNvSpPr txBox="1"/>
          <p:nvPr/>
        </p:nvSpPr>
        <p:spPr>
          <a:xfrm>
            <a:off x="429792" y="5721282"/>
            <a:ext cx="5626164" cy="954107"/>
          </a:xfrm>
          <a:custGeom>
            <a:avLst/>
            <a:gdLst>
              <a:gd name="connsiteX0" fmla="*/ 0 w 5626164"/>
              <a:gd name="connsiteY0" fmla="*/ 0 h 954107"/>
              <a:gd name="connsiteX1" fmla="*/ 456344 w 5626164"/>
              <a:gd name="connsiteY1" fmla="*/ 0 h 954107"/>
              <a:gd name="connsiteX2" fmla="*/ 1025212 w 5626164"/>
              <a:gd name="connsiteY2" fmla="*/ 0 h 954107"/>
              <a:gd name="connsiteX3" fmla="*/ 1594080 w 5626164"/>
              <a:gd name="connsiteY3" fmla="*/ 0 h 954107"/>
              <a:gd name="connsiteX4" fmla="*/ 2162947 w 5626164"/>
              <a:gd name="connsiteY4" fmla="*/ 0 h 954107"/>
              <a:gd name="connsiteX5" fmla="*/ 2900600 w 5626164"/>
              <a:gd name="connsiteY5" fmla="*/ 0 h 954107"/>
              <a:gd name="connsiteX6" fmla="*/ 3356945 w 5626164"/>
              <a:gd name="connsiteY6" fmla="*/ 0 h 954107"/>
              <a:gd name="connsiteX7" fmla="*/ 4094597 w 5626164"/>
              <a:gd name="connsiteY7" fmla="*/ 0 h 954107"/>
              <a:gd name="connsiteX8" fmla="*/ 4663465 w 5626164"/>
              <a:gd name="connsiteY8" fmla="*/ 0 h 954107"/>
              <a:gd name="connsiteX9" fmla="*/ 5626164 w 5626164"/>
              <a:gd name="connsiteY9" fmla="*/ 0 h 954107"/>
              <a:gd name="connsiteX10" fmla="*/ 5626164 w 5626164"/>
              <a:gd name="connsiteY10" fmla="*/ 448430 h 954107"/>
              <a:gd name="connsiteX11" fmla="*/ 5626164 w 5626164"/>
              <a:gd name="connsiteY11" fmla="*/ 954107 h 954107"/>
              <a:gd name="connsiteX12" fmla="*/ 5169820 w 5626164"/>
              <a:gd name="connsiteY12" fmla="*/ 954107 h 954107"/>
              <a:gd name="connsiteX13" fmla="*/ 4432167 w 5626164"/>
              <a:gd name="connsiteY13" fmla="*/ 954107 h 954107"/>
              <a:gd name="connsiteX14" fmla="*/ 3807038 w 5626164"/>
              <a:gd name="connsiteY14" fmla="*/ 954107 h 954107"/>
              <a:gd name="connsiteX15" fmla="*/ 3238170 w 5626164"/>
              <a:gd name="connsiteY15" fmla="*/ 954107 h 954107"/>
              <a:gd name="connsiteX16" fmla="*/ 2669302 w 5626164"/>
              <a:gd name="connsiteY16" fmla="*/ 954107 h 954107"/>
              <a:gd name="connsiteX17" fmla="*/ 2212958 w 5626164"/>
              <a:gd name="connsiteY17" fmla="*/ 954107 h 954107"/>
              <a:gd name="connsiteX18" fmla="*/ 1531567 w 5626164"/>
              <a:gd name="connsiteY18" fmla="*/ 954107 h 954107"/>
              <a:gd name="connsiteX19" fmla="*/ 850176 w 5626164"/>
              <a:gd name="connsiteY19" fmla="*/ 954107 h 954107"/>
              <a:gd name="connsiteX20" fmla="*/ 0 w 5626164"/>
              <a:gd name="connsiteY20" fmla="*/ 954107 h 954107"/>
              <a:gd name="connsiteX21" fmla="*/ 0 w 5626164"/>
              <a:gd name="connsiteY21" fmla="*/ 457971 h 954107"/>
              <a:gd name="connsiteX22" fmla="*/ 0 w 5626164"/>
              <a:gd name="connsiteY22" fmla="*/ 0 h 954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5626164" h="954107" fill="none" extrusionOk="0">
                <a:moveTo>
                  <a:pt x="0" y="0"/>
                </a:moveTo>
                <a:cubicBezTo>
                  <a:pt x="193651" y="-15475"/>
                  <a:pt x="246611" y="-19581"/>
                  <a:pt x="456344" y="0"/>
                </a:cubicBezTo>
                <a:cubicBezTo>
                  <a:pt x="666077" y="19581"/>
                  <a:pt x="752820" y="6606"/>
                  <a:pt x="1025212" y="0"/>
                </a:cubicBezTo>
                <a:cubicBezTo>
                  <a:pt x="1297604" y="-6606"/>
                  <a:pt x="1421916" y="-2027"/>
                  <a:pt x="1594080" y="0"/>
                </a:cubicBezTo>
                <a:cubicBezTo>
                  <a:pt x="1766244" y="2027"/>
                  <a:pt x="1976596" y="-7521"/>
                  <a:pt x="2162947" y="0"/>
                </a:cubicBezTo>
                <a:cubicBezTo>
                  <a:pt x="2349298" y="7521"/>
                  <a:pt x="2733763" y="22739"/>
                  <a:pt x="2900600" y="0"/>
                </a:cubicBezTo>
                <a:cubicBezTo>
                  <a:pt x="3067437" y="-22739"/>
                  <a:pt x="3194619" y="-9954"/>
                  <a:pt x="3356945" y="0"/>
                </a:cubicBezTo>
                <a:cubicBezTo>
                  <a:pt x="3519271" y="9954"/>
                  <a:pt x="3855516" y="5994"/>
                  <a:pt x="4094597" y="0"/>
                </a:cubicBezTo>
                <a:cubicBezTo>
                  <a:pt x="4333678" y="-5994"/>
                  <a:pt x="4406130" y="6046"/>
                  <a:pt x="4663465" y="0"/>
                </a:cubicBezTo>
                <a:cubicBezTo>
                  <a:pt x="4920800" y="-6046"/>
                  <a:pt x="5417002" y="-3138"/>
                  <a:pt x="5626164" y="0"/>
                </a:cubicBezTo>
                <a:cubicBezTo>
                  <a:pt x="5624044" y="178305"/>
                  <a:pt x="5630896" y="268275"/>
                  <a:pt x="5626164" y="448430"/>
                </a:cubicBezTo>
                <a:cubicBezTo>
                  <a:pt x="5621433" y="628585"/>
                  <a:pt x="5624011" y="808496"/>
                  <a:pt x="5626164" y="954107"/>
                </a:cubicBezTo>
                <a:cubicBezTo>
                  <a:pt x="5531409" y="960706"/>
                  <a:pt x="5374760" y="951088"/>
                  <a:pt x="5169820" y="954107"/>
                </a:cubicBezTo>
                <a:cubicBezTo>
                  <a:pt x="4964880" y="957126"/>
                  <a:pt x="4723202" y="968619"/>
                  <a:pt x="4432167" y="954107"/>
                </a:cubicBezTo>
                <a:cubicBezTo>
                  <a:pt x="4141132" y="939595"/>
                  <a:pt x="4049632" y="937237"/>
                  <a:pt x="3807038" y="954107"/>
                </a:cubicBezTo>
                <a:cubicBezTo>
                  <a:pt x="3564444" y="970977"/>
                  <a:pt x="3485265" y="961391"/>
                  <a:pt x="3238170" y="954107"/>
                </a:cubicBezTo>
                <a:cubicBezTo>
                  <a:pt x="2991075" y="946823"/>
                  <a:pt x="2928139" y="968516"/>
                  <a:pt x="2669302" y="954107"/>
                </a:cubicBezTo>
                <a:cubicBezTo>
                  <a:pt x="2410465" y="939698"/>
                  <a:pt x="2377674" y="949721"/>
                  <a:pt x="2212958" y="954107"/>
                </a:cubicBezTo>
                <a:cubicBezTo>
                  <a:pt x="2048242" y="958493"/>
                  <a:pt x="1797287" y="965607"/>
                  <a:pt x="1531567" y="954107"/>
                </a:cubicBezTo>
                <a:cubicBezTo>
                  <a:pt x="1265847" y="942607"/>
                  <a:pt x="1121606" y="966031"/>
                  <a:pt x="850176" y="954107"/>
                </a:cubicBezTo>
                <a:cubicBezTo>
                  <a:pt x="578746" y="942183"/>
                  <a:pt x="251047" y="958428"/>
                  <a:pt x="0" y="954107"/>
                </a:cubicBezTo>
                <a:cubicBezTo>
                  <a:pt x="-498" y="837352"/>
                  <a:pt x="4136" y="636126"/>
                  <a:pt x="0" y="457971"/>
                </a:cubicBezTo>
                <a:cubicBezTo>
                  <a:pt x="-4136" y="279816"/>
                  <a:pt x="20528" y="203009"/>
                  <a:pt x="0" y="0"/>
                </a:cubicBezTo>
                <a:close/>
              </a:path>
              <a:path w="5626164" h="954107" stroke="0" extrusionOk="0">
                <a:moveTo>
                  <a:pt x="0" y="0"/>
                </a:moveTo>
                <a:cubicBezTo>
                  <a:pt x="133381" y="12542"/>
                  <a:pt x="315400" y="-12783"/>
                  <a:pt x="456344" y="0"/>
                </a:cubicBezTo>
                <a:cubicBezTo>
                  <a:pt x="597288" y="12783"/>
                  <a:pt x="924638" y="-22877"/>
                  <a:pt x="1193997" y="0"/>
                </a:cubicBezTo>
                <a:cubicBezTo>
                  <a:pt x="1463356" y="22877"/>
                  <a:pt x="1538011" y="30214"/>
                  <a:pt x="1819126" y="0"/>
                </a:cubicBezTo>
                <a:cubicBezTo>
                  <a:pt x="2100241" y="-30214"/>
                  <a:pt x="2281425" y="733"/>
                  <a:pt x="2556779" y="0"/>
                </a:cubicBezTo>
                <a:cubicBezTo>
                  <a:pt x="2832133" y="-733"/>
                  <a:pt x="2952463" y="-7421"/>
                  <a:pt x="3069385" y="0"/>
                </a:cubicBezTo>
                <a:cubicBezTo>
                  <a:pt x="3186307" y="7421"/>
                  <a:pt x="3412790" y="-5953"/>
                  <a:pt x="3581991" y="0"/>
                </a:cubicBezTo>
                <a:cubicBezTo>
                  <a:pt x="3751192" y="5953"/>
                  <a:pt x="3995392" y="7235"/>
                  <a:pt x="4150859" y="0"/>
                </a:cubicBezTo>
                <a:cubicBezTo>
                  <a:pt x="4306326" y="-7235"/>
                  <a:pt x="4510453" y="23224"/>
                  <a:pt x="4719726" y="0"/>
                </a:cubicBezTo>
                <a:cubicBezTo>
                  <a:pt x="4928999" y="-23224"/>
                  <a:pt x="5393490" y="-18689"/>
                  <a:pt x="5626164" y="0"/>
                </a:cubicBezTo>
                <a:cubicBezTo>
                  <a:pt x="5614963" y="138315"/>
                  <a:pt x="5627965" y="233803"/>
                  <a:pt x="5626164" y="467512"/>
                </a:cubicBezTo>
                <a:cubicBezTo>
                  <a:pt x="5624363" y="701221"/>
                  <a:pt x="5603131" y="801150"/>
                  <a:pt x="5626164" y="954107"/>
                </a:cubicBezTo>
                <a:cubicBezTo>
                  <a:pt x="5442471" y="956706"/>
                  <a:pt x="5135946" y="953177"/>
                  <a:pt x="5001035" y="954107"/>
                </a:cubicBezTo>
                <a:cubicBezTo>
                  <a:pt x="4866124" y="955037"/>
                  <a:pt x="4738458" y="951181"/>
                  <a:pt x="4488429" y="954107"/>
                </a:cubicBezTo>
                <a:cubicBezTo>
                  <a:pt x="4238400" y="957033"/>
                  <a:pt x="4151376" y="941417"/>
                  <a:pt x="3863299" y="954107"/>
                </a:cubicBezTo>
                <a:cubicBezTo>
                  <a:pt x="3575222" y="966798"/>
                  <a:pt x="3368617" y="952436"/>
                  <a:pt x="3125647" y="954107"/>
                </a:cubicBezTo>
                <a:cubicBezTo>
                  <a:pt x="2882677" y="955778"/>
                  <a:pt x="2772795" y="934252"/>
                  <a:pt x="2500517" y="954107"/>
                </a:cubicBezTo>
                <a:cubicBezTo>
                  <a:pt x="2228239" y="973963"/>
                  <a:pt x="2009338" y="935307"/>
                  <a:pt x="1762865" y="954107"/>
                </a:cubicBezTo>
                <a:cubicBezTo>
                  <a:pt x="1516392" y="972907"/>
                  <a:pt x="1330070" y="933467"/>
                  <a:pt x="1193997" y="954107"/>
                </a:cubicBezTo>
                <a:cubicBezTo>
                  <a:pt x="1057924" y="974747"/>
                  <a:pt x="878115" y="968427"/>
                  <a:pt x="737653" y="954107"/>
                </a:cubicBezTo>
                <a:cubicBezTo>
                  <a:pt x="597191" y="939787"/>
                  <a:pt x="287582" y="930932"/>
                  <a:pt x="0" y="954107"/>
                </a:cubicBezTo>
                <a:cubicBezTo>
                  <a:pt x="3604" y="778740"/>
                  <a:pt x="14712" y="683861"/>
                  <a:pt x="0" y="496136"/>
                </a:cubicBezTo>
                <a:cubicBezTo>
                  <a:pt x="-14712" y="308411"/>
                  <a:pt x="-23729" y="118225"/>
                  <a:pt x="0" y="0"/>
                </a:cubicBezTo>
                <a:close/>
              </a:path>
            </a:pathLst>
          </a:custGeom>
          <a:solidFill>
            <a:schemeClr val="bg2">
              <a:lumMod val="60000"/>
              <a:lumOff val="40000"/>
            </a:schemeClr>
          </a:solidFill>
          <a:ln>
            <a:solidFill>
              <a:schemeClr val="bg2">
                <a:lumMod val="50000"/>
              </a:schemeClr>
            </a:solidFill>
            <a:extLst>
              <a:ext uri="{C807C97D-BFC1-408E-A445-0C87EB9F89A2}">
                <ask:lineSketchStyleProps xmlns:ask="http://schemas.microsoft.com/office/drawing/2018/sketchyshapes" sd="1808659002">
                  <a:prstGeom prst="rect">
                    <a:avLst/>
                  </a:prstGeom>
                  <ask:type>
                    <ask:lineSketchFreehand/>
                  </ask:type>
                </ask:lineSketchStyleProps>
              </a:ext>
            </a:extLst>
          </a:ln>
        </p:spPr>
        <p:txBody>
          <a:bodyPr wrap="square" rtlCol="0">
            <a:spAutoFit/>
          </a:bodyPr>
          <a:lstStyle/>
          <a:p>
            <a:r>
              <a:rPr lang="nl-NL" sz="1400" b="1" u="sng" dirty="0">
                <a:solidFill>
                  <a:srgbClr val="000000"/>
                </a:solidFill>
                <a:latin typeface="+mj-lt"/>
              </a:rPr>
              <a:t>Waarom?</a:t>
            </a:r>
            <a:r>
              <a:rPr lang="nl-NL" sz="1400" dirty="0">
                <a:solidFill>
                  <a:srgbClr val="000000"/>
                </a:solidFill>
                <a:latin typeface="+mj-lt"/>
              </a:rPr>
              <a:t> </a:t>
            </a:r>
            <a:r>
              <a:rPr lang="nl-NL" sz="1400" dirty="0">
                <a:solidFill>
                  <a:schemeClr val="tx1">
                    <a:lumMod val="95000"/>
                    <a:lumOff val="5000"/>
                  </a:schemeClr>
                </a:solidFill>
                <a:latin typeface="+mj-lt"/>
              </a:rPr>
              <a:t>Hier zijn al meeste non-foodwinkels gevestigd. Belangrijk om een ‘wirwar’ van verschillende functies in dit gedeelte te voorkomen. Concentreren van non-food winkels stimuleert ook combinatiebezoek. </a:t>
            </a:r>
          </a:p>
        </p:txBody>
      </p:sp>
      <p:sp>
        <p:nvSpPr>
          <p:cNvPr id="254" name="Tekstvak 253">
            <a:extLst>
              <a:ext uri="{FF2B5EF4-FFF2-40B4-BE49-F238E27FC236}">
                <a16:creationId xmlns:a16="http://schemas.microsoft.com/office/drawing/2014/main" id="{805E5E59-183E-4656-9800-13C40CC44FDD}"/>
              </a:ext>
            </a:extLst>
          </p:cNvPr>
          <p:cNvSpPr txBox="1"/>
          <p:nvPr/>
        </p:nvSpPr>
        <p:spPr>
          <a:xfrm>
            <a:off x="401217" y="938430"/>
            <a:ext cx="5757088" cy="5016758"/>
          </a:xfrm>
          <a:prstGeom prst="rect">
            <a:avLst/>
          </a:prstGeom>
          <a:noFill/>
        </p:spPr>
        <p:txBody>
          <a:bodyPr wrap="square" lIns="91440" tIns="45720" rIns="91440" bIns="45720" rtlCol="0" anchor="t">
            <a:spAutoFit/>
          </a:bodyPr>
          <a:lstStyle/>
          <a:p>
            <a:r>
              <a:rPr lang="nl-NL" sz="1600" b="1" dirty="0">
                <a:latin typeface="+mj-lt"/>
              </a:rPr>
              <a:t>Ontwikkelrichting</a:t>
            </a:r>
          </a:p>
          <a:p>
            <a:pPr marL="285750" indent="-285750">
              <a:buFont typeface="Arial" panose="020B0604020202020204" pitchFamily="34" charset="0"/>
              <a:buChar char="•"/>
            </a:pPr>
            <a:r>
              <a:rPr lang="nl-NL" sz="1600" dirty="0">
                <a:latin typeface="+mj-lt"/>
              </a:rPr>
              <a:t>De is de locatie voor het doen van non-food of doelgerichte inkopen. Hier zijn de bekende (landelijke) merken/ketens te vinden maar ook de lokale ’parels’;</a:t>
            </a:r>
            <a:endParaRPr lang="nl-NL" sz="1600" dirty="0">
              <a:latin typeface="+mj-lt"/>
              <a:ea typeface="Open Sans"/>
              <a:cs typeface="Open Sans"/>
            </a:endParaRPr>
          </a:p>
          <a:p>
            <a:endParaRPr lang="nl-NL" sz="1600" dirty="0">
              <a:latin typeface="+mj-lt"/>
            </a:endParaRPr>
          </a:p>
          <a:p>
            <a:endParaRPr lang="nl-NL" sz="1600" dirty="0">
              <a:latin typeface="+mj-lt"/>
            </a:endParaRPr>
          </a:p>
          <a:p>
            <a:r>
              <a:rPr lang="nl-NL" sz="1600" b="1" dirty="0">
                <a:latin typeface="+mj-lt"/>
              </a:rPr>
              <a:t>Welke functies willen we hier? </a:t>
            </a:r>
            <a:r>
              <a:rPr lang="nl-NL" sz="1600" dirty="0">
                <a:latin typeface="+mj-lt"/>
              </a:rPr>
              <a:t> </a:t>
            </a:r>
            <a:endParaRPr lang="nl-NL" sz="1600" dirty="0">
              <a:latin typeface="+mj-lt"/>
              <a:ea typeface="Open Sans"/>
              <a:cs typeface="Open Sans"/>
            </a:endParaRPr>
          </a:p>
          <a:p>
            <a:pPr marL="285750" indent="-285750">
              <a:buFont typeface="Arial" panose="020B0604020202020204" pitchFamily="34" charset="0"/>
              <a:buChar char="•"/>
            </a:pPr>
            <a:r>
              <a:rPr lang="nl-NL" sz="1600" dirty="0">
                <a:latin typeface="+mj-lt"/>
              </a:rPr>
              <a:t>Voornamelijk non-food winkels zoals mode/schoenen/luxe artikelen maar ook vrije tijds- (sport) en huishoudelijk-artikelen of artikelen voor in/om huis.</a:t>
            </a:r>
            <a:endParaRPr lang="nl-NL" sz="1600" b="0" dirty="0">
              <a:latin typeface="+mj-lt"/>
              <a:ea typeface="Open Sans"/>
              <a:cs typeface="Open Sans"/>
            </a:endParaRPr>
          </a:p>
          <a:p>
            <a:pPr marL="285750" indent="-285750">
              <a:buFont typeface="Arial" panose="020B0604020202020204" pitchFamily="34" charset="0"/>
              <a:buChar char="•"/>
            </a:pPr>
            <a:endParaRPr lang="nl-NL" sz="1600" dirty="0">
              <a:latin typeface="+mj-lt"/>
            </a:endParaRPr>
          </a:p>
          <a:p>
            <a:pPr marL="285750" indent="-285750">
              <a:buFont typeface="Arial" panose="020B0604020202020204" pitchFamily="34" charset="0"/>
              <a:buChar char="•"/>
            </a:pPr>
            <a:r>
              <a:rPr lang="nl-NL" sz="1600" dirty="0">
                <a:latin typeface="+mj-lt"/>
              </a:rPr>
              <a:t>Ook ruimte voor vernieuwende concepten zoals (tijdelijke) pop-upstores, galerie of ateliers.</a:t>
            </a:r>
            <a:endParaRPr lang="nl-NL" sz="1600" dirty="0">
              <a:latin typeface="+mj-lt"/>
              <a:ea typeface="Open Sans"/>
              <a:cs typeface="Open Sans"/>
            </a:endParaRPr>
          </a:p>
          <a:p>
            <a:endParaRPr lang="nl-NL" sz="1600" dirty="0">
              <a:latin typeface="+mj-lt"/>
            </a:endParaRPr>
          </a:p>
          <a:p>
            <a:pPr marL="285750" indent="-285750">
              <a:buFont typeface="Arial" panose="020B0604020202020204" pitchFamily="34" charset="0"/>
              <a:buChar char="•"/>
            </a:pPr>
            <a:r>
              <a:rPr lang="nl-NL" sz="1600" dirty="0">
                <a:latin typeface="+mj-lt"/>
              </a:rPr>
              <a:t>Sterke nadruk op winkels, geen horeca en dienstverleners.</a:t>
            </a:r>
            <a:endParaRPr lang="nl-NL" sz="1600" dirty="0">
              <a:latin typeface="+mj-lt"/>
              <a:ea typeface="Open Sans"/>
              <a:cs typeface="Open Sans"/>
            </a:endParaRPr>
          </a:p>
          <a:p>
            <a:pPr marL="285750" indent="-285750">
              <a:buFont typeface="Arial" panose="020B0604020202020204" pitchFamily="34" charset="0"/>
              <a:buChar char="•"/>
            </a:pPr>
            <a:endParaRPr lang="nl-NL" sz="1600" b="0" dirty="0">
              <a:latin typeface="+mj-lt"/>
            </a:endParaRPr>
          </a:p>
          <a:p>
            <a:pPr marL="285750" indent="-285750">
              <a:buFont typeface="Arial" panose="020B0604020202020204" pitchFamily="34" charset="0"/>
              <a:buChar char="•"/>
            </a:pPr>
            <a:endParaRPr lang="nl-NL" sz="1600" b="0" dirty="0">
              <a:latin typeface="+mj-lt"/>
            </a:endParaRPr>
          </a:p>
          <a:p>
            <a:pPr marL="285750" indent="-285750">
              <a:buFont typeface="Arial" panose="020B0604020202020204" pitchFamily="34" charset="0"/>
              <a:buChar char="•"/>
            </a:pPr>
            <a:endParaRPr lang="nl-NL" sz="1600" b="0" dirty="0">
              <a:latin typeface="+mj-lt"/>
            </a:endParaRPr>
          </a:p>
        </p:txBody>
      </p:sp>
      <p:sp>
        <p:nvSpPr>
          <p:cNvPr id="43" name="Ovaal 42">
            <a:extLst>
              <a:ext uri="{FF2B5EF4-FFF2-40B4-BE49-F238E27FC236}">
                <a16:creationId xmlns:a16="http://schemas.microsoft.com/office/drawing/2014/main" id="{036F681E-C0C1-4157-B2CB-3906D8B201FF}"/>
              </a:ext>
            </a:extLst>
          </p:cNvPr>
          <p:cNvSpPr/>
          <p:nvPr/>
        </p:nvSpPr>
        <p:spPr>
          <a:xfrm rot="6335418">
            <a:off x="7516707" y="4175097"/>
            <a:ext cx="404813" cy="747905"/>
          </a:xfrm>
          <a:custGeom>
            <a:avLst/>
            <a:gdLst>
              <a:gd name="connsiteX0" fmla="*/ 0 w 404813"/>
              <a:gd name="connsiteY0" fmla="*/ 373953 h 747905"/>
              <a:gd name="connsiteX1" fmla="*/ 202407 w 404813"/>
              <a:gd name="connsiteY1" fmla="*/ 0 h 747905"/>
              <a:gd name="connsiteX2" fmla="*/ 404814 w 404813"/>
              <a:gd name="connsiteY2" fmla="*/ 373953 h 747905"/>
              <a:gd name="connsiteX3" fmla="*/ 202407 w 404813"/>
              <a:gd name="connsiteY3" fmla="*/ 747906 h 747905"/>
              <a:gd name="connsiteX4" fmla="*/ 0 w 404813"/>
              <a:gd name="connsiteY4" fmla="*/ 373953 h 7479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4813" h="747905" fill="none" extrusionOk="0">
                <a:moveTo>
                  <a:pt x="0" y="373953"/>
                </a:moveTo>
                <a:cubicBezTo>
                  <a:pt x="-16879" y="183643"/>
                  <a:pt x="73338" y="2740"/>
                  <a:pt x="202407" y="0"/>
                </a:cubicBezTo>
                <a:cubicBezTo>
                  <a:pt x="349533" y="20451"/>
                  <a:pt x="381757" y="168422"/>
                  <a:pt x="404814" y="373953"/>
                </a:cubicBezTo>
                <a:cubicBezTo>
                  <a:pt x="393256" y="571113"/>
                  <a:pt x="340063" y="741369"/>
                  <a:pt x="202407" y="747906"/>
                </a:cubicBezTo>
                <a:cubicBezTo>
                  <a:pt x="83669" y="725352"/>
                  <a:pt x="-18715" y="599346"/>
                  <a:pt x="0" y="373953"/>
                </a:cubicBezTo>
                <a:close/>
              </a:path>
              <a:path w="404813" h="747905" stroke="0" extrusionOk="0">
                <a:moveTo>
                  <a:pt x="0" y="373953"/>
                </a:moveTo>
                <a:cubicBezTo>
                  <a:pt x="-9239" y="177625"/>
                  <a:pt x="96735" y="-10661"/>
                  <a:pt x="202407" y="0"/>
                </a:cubicBezTo>
                <a:cubicBezTo>
                  <a:pt x="321878" y="-20245"/>
                  <a:pt x="429541" y="171822"/>
                  <a:pt x="404814" y="373953"/>
                </a:cubicBezTo>
                <a:cubicBezTo>
                  <a:pt x="415907" y="584813"/>
                  <a:pt x="307494" y="746999"/>
                  <a:pt x="202407" y="747906"/>
                </a:cubicBezTo>
                <a:cubicBezTo>
                  <a:pt x="92027" y="739344"/>
                  <a:pt x="-12920" y="619683"/>
                  <a:pt x="0" y="373953"/>
                </a:cubicBezTo>
                <a:close/>
              </a:path>
            </a:pathLst>
          </a:custGeom>
          <a:solidFill>
            <a:srgbClr val="62366E">
              <a:alpha val="50196"/>
            </a:srgbClr>
          </a:solidFill>
          <a:ln w="19050">
            <a:solidFill>
              <a:schemeClr val="accent1"/>
            </a:solidFill>
            <a:prstDash val="lgDash"/>
            <a:extLst>
              <a:ext uri="{C807C97D-BFC1-408E-A445-0C87EB9F89A2}">
                <ask:lineSketchStyleProps xmlns:ask="http://schemas.microsoft.com/office/drawing/2018/sketchyshapes" sd="3066130187">
                  <a:prstGeom prst="ellipse">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5" name="Ovaal 10">
            <a:extLst>
              <a:ext uri="{FF2B5EF4-FFF2-40B4-BE49-F238E27FC236}">
                <a16:creationId xmlns:a16="http://schemas.microsoft.com/office/drawing/2014/main" id="{BD353404-7FD6-44E6-8ED6-109B1A1146CD}"/>
              </a:ext>
            </a:extLst>
          </p:cNvPr>
          <p:cNvSpPr/>
          <p:nvPr/>
        </p:nvSpPr>
        <p:spPr>
          <a:xfrm rot="606373">
            <a:off x="8290723" y="1702913"/>
            <a:ext cx="1005378" cy="3587738"/>
          </a:xfrm>
          <a:custGeom>
            <a:avLst/>
            <a:gdLst>
              <a:gd name="connsiteX0" fmla="*/ 0 w 946926"/>
              <a:gd name="connsiteY0" fmla="*/ 1669257 h 3338513"/>
              <a:gd name="connsiteX1" fmla="*/ 473463 w 946926"/>
              <a:gd name="connsiteY1" fmla="*/ 0 h 3338513"/>
              <a:gd name="connsiteX2" fmla="*/ 946926 w 946926"/>
              <a:gd name="connsiteY2" fmla="*/ 1669257 h 3338513"/>
              <a:gd name="connsiteX3" fmla="*/ 473463 w 946926"/>
              <a:gd name="connsiteY3" fmla="*/ 3338514 h 3338513"/>
              <a:gd name="connsiteX4" fmla="*/ 0 w 946926"/>
              <a:gd name="connsiteY4" fmla="*/ 1669257 h 3338513"/>
              <a:gd name="connsiteX0" fmla="*/ 104949 w 1051875"/>
              <a:gd name="connsiteY0" fmla="*/ 1669257 h 3498566"/>
              <a:gd name="connsiteX1" fmla="*/ 578412 w 1051875"/>
              <a:gd name="connsiteY1" fmla="*/ 0 h 3498566"/>
              <a:gd name="connsiteX2" fmla="*/ 1051875 w 1051875"/>
              <a:gd name="connsiteY2" fmla="*/ 1669257 h 3498566"/>
              <a:gd name="connsiteX3" fmla="*/ 578412 w 1051875"/>
              <a:gd name="connsiteY3" fmla="*/ 3338514 h 3498566"/>
              <a:gd name="connsiteX4" fmla="*/ 37651 w 1051875"/>
              <a:gd name="connsiteY4" fmla="*/ 3242728 h 3498566"/>
              <a:gd name="connsiteX5" fmla="*/ 104949 w 1051875"/>
              <a:gd name="connsiteY5" fmla="*/ 1669257 h 3498566"/>
              <a:gd name="connsiteX0" fmla="*/ 232888 w 1032014"/>
              <a:gd name="connsiteY0" fmla="*/ 1307467 h 3501749"/>
              <a:gd name="connsiteX1" fmla="*/ 558551 w 1032014"/>
              <a:gd name="connsiteY1" fmla="*/ 3183 h 3501749"/>
              <a:gd name="connsiteX2" fmla="*/ 1032014 w 1032014"/>
              <a:gd name="connsiteY2" fmla="*/ 1672440 h 3501749"/>
              <a:gd name="connsiteX3" fmla="*/ 558551 w 1032014"/>
              <a:gd name="connsiteY3" fmla="*/ 3341697 h 3501749"/>
              <a:gd name="connsiteX4" fmla="*/ 17790 w 1032014"/>
              <a:gd name="connsiteY4" fmla="*/ 3245911 h 3501749"/>
              <a:gd name="connsiteX5" fmla="*/ 232888 w 1032014"/>
              <a:gd name="connsiteY5" fmla="*/ 1307467 h 3501749"/>
              <a:gd name="connsiteX0" fmla="*/ 232888 w 1036057"/>
              <a:gd name="connsiteY0" fmla="*/ 1412927 h 3607209"/>
              <a:gd name="connsiteX1" fmla="*/ 558551 w 1036057"/>
              <a:gd name="connsiteY1" fmla="*/ 108643 h 3607209"/>
              <a:gd name="connsiteX2" fmla="*/ 841253 w 1036057"/>
              <a:gd name="connsiteY2" fmla="*/ 263362 h 3607209"/>
              <a:gd name="connsiteX3" fmla="*/ 1032014 w 1036057"/>
              <a:gd name="connsiteY3" fmla="*/ 1777900 h 3607209"/>
              <a:gd name="connsiteX4" fmla="*/ 558551 w 1036057"/>
              <a:gd name="connsiteY4" fmla="*/ 3447157 h 3607209"/>
              <a:gd name="connsiteX5" fmla="*/ 17790 w 1036057"/>
              <a:gd name="connsiteY5" fmla="*/ 3351371 h 3607209"/>
              <a:gd name="connsiteX6" fmla="*/ 232888 w 1036057"/>
              <a:gd name="connsiteY6" fmla="*/ 1412927 h 3607209"/>
              <a:gd name="connsiteX0" fmla="*/ 230669 w 1033838"/>
              <a:gd name="connsiteY0" fmla="*/ 1341761 h 3536043"/>
              <a:gd name="connsiteX1" fmla="*/ 314560 w 1033838"/>
              <a:gd name="connsiteY1" fmla="*/ 343728 h 3536043"/>
              <a:gd name="connsiteX2" fmla="*/ 556332 w 1033838"/>
              <a:gd name="connsiteY2" fmla="*/ 37477 h 3536043"/>
              <a:gd name="connsiteX3" fmla="*/ 839034 w 1033838"/>
              <a:gd name="connsiteY3" fmla="*/ 192196 h 3536043"/>
              <a:gd name="connsiteX4" fmla="*/ 1029795 w 1033838"/>
              <a:gd name="connsiteY4" fmla="*/ 1706734 h 3536043"/>
              <a:gd name="connsiteX5" fmla="*/ 556332 w 1033838"/>
              <a:gd name="connsiteY5" fmla="*/ 3375991 h 3536043"/>
              <a:gd name="connsiteX6" fmla="*/ 15571 w 1033838"/>
              <a:gd name="connsiteY6" fmla="*/ 3280205 h 3536043"/>
              <a:gd name="connsiteX7" fmla="*/ 230669 w 1033838"/>
              <a:gd name="connsiteY7" fmla="*/ 1341761 h 3536043"/>
              <a:gd name="connsiteX0" fmla="*/ 230669 w 1033838"/>
              <a:gd name="connsiteY0" fmla="*/ 1306773 h 3501055"/>
              <a:gd name="connsiteX1" fmla="*/ 314560 w 1033838"/>
              <a:gd name="connsiteY1" fmla="*/ 308740 h 3501055"/>
              <a:gd name="connsiteX2" fmla="*/ 530523 w 1033838"/>
              <a:gd name="connsiteY2" fmla="*/ 74815 h 3501055"/>
              <a:gd name="connsiteX3" fmla="*/ 839034 w 1033838"/>
              <a:gd name="connsiteY3" fmla="*/ 157208 h 3501055"/>
              <a:gd name="connsiteX4" fmla="*/ 1029795 w 1033838"/>
              <a:gd name="connsiteY4" fmla="*/ 1671746 h 3501055"/>
              <a:gd name="connsiteX5" fmla="*/ 556332 w 1033838"/>
              <a:gd name="connsiteY5" fmla="*/ 3341003 h 3501055"/>
              <a:gd name="connsiteX6" fmla="*/ 15571 w 1033838"/>
              <a:gd name="connsiteY6" fmla="*/ 3245217 h 3501055"/>
              <a:gd name="connsiteX7" fmla="*/ 230669 w 1033838"/>
              <a:gd name="connsiteY7" fmla="*/ 1306773 h 3501055"/>
              <a:gd name="connsiteX0" fmla="*/ 230669 w 1033548"/>
              <a:gd name="connsiteY0" fmla="*/ 1306773 h 3404596"/>
              <a:gd name="connsiteX1" fmla="*/ 314560 w 1033548"/>
              <a:gd name="connsiteY1" fmla="*/ 308740 h 3404596"/>
              <a:gd name="connsiteX2" fmla="*/ 530523 w 1033548"/>
              <a:gd name="connsiteY2" fmla="*/ 74815 h 3404596"/>
              <a:gd name="connsiteX3" fmla="*/ 839034 w 1033548"/>
              <a:gd name="connsiteY3" fmla="*/ 157208 h 3404596"/>
              <a:gd name="connsiteX4" fmla="*/ 1029795 w 1033548"/>
              <a:gd name="connsiteY4" fmla="*/ 1671746 h 3404596"/>
              <a:gd name="connsiteX5" fmla="*/ 760965 w 1033548"/>
              <a:gd name="connsiteY5" fmla="*/ 3155086 h 3404596"/>
              <a:gd name="connsiteX6" fmla="*/ 556332 w 1033548"/>
              <a:gd name="connsiteY6" fmla="*/ 3341003 h 3404596"/>
              <a:gd name="connsiteX7" fmla="*/ 15571 w 1033548"/>
              <a:gd name="connsiteY7" fmla="*/ 3245217 h 3404596"/>
              <a:gd name="connsiteX8" fmla="*/ 230669 w 1033548"/>
              <a:gd name="connsiteY8" fmla="*/ 1306773 h 3404596"/>
              <a:gd name="connsiteX0" fmla="*/ 229374 w 1032253"/>
              <a:gd name="connsiteY0" fmla="*/ 1306773 h 3372214"/>
              <a:gd name="connsiteX1" fmla="*/ 313265 w 1032253"/>
              <a:gd name="connsiteY1" fmla="*/ 308740 h 3372214"/>
              <a:gd name="connsiteX2" fmla="*/ 529228 w 1032253"/>
              <a:gd name="connsiteY2" fmla="*/ 74815 h 3372214"/>
              <a:gd name="connsiteX3" fmla="*/ 837739 w 1032253"/>
              <a:gd name="connsiteY3" fmla="*/ 157208 h 3372214"/>
              <a:gd name="connsiteX4" fmla="*/ 1028500 w 1032253"/>
              <a:gd name="connsiteY4" fmla="*/ 1671746 h 3372214"/>
              <a:gd name="connsiteX5" fmla="*/ 759670 w 1032253"/>
              <a:gd name="connsiteY5" fmla="*/ 3155086 h 3372214"/>
              <a:gd name="connsiteX6" fmla="*/ 555037 w 1032253"/>
              <a:gd name="connsiteY6" fmla="*/ 3341003 h 3372214"/>
              <a:gd name="connsiteX7" fmla="*/ 14276 w 1032253"/>
              <a:gd name="connsiteY7" fmla="*/ 3245217 h 3372214"/>
              <a:gd name="connsiteX8" fmla="*/ 204072 w 1032253"/>
              <a:gd name="connsiteY8" fmla="*/ 2209203 h 3372214"/>
              <a:gd name="connsiteX9" fmla="*/ 229374 w 1032253"/>
              <a:gd name="connsiteY9" fmla="*/ 1306773 h 3372214"/>
              <a:gd name="connsiteX0" fmla="*/ 231939 w 1034818"/>
              <a:gd name="connsiteY0" fmla="*/ 1306773 h 3349218"/>
              <a:gd name="connsiteX1" fmla="*/ 315830 w 1034818"/>
              <a:gd name="connsiteY1" fmla="*/ 308740 h 3349218"/>
              <a:gd name="connsiteX2" fmla="*/ 531793 w 1034818"/>
              <a:gd name="connsiteY2" fmla="*/ 74815 h 3349218"/>
              <a:gd name="connsiteX3" fmla="*/ 840304 w 1034818"/>
              <a:gd name="connsiteY3" fmla="*/ 157208 h 3349218"/>
              <a:gd name="connsiteX4" fmla="*/ 1031065 w 1034818"/>
              <a:gd name="connsiteY4" fmla="*/ 1671746 h 3349218"/>
              <a:gd name="connsiteX5" fmla="*/ 762235 w 1034818"/>
              <a:gd name="connsiteY5" fmla="*/ 3155086 h 3349218"/>
              <a:gd name="connsiteX6" fmla="*/ 557602 w 1034818"/>
              <a:gd name="connsiteY6" fmla="*/ 3341003 h 3349218"/>
              <a:gd name="connsiteX7" fmla="*/ 16841 w 1034818"/>
              <a:gd name="connsiteY7" fmla="*/ 3245217 h 3349218"/>
              <a:gd name="connsiteX8" fmla="*/ 173317 w 1034818"/>
              <a:gd name="connsiteY8" fmla="*/ 2727923 h 3349218"/>
              <a:gd name="connsiteX9" fmla="*/ 206637 w 1034818"/>
              <a:gd name="connsiteY9" fmla="*/ 2209203 h 3349218"/>
              <a:gd name="connsiteX10" fmla="*/ 231939 w 1034818"/>
              <a:gd name="connsiteY10" fmla="*/ 1306773 h 3349218"/>
              <a:gd name="connsiteX0" fmla="*/ 231939 w 1034818"/>
              <a:gd name="connsiteY0" fmla="*/ 1306773 h 3460498"/>
              <a:gd name="connsiteX1" fmla="*/ 315830 w 1034818"/>
              <a:gd name="connsiteY1" fmla="*/ 308740 h 3460498"/>
              <a:gd name="connsiteX2" fmla="*/ 531793 w 1034818"/>
              <a:gd name="connsiteY2" fmla="*/ 74815 h 3460498"/>
              <a:gd name="connsiteX3" fmla="*/ 840304 w 1034818"/>
              <a:gd name="connsiteY3" fmla="*/ 157208 h 3460498"/>
              <a:gd name="connsiteX4" fmla="*/ 1031065 w 1034818"/>
              <a:gd name="connsiteY4" fmla="*/ 1671746 h 3460498"/>
              <a:gd name="connsiteX5" fmla="*/ 762235 w 1034818"/>
              <a:gd name="connsiteY5" fmla="*/ 3155086 h 3460498"/>
              <a:gd name="connsiteX6" fmla="*/ 491592 w 1034818"/>
              <a:gd name="connsiteY6" fmla="*/ 3459195 h 3460498"/>
              <a:gd name="connsiteX7" fmla="*/ 16841 w 1034818"/>
              <a:gd name="connsiteY7" fmla="*/ 3245217 h 3460498"/>
              <a:gd name="connsiteX8" fmla="*/ 173317 w 1034818"/>
              <a:gd name="connsiteY8" fmla="*/ 2727923 h 3460498"/>
              <a:gd name="connsiteX9" fmla="*/ 206637 w 1034818"/>
              <a:gd name="connsiteY9" fmla="*/ 2209203 h 3460498"/>
              <a:gd name="connsiteX10" fmla="*/ 231939 w 1034818"/>
              <a:gd name="connsiteY10" fmla="*/ 1306773 h 3460498"/>
              <a:gd name="connsiteX0" fmla="*/ 231939 w 1034818"/>
              <a:gd name="connsiteY0" fmla="*/ 1306773 h 3461993"/>
              <a:gd name="connsiteX1" fmla="*/ 315830 w 1034818"/>
              <a:gd name="connsiteY1" fmla="*/ 308740 h 3461993"/>
              <a:gd name="connsiteX2" fmla="*/ 531793 w 1034818"/>
              <a:gd name="connsiteY2" fmla="*/ 74815 h 3461993"/>
              <a:gd name="connsiteX3" fmla="*/ 840304 w 1034818"/>
              <a:gd name="connsiteY3" fmla="*/ 157208 h 3461993"/>
              <a:gd name="connsiteX4" fmla="*/ 1031065 w 1034818"/>
              <a:gd name="connsiteY4" fmla="*/ 1671746 h 3461993"/>
              <a:gd name="connsiteX5" fmla="*/ 762235 w 1034818"/>
              <a:gd name="connsiteY5" fmla="*/ 3155086 h 3461993"/>
              <a:gd name="connsiteX6" fmla="*/ 491592 w 1034818"/>
              <a:gd name="connsiteY6" fmla="*/ 3459195 h 3461993"/>
              <a:gd name="connsiteX7" fmla="*/ 16841 w 1034818"/>
              <a:gd name="connsiteY7" fmla="*/ 3245217 h 3461993"/>
              <a:gd name="connsiteX8" fmla="*/ 173317 w 1034818"/>
              <a:gd name="connsiteY8" fmla="*/ 2727923 h 3461993"/>
              <a:gd name="connsiteX9" fmla="*/ 206637 w 1034818"/>
              <a:gd name="connsiteY9" fmla="*/ 2209203 h 3461993"/>
              <a:gd name="connsiteX10" fmla="*/ 231939 w 1034818"/>
              <a:gd name="connsiteY10" fmla="*/ 1306773 h 3461993"/>
              <a:gd name="connsiteX0" fmla="*/ 231939 w 1034818"/>
              <a:gd name="connsiteY0" fmla="*/ 1306773 h 3587738"/>
              <a:gd name="connsiteX1" fmla="*/ 315830 w 1034818"/>
              <a:gd name="connsiteY1" fmla="*/ 308740 h 3587738"/>
              <a:gd name="connsiteX2" fmla="*/ 531793 w 1034818"/>
              <a:gd name="connsiteY2" fmla="*/ 74815 h 3587738"/>
              <a:gd name="connsiteX3" fmla="*/ 840304 w 1034818"/>
              <a:gd name="connsiteY3" fmla="*/ 157208 h 3587738"/>
              <a:gd name="connsiteX4" fmla="*/ 1031065 w 1034818"/>
              <a:gd name="connsiteY4" fmla="*/ 1671746 h 3587738"/>
              <a:gd name="connsiteX5" fmla="*/ 762235 w 1034818"/>
              <a:gd name="connsiteY5" fmla="*/ 3155086 h 3587738"/>
              <a:gd name="connsiteX6" fmla="*/ 427254 w 1034818"/>
              <a:gd name="connsiteY6" fmla="*/ 3586764 h 3587738"/>
              <a:gd name="connsiteX7" fmla="*/ 16841 w 1034818"/>
              <a:gd name="connsiteY7" fmla="*/ 3245217 h 3587738"/>
              <a:gd name="connsiteX8" fmla="*/ 173317 w 1034818"/>
              <a:gd name="connsiteY8" fmla="*/ 2727923 h 3587738"/>
              <a:gd name="connsiteX9" fmla="*/ 206637 w 1034818"/>
              <a:gd name="connsiteY9" fmla="*/ 2209203 h 3587738"/>
              <a:gd name="connsiteX10" fmla="*/ 231939 w 1034818"/>
              <a:gd name="connsiteY10" fmla="*/ 1306773 h 3587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34818" h="3587738">
                <a:moveTo>
                  <a:pt x="231939" y="1306773"/>
                </a:moveTo>
                <a:cubicBezTo>
                  <a:pt x="250138" y="990029"/>
                  <a:pt x="261553" y="526121"/>
                  <a:pt x="315830" y="308740"/>
                </a:cubicBezTo>
                <a:cubicBezTo>
                  <a:pt x="370107" y="91359"/>
                  <a:pt x="444381" y="100070"/>
                  <a:pt x="531793" y="74815"/>
                </a:cubicBezTo>
                <a:cubicBezTo>
                  <a:pt x="619205" y="49560"/>
                  <a:pt x="761394" y="-121002"/>
                  <a:pt x="840304" y="157208"/>
                </a:cubicBezTo>
                <a:cubicBezTo>
                  <a:pt x="919215" y="435418"/>
                  <a:pt x="1059535" y="1177407"/>
                  <a:pt x="1031065" y="1671746"/>
                </a:cubicBezTo>
                <a:cubicBezTo>
                  <a:pt x="1002595" y="2166085"/>
                  <a:pt x="841146" y="2876877"/>
                  <a:pt x="762235" y="3155086"/>
                </a:cubicBezTo>
                <a:cubicBezTo>
                  <a:pt x="683325" y="3433296"/>
                  <a:pt x="489188" y="3602197"/>
                  <a:pt x="427254" y="3586764"/>
                </a:cubicBezTo>
                <a:cubicBezTo>
                  <a:pt x="365320" y="3571331"/>
                  <a:pt x="92216" y="3356666"/>
                  <a:pt x="16841" y="3245217"/>
                </a:cubicBezTo>
                <a:cubicBezTo>
                  <a:pt x="-58534" y="3133768"/>
                  <a:pt x="141684" y="2900592"/>
                  <a:pt x="173317" y="2727923"/>
                </a:cubicBezTo>
                <a:cubicBezTo>
                  <a:pt x="204950" y="2555254"/>
                  <a:pt x="185540" y="2436793"/>
                  <a:pt x="206637" y="2209203"/>
                </a:cubicBezTo>
                <a:cubicBezTo>
                  <a:pt x="242487" y="1886129"/>
                  <a:pt x="213740" y="1623517"/>
                  <a:pt x="231939" y="1306773"/>
                </a:cubicBezTo>
                <a:close/>
              </a:path>
            </a:pathLst>
          </a:custGeom>
          <a:solidFill>
            <a:schemeClr val="accent4">
              <a:lumMod val="60000"/>
              <a:lumOff val="40000"/>
              <a:alpha val="50000"/>
            </a:schemeClr>
          </a:solidFill>
          <a:ln w="19050">
            <a:solidFill>
              <a:schemeClr val="accent4">
                <a:lumMod val="50000"/>
              </a:schemeClr>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6" name="Ovaal 45">
            <a:extLst>
              <a:ext uri="{FF2B5EF4-FFF2-40B4-BE49-F238E27FC236}">
                <a16:creationId xmlns:a16="http://schemas.microsoft.com/office/drawing/2014/main" id="{6C98218C-436C-45D2-A1CB-EF61CD73F2D3}"/>
              </a:ext>
            </a:extLst>
          </p:cNvPr>
          <p:cNvSpPr/>
          <p:nvPr/>
        </p:nvSpPr>
        <p:spPr>
          <a:xfrm rot="651834">
            <a:off x="8921386" y="2300540"/>
            <a:ext cx="404813" cy="638587"/>
          </a:xfrm>
          <a:custGeom>
            <a:avLst/>
            <a:gdLst>
              <a:gd name="connsiteX0" fmla="*/ 0 w 404813"/>
              <a:gd name="connsiteY0" fmla="*/ 319294 h 638587"/>
              <a:gd name="connsiteX1" fmla="*/ 202407 w 404813"/>
              <a:gd name="connsiteY1" fmla="*/ 0 h 638587"/>
              <a:gd name="connsiteX2" fmla="*/ 404814 w 404813"/>
              <a:gd name="connsiteY2" fmla="*/ 319294 h 638587"/>
              <a:gd name="connsiteX3" fmla="*/ 202407 w 404813"/>
              <a:gd name="connsiteY3" fmla="*/ 638588 h 638587"/>
              <a:gd name="connsiteX4" fmla="*/ 0 w 404813"/>
              <a:gd name="connsiteY4" fmla="*/ 319294 h 6385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4813" h="638587" fill="none" extrusionOk="0">
                <a:moveTo>
                  <a:pt x="0" y="319294"/>
                </a:moveTo>
                <a:cubicBezTo>
                  <a:pt x="5587" y="145475"/>
                  <a:pt x="82698" y="-11820"/>
                  <a:pt x="202407" y="0"/>
                </a:cubicBezTo>
                <a:cubicBezTo>
                  <a:pt x="325096" y="31346"/>
                  <a:pt x="367070" y="127993"/>
                  <a:pt x="404814" y="319294"/>
                </a:cubicBezTo>
                <a:cubicBezTo>
                  <a:pt x="412177" y="492111"/>
                  <a:pt x="320552" y="647823"/>
                  <a:pt x="202407" y="638588"/>
                </a:cubicBezTo>
                <a:cubicBezTo>
                  <a:pt x="101140" y="598697"/>
                  <a:pt x="2982" y="470959"/>
                  <a:pt x="0" y="319294"/>
                </a:cubicBezTo>
                <a:close/>
              </a:path>
              <a:path w="404813" h="638587" stroke="0" extrusionOk="0">
                <a:moveTo>
                  <a:pt x="0" y="319294"/>
                </a:moveTo>
                <a:cubicBezTo>
                  <a:pt x="7359" y="138006"/>
                  <a:pt x="83062" y="810"/>
                  <a:pt x="202407" y="0"/>
                </a:cubicBezTo>
                <a:cubicBezTo>
                  <a:pt x="326641" y="-22425"/>
                  <a:pt x="395708" y="166190"/>
                  <a:pt x="404814" y="319294"/>
                </a:cubicBezTo>
                <a:cubicBezTo>
                  <a:pt x="389144" y="510403"/>
                  <a:pt x="294049" y="644166"/>
                  <a:pt x="202407" y="638588"/>
                </a:cubicBezTo>
                <a:cubicBezTo>
                  <a:pt x="93781" y="602158"/>
                  <a:pt x="-13212" y="507303"/>
                  <a:pt x="0" y="319294"/>
                </a:cubicBezTo>
                <a:close/>
              </a:path>
            </a:pathLst>
          </a:custGeom>
          <a:solidFill>
            <a:srgbClr val="62366E">
              <a:alpha val="50196"/>
            </a:srgbClr>
          </a:solidFill>
          <a:ln w="19050">
            <a:solidFill>
              <a:schemeClr val="accent1"/>
            </a:solidFill>
            <a:prstDash val="lgDash"/>
            <a:extLst>
              <a:ext uri="{C807C97D-BFC1-408E-A445-0C87EB9F89A2}">
                <ask:lineSketchStyleProps xmlns:ask="http://schemas.microsoft.com/office/drawing/2018/sketchyshapes" sd="1935646484">
                  <a:prstGeom prst="ellipse">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grpSp>
        <p:nvGrpSpPr>
          <p:cNvPr id="67" name="Groep 66">
            <a:extLst>
              <a:ext uri="{FF2B5EF4-FFF2-40B4-BE49-F238E27FC236}">
                <a16:creationId xmlns:a16="http://schemas.microsoft.com/office/drawing/2014/main" id="{409BF754-5A44-4DD4-B4D6-86191BFE6D5A}"/>
              </a:ext>
            </a:extLst>
          </p:cNvPr>
          <p:cNvGrpSpPr/>
          <p:nvPr/>
        </p:nvGrpSpPr>
        <p:grpSpPr>
          <a:xfrm>
            <a:off x="8900558" y="2221523"/>
            <a:ext cx="252000" cy="252000"/>
            <a:chOff x="8342489" y="1970656"/>
            <a:chExt cx="329184" cy="329184"/>
          </a:xfrm>
        </p:grpSpPr>
        <p:sp>
          <p:nvSpPr>
            <p:cNvPr id="121" name="Oval 53">
              <a:extLst>
                <a:ext uri="{FF2B5EF4-FFF2-40B4-BE49-F238E27FC236}">
                  <a16:creationId xmlns:a16="http://schemas.microsoft.com/office/drawing/2014/main" id="{26C5E2E3-851F-49EA-9770-0C2884A40154}"/>
                </a:ext>
              </a:extLst>
            </p:cNvPr>
            <p:cNvSpPr/>
            <p:nvPr/>
          </p:nvSpPr>
          <p:spPr>
            <a:xfrm>
              <a:off x="8342489" y="1970656"/>
              <a:ext cx="329184" cy="329184"/>
            </a:xfrm>
            <a:prstGeom prst="ellipse">
              <a:avLst/>
            </a:prstGeom>
            <a:solidFill>
              <a:srgbClr val="62366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22" name="Shopping_cart" descr="{&quot;Key&quot;:&quot;POWER_USER_SHAPE_ICON&quot;,&quot;Value&quot;:&quot;POWER_USER_SHAPE_ICON_STYLE_1&quot;}">
              <a:extLst>
                <a:ext uri="{FF2B5EF4-FFF2-40B4-BE49-F238E27FC236}">
                  <a16:creationId xmlns:a16="http://schemas.microsoft.com/office/drawing/2014/main" id="{474C6EDE-2DED-4F51-9B74-CD7F6CE90626}"/>
                </a:ext>
              </a:extLst>
            </p:cNvPr>
            <p:cNvGrpSpPr>
              <a:grpSpLocks noChangeAspect="1"/>
            </p:cNvGrpSpPr>
            <p:nvPr>
              <p:custDataLst>
                <p:tags r:id="rId4"/>
              </p:custDataLst>
            </p:nvPr>
          </p:nvGrpSpPr>
          <p:grpSpPr>
            <a:xfrm>
              <a:off x="8380012" y="2028686"/>
              <a:ext cx="235088" cy="232174"/>
              <a:chOff x="4646614" y="2062164"/>
              <a:chExt cx="384175" cy="379413"/>
            </a:xfrm>
            <a:solidFill>
              <a:schemeClr val="bg1"/>
            </a:solidFill>
          </p:grpSpPr>
          <p:sp>
            <p:nvSpPr>
              <p:cNvPr id="123" name="Freeform 198">
                <a:extLst>
                  <a:ext uri="{FF2B5EF4-FFF2-40B4-BE49-F238E27FC236}">
                    <a16:creationId xmlns:a16="http://schemas.microsoft.com/office/drawing/2014/main" id="{D57B09DF-CC0B-48BB-BDCF-9CC23E192B9B}"/>
                  </a:ext>
                </a:extLst>
              </p:cNvPr>
              <p:cNvSpPr>
                <a:spLocks noEditPoints="1"/>
              </p:cNvSpPr>
              <p:nvPr/>
            </p:nvSpPr>
            <p:spPr bwMode="auto">
              <a:xfrm>
                <a:off x="4773614" y="2386014"/>
                <a:ext cx="55563" cy="55563"/>
              </a:xfrm>
              <a:custGeom>
                <a:avLst/>
                <a:gdLst>
                  <a:gd name="T0" fmla="*/ 40 w 80"/>
                  <a:gd name="T1" fmla="*/ 55 h 80"/>
                  <a:gd name="T2" fmla="*/ 25 w 80"/>
                  <a:gd name="T3" fmla="*/ 40 h 80"/>
                  <a:gd name="T4" fmla="*/ 40 w 80"/>
                  <a:gd name="T5" fmla="*/ 25 h 80"/>
                  <a:gd name="T6" fmla="*/ 55 w 80"/>
                  <a:gd name="T7" fmla="*/ 40 h 80"/>
                  <a:gd name="T8" fmla="*/ 40 w 80"/>
                  <a:gd name="T9" fmla="*/ 55 h 80"/>
                  <a:gd name="T10" fmla="*/ 40 w 80"/>
                  <a:gd name="T11" fmla="*/ 0 h 80"/>
                  <a:gd name="T12" fmla="*/ 0 w 80"/>
                  <a:gd name="T13" fmla="*/ 40 h 80"/>
                  <a:gd name="T14" fmla="*/ 40 w 80"/>
                  <a:gd name="T15" fmla="*/ 80 h 80"/>
                  <a:gd name="T16" fmla="*/ 80 w 80"/>
                  <a:gd name="T17" fmla="*/ 40 h 80"/>
                  <a:gd name="T18" fmla="*/ 40 w 80"/>
                  <a:gd name="T19"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0" h="80">
                    <a:moveTo>
                      <a:pt x="40" y="55"/>
                    </a:moveTo>
                    <a:cubicBezTo>
                      <a:pt x="32" y="55"/>
                      <a:pt x="25" y="48"/>
                      <a:pt x="25" y="40"/>
                    </a:cubicBezTo>
                    <a:cubicBezTo>
                      <a:pt x="25" y="32"/>
                      <a:pt x="32" y="25"/>
                      <a:pt x="40" y="25"/>
                    </a:cubicBezTo>
                    <a:cubicBezTo>
                      <a:pt x="48" y="25"/>
                      <a:pt x="55" y="32"/>
                      <a:pt x="55" y="40"/>
                    </a:cubicBezTo>
                    <a:cubicBezTo>
                      <a:pt x="55" y="48"/>
                      <a:pt x="48" y="55"/>
                      <a:pt x="40" y="55"/>
                    </a:cubicBezTo>
                    <a:close/>
                    <a:moveTo>
                      <a:pt x="40" y="0"/>
                    </a:moveTo>
                    <a:cubicBezTo>
                      <a:pt x="18" y="0"/>
                      <a:pt x="0" y="18"/>
                      <a:pt x="0" y="40"/>
                    </a:cubicBezTo>
                    <a:cubicBezTo>
                      <a:pt x="0" y="62"/>
                      <a:pt x="18" y="80"/>
                      <a:pt x="40" y="80"/>
                    </a:cubicBezTo>
                    <a:cubicBezTo>
                      <a:pt x="62" y="80"/>
                      <a:pt x="80" y="62"/>
                      <a:pt x="80" y="40"/>
                    </a:cubicBezTo>
                    <a:cubicBezTo>
                      <a:pt x="80" y="18"/>
                      <a:pt x="62" y="0"/>
                      <a:pt x="40"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4" name="Freeform 199">
                <a:extLst>
                  <a:ext uri="{FF2B5EF4-FFF2-40B4-BE49-F238E27FC236}">
                    <a16:creationId xmlns:a16="http://schemas.microsoft.com/office/drawing/2014/main" id="{D8F9CDD3-012A-4C3C-92D2-C8FDDD03C59A}"/>
                  </a:ext>
                </a:extLst>
              </p:cNvPr>
              <p:cNvSpPr>
                <a:spLocks noEditPoints="1"/>
              </p:cNvSpPr>
              <p:nvPr/>
            </p:nvSpPr>
            <p:spPr bwMode="auto">
              <a:xfrm>
                <a:off x="4929189" y="2386014"/>
                <a:ext cx="55563" cy="55563"/>
              </a:xfrm>
              <a:custGeom>
                <a:avLst/>
                <a:gdLst>
                  <a:gd name="T0" fmla="*/ 40 w 80"/>
                  <a:gd name="T1" fmla="*/ 55 h 80"/>
                  <a:gd name="T2" fmla="*/ 25 w 80"/>
                  <a:gd name="T3" fmla="*/ 40 h 80"/>
                  <a:gd name="T4" fmla="*/ 40 w 80"/>
                  <a:gd name="T5" fmla="*/ 25 h 80"/>
                  <a:gd name="T6" fmla="*/ 55 w 80"/>
                  <a:gd name="T7" fmla="*/ 40 h 80"/>
                  <a:gd name="T8" fmla="*/ 40 w 80"/>
                  <a:gd name="T9" fmla="*/ 55 h 80"/>
                  <a:gd name="T10" fmla="*/ 40 w 80"/>
                  <a:gd name="T11" fmla="*/ 0 h 80"/>
                  <a:gd name="T12" fmla="*/ 0 w 80"/>
                  <a:gd name="T13" fmla="*/ 40 h 80"/>
                  <a:gd name="T14" fmla="*/ 40 w 80"/>
                  <a:gd name="T15" fmla="*/ 80 h 80"/>
                  <a:gd name="T16" fmla="*/ 80 w 80"/>
                  <a:gd name="T17" fmla="*/ 40 h 80"/>
                  <a:gd name="T18" fmla="*/ 40 w 80"/>
                  <a:gd name="T19"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0" h="80">
                    <a:moveTo>
                      <a:pt x="40" y="55"/>
                    </a:moveTo>
                    <a:cubicBezTo>
                      <a:pt x="32" y="55"/>
                      <a:pt x="25" y="48"/>
                      <a:pt x="25" y="40"/>
                    </a:cubicBezTo>
                    <a:cubicBezTo>
                      <a:pt x="25" y="32"/>
                      <a:pt x="32" y="25"/>
                      <a:pt x="40" y="25"/>
                    </a:cubicBezTo>
                    <a:cubicBezTo>
                      <a:pt x="48" y="25"/>
                      <a:pt x="55" y="32"/>
                      <a:pt x="55" y="40"/>
                    </a:cubicBezTo>
                    <a:cubicBezTo>
                      <a:pt x="55" y="48"/>
                      <a:pt x="48" y="55"/>
                      <a:pt x="40" y="55"/>
                    </a:cubicBezTo>
                    <a:close/>
                    <a:moveTo>
                      <a:pt x="40" y="0"/>
                    </a:moveTo>
                    <a:cubicBezTo>
                      <a:pt x="18" y="0"/>
                      <a:pt x="0" y="18"/>
                      <a:pt x="0" y="40"/>
                    </a:cubicBezTo>
                    <a:cubicBezTo>
                      <a:pt x="0" y="62"/>
                      <a:pt x="18" y="80"/>
                      <a:pt x="40" y="80"/>
                    </a:cubicBezTo>
                    <a:cubicBezTo>
                      <a:pt x="62" y="80"/>
                      <a:pt x="80" y="62"/>
                      <a:pt x="80" y="40"/>
                    </a:cubicBezTo>
                    <a:cubicBezTo>
                      <a:pt x="80" y="18"/>
                      <a:pt x="62" y="0"/>
                      <a:pt x="40"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5" name="Freeform 200">
                <a:extLst>
                  <a:ext uri="{FF2B5EF4-FFF2-40B4-BE49-F238E27FC236}">
                    <a16:creationId xmlns:a16="http://schemas.microsoft.com/office/drawing/2014/main" id="{51AE44A0-1060-4D7E-A849-257335EDBA00}"/>
                  </a:ext>
                </a:extLst>
              </p:cNvPr>
              <p:cNvSpPr>
                <a:spLocks noEditPoints="1"/>
              </p:cNvSpPr>
              <p:nvPr/>
            </p:nvSpPr>
            <p:spPr bwMode="auto">
              <a:xfrm>
                <a:off x="4646614" y="2062164"/>
                <a:ext cx="384175" cy="311150"/>
              </a:xfrm>
              <a:custGeom>
                <a:avLst/>
                <a:gdLst>
                  <a:gd name="T0" fmla="*/ 465 w 554"/>
                  <a:gd name="T1" fmla="*/ 168 h 450"/>
                  <a:gd name="T2" fmla="*/ 530 w 554"/>
                  <a:gd name="T3" fmla="*/ 88 h 450"/>
                  <a:gd name="T4" fmla="*/ 483 w 554"/>
                  <a:gd name="T5" fmla="*/ 257 h 450"/>
                  <a:gd name="T6" fmla="*/ 447 w 554"/>
                  <a:gd name="T7" fmla="*/ 273 h 450"/>
                  <a:gd name="T8" fmla="*/ 505 w 554"/>
                  <a:gd name="T9" fmla="*/ 177 h 450"/>
                  <a:gd name="T10" fmla="*/ 432 w 554"/>
                  <a:gd name="T11" fmla="*/ 273 h 450"/>
                  <a:gd name="T12" fmla="*/ 407 w 554"/>
                  <a:gd name="T13" fmla="*/ 177 h 450"/>
                  <a:gd name="T14" fmla="*/ 432 w 554"/>
                  <a:gd name="T15" fmla="*/ 273 h 450"/>
                  <a:gd name="T16" fmla="*/ 352 w 554"/>
                  <a:gd name="T17" fmla="*/ 88 h 450"/>
                  <a:gd name="T18" fmla="*/ 393 w 554"/>
                  <a:gd name="T19" fmla="*/ 168 h 450"/>
                  <a:gd name="T20" fmla="*/ 383 w 554"/>
                  <a:gd name="T21" fmla="*/ 273 h 450"/>
                  <a:gd name="T22" fmla="*/ 352 w 554"/>
                  <a:gd name="T23" fmla="*/ 177 h 450"/>
                  <a:gd name="T24" fmla="*/ 383 w 554"/>
                  <a:gd name="T25" fmla="*/ 273 h 450"/>
                  <a:gd name="T26" fmla="*/ 297 w 554"/>
                  <a:gd name="T27" fmla="*/ 168 h 450"/>
                  <a:gd name="T28" fmla="*/ 337 w 554"/>
                  <a:gd name="T29" fmla="*/ 88 h 450"/>
                  <a:gd name="T30" fmla="*/ 337 w 554"/>
                  <a:gd name="T31" fmla="*/ 273 h 450"/>
                  <a:gd name="T32" fmla="*/ 298 w 554"/>
                  <a:gd name="T33" fmla="*/ 177 h 450"/>
                  <a:gd name="T34" fmla="*/ 337 w 554"/>
                  <a:gd name="T35" fmla="*/ 273 h 450"/>
                  <a:gd name="T36" fmla="*/ 242 w 554"/>
                  <a:gd name="T37" fmla="*/ 177 h 450"/>
                  <a:gd name="T38" fmla="*/ 292 w 554"/>
                  <a:gd name="T39" fmla="*/ 273 h 450"/>
                  <a:gd name="T40" fmla="*/ 210 w 554"/>
                  <a:gd name="T41" fmla="*/ 273 h 450"/>
                  <a:gd name="T42" fmla="*/ 227 w 554"/>
                  <a:gd name="T43" fmla="*/ 177 h 450"/>
                  <a:gd name="T44" fmla="*/ 210 w 554"/>
                  <a:gd name="T45" fmla="*/ 273 h 450"/>
                  <a:gd name="T46" fmla="*/ 157 w 554"/>
                  <a:gd name="T47" fmla="*/ 268 h 450"/>
                  <a:gd name="T48" fmla="*/ 173 w 554"/>
                  <a:gd name="T49" fmla="*/ 177 h 450"/>
                  <a:gd name="T50" fmla="*/ 170 w 554"/>
                  <a:gd name="T51" fmla="*/ 273 h 450"/>
                  <a:gd name="T52" fmla="*/ 106 w 554"/>
                  <a:gd name="T53" fmla="*/ 88 h 450"/>
                  <a:gd name="T54" fmla="*/ 171 w 554"/>
                  <a:gd name="T55" fmla="*/ 168 h 450"/>
                  <a:gd name="T56" fmla="*/ 126 w 554"/>
                  <a:gd name="T57" fmla="*/ 156 h 450"/>
                  <a:gd name="T58" fmla="*/ 225 w 554"/>
                  <a:gd name="T59" fmla="*/ 168 h 450"/>
                  <a:gd name="T60" fmla="*/ 168 w 554"/>
                  <a:gd name="T61" fmla="*/ 88 h 450"/>
                  <a:gd name="T62" fmla="*/ 274 w 554"/>
                  <a:gd name="T63" fmla="*/ 88 h 450"/>
                  <a:gd name="T64" fmla="*/ 241 w 554"/>
                  <a:gd name="T65" fmla="*/ 168 h 450"/>
                  <a:gd name="T66" fmla="*/ 274 w 554"/>
                  <a:gd name="T67" fmla="*/ 88 h 450"/>
                  <a:gd name="T68" fmla="*/ 462 w 554"/>
                  <a:gd name="T69" fmla="*/ 88 h 450"/>
                  <a:gd name="T70" fmla="*/ 408 w 554"/>
                  <a:gd name="T71" fmla="*/ 168 h 450"/>
                  <a:gd name="T72" fmla="*/ 24 w 554"/>
                  <a:gd name="T73" fmla="*/ 29 h 450"/>
                  <a:gd name="T74" fmla="*/ 19 w 554"/>
                  <a:gd name="T75" fmla="*/ 13 h 450"/>
                  <a:gd name="T76" fmla="*/ 24 w 554"/>
                  <a:gd name="T77" fmla="*/ 29 h 450"/>
                  <a:gd name="T78" fmla="*/ 110 w 554"/>
                  <a:gd name="T79" fmla="*/ 63 h 450"/>
                  <a:gd name="T80" fmla="*/ 91 w 554"/>
                  <a:gd name="T81" fmla="*/ 34 h 450"/>
                  <a:gd name="T82" fmla="*/ 39 w 554"/>
                  <a:gd name="T83" fmla="*/ 12 h 450"/>
                  <a:gd name="T84" fmla="*/ 3 w 554"/>
                  <a:gd name="T85" fmla="*/ 27 h 450"/>
                  <a:gd name="T86" fmla="*/ 38 w 554"/>
                  <a:gd name="T87" fmla="*/ 31 h 450"/>
                  <a:gd name="T88" fmla="*/ 67 w 554"/>
                  <a:gd name="T89" fmla="*/ 40 h 450"/>
                  <a:gd name="T90" fmla="*/ 209 w 554"/>
                  <a:gd name="T91" fmla="*/ 450 h 450"/>
                  <a:gd name="T92" fmla="*/ 496 w 554"/>
                  <a:gd name="T93" fmla="*/ 437 h 450"/>
                  <a:gd name="T94" fmla="*/ 212 w 554"/>
                  <a:gd name="T95" fmla="*/ 420 h 450"/>
                  <a:gd name="T96" fmla="*/ 168 w 554"/>
                  <a:gd name="T97" fmla="*/ 309 h 450"/>
                  <a:gd name="T98" fmla="*/ 451 w 554"/>
                  <a:gd name="T99" fmla="*/ 314 h 450"/>
                  <a:gd name="T100" fmla="*/ 552 w 554"/>
                  <a:gd name="T101" fmla="*/ 88 h 4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54" h="450">
                    <a:moveTo>
                      <a:pt x="508" y="168"/>
                    </a:moveTo>
                    <a:lnTo>
                      <a:pt x="465" y="168"/>
                    </a:lnTo>
                    <a:lnTo>
                      <a:pt x="478" y="88"/>
                    </a:lnTo>
                    <a:lnTo>
                      <a:pt x="530" y="88"/>
                    </a:lnTo>
                    <a:lnTo>
                      <a:pt x="508" y="168"/>
                    </a:lnTo>
                    <a:close/>
                    <a:moveTo>
                      <a:pt x="483" y="257"/>
                    </a:moveTo>
                    <a:cubicBezTo>
                      <a:pt x="480" y="265"/>
                      <a:pt x="471" y="273"/>
                      <a:pt x="462" y="273"/>
                    </a:cubicBezTo>
                    <a:lnTo>
                      <a:pt x="447" y="273"/>
                    </a:lnTo>
                    <a:lnTo>
                      <a:pt x="463" y="177"/>
                    </a:lnTo>
                    <a:lnTo>
                      <a:pt x="505" y="177"/>
                    </a:lnTo>
                    <a:lnTo>
                      <a:pt x="483" y="257"/>
                    </a:lnTo>
                    <a:close/>
                    <a:moveTo>
                      <a:pt x="432" y="273"/>
                    </a:moveTo>
                    <a:lnTo>
                      <a:pt x="398" y="273"/>
                    </a:lnTo>
                    <a:lnTo>
                      <a:pt x="407" y="177"/>
                    </a:lnTo>
                    <a:lnTo>
                      <a:pt x="447" y="177"/>
                    </a:lnTo>
                    <a:lnTo>
                      <a:pt x="432" y="273"/>
                    </a:lnTo>
                    <a:close/>
                    <a:moveTo>
                      <a:pt x="352" y="168"/>
                    </a:moveTo>
                    <a:lnTo>
                      <a:pt x="352" y="88"/>
                    </a:lnTo>
                    <a:lnTo>
                      <a:pt x="401" y="88"/>
                    </a:lnTo>
                    <a:lnTo>
                      <a:pt x="393" y="168"/>
                    </a:lnTo>
                    <a:lnTo>
                      <a:pt x="352" y="168"/>
                    </a:lnTo>
                    <a:close/>
                    <a:moveTo>
                      <a:pt x="383" y="273"/>
                    </a:moveTo>
                    <a:lnTo>
                      <a:pt x="352" y="273"/>
                    </a:lnTo>
                    <a:lnTo>
                      <a:pt x="352" y="177"/>
                    </a:lnTo>
                    <a:lnTo>
                      <a:pt x="392" y="177"/>
                    </a:lnTo>
                    <a:lnTo>
                      <a:pt x="383" y="273"/>
                    </a:lnTo>
                    <a:close/>
                    <a:moveTo>
                      <a:pt x="337" y="168"/>
                    </a:moveTo>
                    <a:lnTo>
                      <a:pt x="297" y="168"/>
                    </a:lnTo>
                    <a:lnTo>
                      <a:pt x="289" y="88"/>
                    </a:lnTo>
                    <a:lnTo>
                      <a:pt x="337" y="88"/>
                    </a:lnTo>
                    <a:lnTo>
                      <a:pt x="337" y="168"/>
                    </a:lnTo>
                    <a:close/>
                    <a:moveTo>
                      <a:pt x="337" y="273"/>
                    </a:moveTo>
                    <a:lnTo>
                      <a:pt x="307" y="273"/>
                    </a:lnTo>
                    <a:lnTo>
                      <a:pt x="298" y="177"/>
                    </a:lnTo>
                    <a:lnTo>
                      <a:pt x="337" y="177"/>
                    </a:lnTo>
                    <a:lnTo>
                      <a:pt x="337" y="273"/>
                    </a:lnTo>
                    <a:close/>
                    <a:moveTo>
                      <a:pt x="258" y="273"/>
                    </a:moveTo>
                    <a:lnTo>
                      <a:pt x="242" y="177"/>
                    </a:lnTo>
                    <a:lnTo>
                      <a:pt x="282" y="177"/>
                    </a:lnTo>
                    <a:lnTo>
                      <a:pt x="292" y="273"/>
                    </a:lnTo>
                    <a:lnTo>
                      <a:pt x="258" y="273"/>
                    </a:lnTo>
                    <a:close/>
                    <a:moveTo>
                      <a:pt x="210" y="273"/>
                    </a:moveTo>
                    <a:lnTo>
                      <a:pt x="188" y="177"/>
                    </a:lnTo>
                    <a:lnTo>
                      <a:pt x="227" y="177"/>
                    </a:lnTo>
                    <a:lnTo>
                      <a:pt x="242" y="273"/>
                    </a:lnTo>
                    <a:lnTo>
                      <a:pt x="210" y="273"/>
                    </a:lnTo>
                    <a:close/>
                    <a:moveTo>
                      <a:pt x="170" y="273"/>
                    </a:moveTo>
                    <a:cubicBezTo>
                      <a:pt x="165" y="273"/>
                      <a:pt x="161" y="271"/>
                      <a:pt x="157" y="268"/>
                    </a:cubicBezTo>
                    <a:cubicBezTo>
                      <a:pt x="150" y="244"/>
                      <a:pt x="141" y="211"/>
                      <a:pt x="131" y="177"/>
                    </a:cubicBezTo>
                    <a:lnTo>
                      <a:pt x="173" y="177"/>
                    </a:lnTo>
                    <a:lnTo>
                      <a:pt x="194" y="273"/>
                    </a:lnTo>
                    <a:lnTo>
                      <a:pt x="170" y="273"/>
                    </a:lnTo>
                    <a:close/>
                    <a:moveTo>
                      <a:pt x="126" y="156"/>
                    </a:moveTo>
                    <a:cubicBezTo>
                      <a:pt x="119" y="133"/>
                      <a:pt x="112" y="109"/>
                      <a:pt x="106" y="88"/>
                    </a:cubicBezTo>
                    <a:lnTo>
                      <a:pt x="153" y="88"/>
                    </a:lnTo>
                    <a:lnTo>
                      <a:pt x="171" y="168"/>
                    </a:lnTo>
                    <a:lnTo>
                      <a:pt x="129" y="168"/>
                    </a:lnTo>
                    <a:cubicBezTo>
                      <a:pt x="128" y="164"/>
                      <a:pt x="127" y="160"/>
                      <a:pt x="126" y="156"/>
                    </a:cubicBezTo>
                    <a:close/>
                    <a:moveTo>
                      <a:pt x="212" y="88"/>
                    </a:moveTo>
                    <a:lnTo>
                      <a:pt x="225" y="168"/>
                    </a:lnTo>
                    <a:lnTo>
                      <a:pt x="186" y="168"/>
                    </a:lnTo>
                    <a:lnTo>
                      <a:pt x="168" y="88"/>
                    </a:lnTo>
                    <a:lnTo>
                      <a:pt x="212" y="88"/>
                    </a:lnTo>
                    <a:close/>
                    <a:moveTo>
                      <a:pt x="274" y="88"/>
                    </a:moveTo>
                    <a:lnTo>
                      <a:pt x="281" y="168"/>
                    </a:lnTo>
                    <a:lnTo>
                      <a:pt x="241" y="168"/>
                    </a:lnTo>
                    <a:lnTo>
                      <a:pt x="228" y="88"/>
                    </a:lnTo>
                    <a:lnTo>
                      <a:pt x="274" y="88"/>
                    </a:lnTo>
                    <a:close/>
                    <a:moveTo>
                      <a:pt x="416" y="88"/>
                    </a:moveTo>
                    <a:lnTo>
                      <a:pt x="462" y="88"/>
                    </a:lnTo>
                    <a:lnTo>
                      <a:pt x="449" y="168"/>
                    </a:lnTo>
                    <a:lnTo>
                      <a:pt x="408" y="168"/>
                    </a:lnTo>
                    <a:lnTo>
                      <a:pt x="416" y="88"/>
                    </a:lnTo>
                    <a:close/>
                    <a:moveTo>
                      <a:pt x="24" y="29"/>
                    </a:moveTo>
                    <a:cubicBezTo>
                      <a:pt x="19" y="31"/>
                      <a:pt x="15" y="28"/>
                      <a:pt x="13" y="24"/>
                    </a:cubicBezTo>
                    <a:cubicBezTo>
                      <a:pt x="12" y="19"/>
                      <a:pt x="14" y="14"/>
                      <a:pt x="19" y="13"/>
                    </a:cubicBezTo>
                    <a:cubicBezTo>
                      <a:pt x="24" y="12"/>
                      <a:pt x="28" y="14"/>
                      <a:pt x="30" y="19"/>
                    </a:cubicBezTo>
                    <a:cubicBezTo>
                      <a:pt x="31" y="23"/>
                      <a:pt x="29" y="28"/>
                      <a:pt x="24" y="29"/>
                    </a:cubicBezTo>
                    <a:close/>
                    <a:moveTo>
                      <a:pt x="533" y="63"/>
                    </a:moveTo>
                    <a:lnTo>
                      <a:pt x="110" y="63"/>
                    </a:lnTo>
                    <a:cubicBezTo>
                      <a:pt x="106" y="63"/>
                      <a:pt x="103" y="63"/>
                      <a:pt x="100" y="65"/>
                    </a:cubicBezTo>
                    <a:cubicBezTo>
                      <a:pt x="99" y="61"/>
                      <a:pt x="94" y="44"/>
                      <a:pt x="91" y="34"/>
                    </a:cubicBezTo>
                    <a:cubicBezTo>
                      <a:pt x="88" y="22"/>
                      <a:pt x="79" y="12"/>
                      <a:pt x="64" y="12"/>
                    </a:cubicBezTo>
                    <a:cubicBezTo>
                      <a:pt x="61" y="12"/>
                      <a:pt x="40" y="12"/>
                      <a:pt x="39" y="12"/>
                    </a:cubicBezTo>
                    <a:cubicBezTo>
                      <a:pt x="34" y="4"/>
                      <a:pt x="25" y="0"/>
                      <a:pt x="16" y="2"/>
                    </a:cubicBezTo>
                    <a:cubicBezTo>
                      <a:pt x="5" y="6"/>
                      <a:pt x="0" y="16"/>
                      <a:pt x="3" y="27"/>
                    </a:cubicBezTo>
                    <a:cubicBezTo>
                      <a:pt x="6" y="37"/>
                      <a:pt x="17" y="43"/>
                      <a:pt x="27" y="40"/>
                    </a:cubicBezTo>
                    <a:cubicBezTo>
                      <a:pt x="32" y="39"/>
                      <a:pt x="36" y="35"/>
                      <a:pt x="38" y="31"/>
                    </a:cubicBezTo>
                    <a:cubicBezTo>
                      <a:pt x="40" y="31"/>
                      <a:pt x="52" y="31"/>
                      <a:pt x="54" y="31"/>
                    </a:cubicBezTo>
                    <a:cubicBezTo>
                      <a:pt x="63" y="31"/>
                      <a:pt x="65" y="33"/>
                      <a:pt x="67" y="40"/>
                    </a:cubicBezTo>
                    <a:cubicBezTo>
                      <a:pt x="73" y="61"/>
                      <a:pt x="165" y="388"/>
                      <a:pt x="171" y="409"/>
                    </a:cubicBezTo>
                    <a:cubicBezTo>
                      <a:pt x="180" y="439"/>
                      <a:pt x="194" y="450"/>
                      <a:pt x="209" y="450"/>
                    </a:cubicBezTo>
                    <a:lnTo>
                      <a:pt x="483" y="450"/>
                    </a:lnTo>
                    <a:cubicBezTo>
                      <a:pt x="492" y="450"/>
                      <a:pt x="496" y="441"/>
                      <a:pt x="496" y="437"/>
                    </a:cubicBezTo>
                    <a:cubicBezTo>
                      <a:pt x="498" y="423"/>
                      <a:pt x="486" y="420"/>
                      <a:pt x="480" y="420"/>
                    </a:cubicBezTo>
                    <a:lnTo>
                      <a:pt x="212" y="420"/>
                    </a:lnTo>
                    <a:cubicBezTo>
                      <a:pt x="205" y="420"/>
                      <a:pt x="198" y="415"/>
                      <a:pt x="196" y="408"/>
                    </a:cubicBezTo>
                    <a:cubicBezTo>
                      <a:pt x="195" y="404"/>
                      <a:pt x="170" y="315"/>
                      <a:pt x="168" y="309"/>
                    </a:cubicBezTo>
                    <a:cubicBezTo>
                      <a:pt x="174" y="315"/>
                      <a:pt x="179" y="314"/>
                      <a:pt x="182" y="314"/>
                    </a:cubicBezTo>
                    <a:lnTo>
                      <a:pt x="451" y="314"/>
                    </a:lnTo>
                    <a:cubicBezTo>
                      <a:pt x="486" y="314"/>
                      <a:pt x="500" y="272"/>
                      <a:pt x="503" y="259"/>
                    </a:cubicBezTo>
                    <a:lnTo>
                      <a:pt x="552" y="88"/>
                    </a:lnTo>
                    <a:cubicBezTo>
                      <a:pt x="554" y="81"/>
                      <a:pt x="552" y="63"/>
                      <a:pt x="533" y="63"/>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
        <p:nvSpPr>
          <p:cNvPr id="79" name="Rechthoek 63">
            <a:extLst>
              <a:ext uri="{FF2B5EF4-FFF2-40B4-BE49-F238E27FC236}">
                <a16:creationId xmlns:a16="http://schemas.microsoft.com/office/drawing/2014/main" id="{0C54E498-CFD0-43E9-AEE9-E1CD1BE1E11D}"/>
              </a:ext>
            </a:extLst>
          </p:cNvPr>
          <p:cNvSpPr/>
          <p:nvPr/>
        </p:nvSpPr>
        <p:spPr>
          <a:xfrm>
            <a:off x="8264185" y="2732315"/>
            <a:ext cx="137160" cy="182880"/>
          </a:xfrm>
          <a:prstGeom prst="rect">
            <a:avLst/>
          </a:prstGeom>
          <a:ln/>
        </p:spPr>
        <p:style>
          <a:lnRef idx="0">
            <a:schemeClr val="accent2"/>
          </a:lnRef>
          <a:fillRef idx="3">
            <a:schemeClr val="accent2"/>
          </a:fillRef>
          <a:effectRef idx="3">
            <a:schemeClr val="accent2"/>
          </a:effectRef>
          <a:fontRef idx="minor">
            <a:schemeClr val="lt1"/>
          </a:fontRef>
        </p:style>
        <p:txBody>
          <a:bodyPr rtlCol="0" anchor="ctr"/>
          <a:lstStyle/>
          <a:p>
            <a:pPr algn="ctr"/>
            <a:r>
              <a:rPr lang="nl-NL" sz="1200" b="1"/>
              <a:t>P</a:t>
            </a:r>
          </a:p>
        </p:txBody>
      </p:sp>
      <p:sp>
        <p:nvSpPr>
          <p:cNvPr id="81" name="Rechthoek 63">
            <a:extLst>
              <a:ext uri="{FF2B5EF4-FFF2-40B4-BE49-F238E27FC236}">
                <a16:creationId xmlns:a16="http://schemas.microsoft.com/office/drawing/2014/main" id="{097F9A11-0CA1-4718-9C8E-EE62BB4D7D37}"/>
              </a:ext>
            </a:extLst>
          </p:cNvPr>
          <p:cNvSpPr/>
          <p:nvPr/>
        </p:nvSpPr>
        <p:spPr>
          <a:xfrm>
            <a:off x="9566900" y="2997684"/>
            <a:ext cx="137160" cy="182880"/>
          </a:xfrm>
          <a:prstGeom prst="rect">
            <a:avLst/>
          </a:prstGeom>
          <a:ln/>
        </p:spPr>
        <p:style>
          <a:lnRef idx="0">
            <a:schemeClr val="accent2"/>
          </a:lnRef>
          <a:fillRef idx="3">
            <a:schemeClr val="accent2"/>
          </a:fillRef>
          <a:effectRef idx="3">
            <a:schemeClr val="accent2"/>
          </a:effectRef>
          <a:fontRef idx="minor">
            <a:schemeClr val="lt1"/>
          </a:fontRef>
        </p:style>
        <p:txBody>
          <a:bodyPr rtlCol="0" anchor="ctr"/>
          <a:lstStyle/>
          <a:p>
            <a:pPr algn="ctr"/>
            <a:r>
              <a:rPr lang="nl-NL" sz="1200" b="1"/>
              <a:t>P</a:t>
            </a:r>
          </a:p>
        </p:txBody>
      </p:sp>
      <p:sp>
        <p:nvSpPr>
          <p:cNvPr id="7" name="Paginanummer Seinpost">
            <a:extLst>
              <a:ext uri="{FF2B5EF4-FFF2-40B4-BE49-F238E27FC236}">
                <a16:creationId xmlns:a16="http://schemas.microsoft.com/office/drawing/2014/main" id="{613063A8-DF5B-4E21-A827-60DE3F5138E0}"/>
              </a:ext>
            </a:extLst>
          </p:cNvPr>
          <p:cNvSpPr txBox="1">
            <a:spLocks/>
          </p:cNvSpPr>
          <p:nvPr>
            <p:custDataLst>
              <p:tags r:id="rId1"/>
            </p:custDataLst>
          </p:nvPr>
        </p:nvSpPr>
        <p:spPr>
          <a:xfrm>
            <a:off x="11628018" y="252000"/>
            <a:ext cx="381601" cy="244800"/>
          </a:xfrm>
          <a:prstGeom prst="rect">
            <a:avLst/>
          </a:prstGeom>
          <a:noFill/>
        </p:spPr>
        <p:txBody>
          <a:bodyPr vert="horz" lIns="0" tIns="0" rIns="0" bIns="0" rtlCol="0" anchor="t">
            <a:noAutofit/>
          </a:bodyPr>
          <a:lstStyle/>
          <a:p>
            <a:pPr algn="ctr"/>
            <a:r>
              <a:rPr lang="nl-NL" sz="1000" b="1">
                <a:solidFill>
                  <a:srgbClr val="62366E"/>
                </a:solidFill>
                <a:latin typeface="Open Sans" panose="020B0606030504020204" pitchFamily="34" charset="0"/>
              </a:rPr>
              <a:t>16</a:t>
            </a:r>
          </a:p>
        </p:txBody>
      </p:sp>
      <p:pic>
        <p:nvPicPr>
          <p:cNvPr id="9" name="Paginanummer Seinpost">
            <a:extLst>
              <a:ext uri="{FF2B5EF4-FFF2-40B4-BE49-F238E27FC236}">
                <a16:creationId xmlns:a16="http://schemas.microsoft.com/office/drawing/2014/main" id="{DA8B7347-23A8-4806-A0CD-9E4A796F3DF9}"/>
              </a:ext>
            </a:extLst>
          </p:cNvPr>
          <p:cNvPicPr>
            <a:picLocks noChangeAspect="1"/>
          </p:cNvPicPr>
          <p:nvPr>
            <p:custDataLst>
              <p:tags r:id="rId2"/>
            </p:custDataLst>
          </p:nvPr>
        </p:nvPicPr>
        <p:blipFill>
          <a:blip r:embed="rId12">
            <a:extLst>
              <a:ext uri="{28A0092B-C50C-407E-A947-70E740481C1C}">
                <a14:useLocalDpi xmlns:a14="http://schemas.microsoft.com/office/drawing/2010/main" val="0"/>
              </a:ext>
            </a:extLst>
          </a:blip>
          <a:stretch>
            <a:fillRect/>
          </a:stretch>
        </p:blipFill>
        <p:spPr>
          <a:xfrm>
            <a:off x="11674818" y="172800"/>
            <a:ext cx="298705" cy="289561"/>
          </a:xfrm>
          <a:prstGeom prst="rect">
            <a:avLst/>
          </a:prstGeom>
        </p:spPr>
      </p:pic>
      <p:sp>
        <p:nvSpPr>
          <p:cNvPr id="10" name="Paginanummer Seinpost">
            <a:extLst>
              <a:ext uri="{FF2B5EF4-FFF2-40B4-BE49-F238E27FC236}">
                <a16:creationId xmlns:a16="http://schemas.microsoft.com/office/drawing/2014/main" id="{196AD4A8-3786-4528-8D66-B4048B4E407F}"/>
              </a:ext>
            </a:extLst>
          </p:cNvPr>
          <p:cNvSpPr txBox="1">
            <a:spLocks/>
          </p:cNvSpPr>
          <p:nvPr>
            <p:custDataLst>
              <p:tags r:id="rId3"/>
            </p:custDataLst>
          </p:nvPr>
        </p:nvSpPr>
        <p:spPr>
          <a:xfrm>
            <a:off x="11628018" y="252000"/>
            <a:ext cx="381601" cy="244800"/>
          </a:xfrm>
          <a:prstGeom prst="rect">
            <a:avLst/>
          </a:prstGeom>
          <a:noFill/>
        </p:spPr>
        <p:txBody>
          <a:bodyPr vert="horz" lIns="0" tIns="0" rIns="0" bIns="0" rtlCol="0" anchor="t">
            <a:noAutofit/>
          </a:bodyPr>
          <a:lstStyle/>
          <a:p>
            <a:pPr algn="ctr"/>
            <a:r>
              <a:rPr lang="nl-NL" sz="1000" b="1">
                <a:solidFill>
                  <a:srgbClr val="62366E"/>
                </a:solidFill>
                <a:latin typeface="Open Sans" panose="020B0606030504020204" pitchFamily="34" charset="0"/>
              </a:rPr>
              <a:t>15</a:t>
            </a:r>
          </a:p>
        </p:txBody>
      </p:sp>
    </p:spTree>
    <p:extLst>
      <p:ext uri="{BB962C8B-B14F-4D97-AF65-F5344CB8AC3E}">
        <p14:creationId xmlns:p14="http://schemas.microsoft.com/office/powerpoint/2010/main" val="339395178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54">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254">
                                            <p:txEl>
                                              <p:pRg st="1" end="1"/>
                                            </p:txEl>
                                          </p:spTgt>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254">
                                            <p:txEl>
                                              <p:pRg st="4" end="4"/>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254">
                                            <p:txEl>
                                              <p:pRg st="5" end="5"/>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254">
                                            <p:txEl>
                                              <p:pRg st="7" end="7"/>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254">
                                            <p:txEl>
                                              <p:pRg st="9" end="9"/>
                                            </p:txEl>
                                          </p:spTgt>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4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1" grpId="0" animBg="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4" name="Picture 111" descr="Diagram, engineering drawing&#10;&#10;Description automatically generated">
            <a:extLst>
              <a:ext uri="{FF2B5EF4-FFF2-40B4-BE49-F238E27FC236}">
                <a16:creationId xmlns:a16="http://schemas.microsoft.com/office/drawing/2014/main" id="{824246FE-4D22-487B-BEED-3D50D6D3919B}"/>
              </a:ext>
            </a:extLst>
          </p:cNvPr>
          <p:cNvPicPr>
            <a:picLocks noChangeAspect="1"/>
          </p:cNvPicPr>
          <p:nvPr/>
        </p:nvPicPr>
        <p:blipFill rotWithShape="1">
          <a:blip r:embed="rId15">
            <a:extLst>
              <a:ext uri="{28A0092B-C50C-407E-A947-70E740481C1C}">
                <a14:useLocalDpi xmlns:a14="http://schemas.microsoft.com/office/drawing/2010/main" val="0"/>
              </a:ext>
            </a:extLst>
          </a:blip>
          <a:srcRect l="12282" r="16581"/>
          <a:stretch/>
        </p:blipFill>
        <p:spPr>
          <a:xfrm>
            <a:off x="6503691" y="317580"/>
            <a:ext cx="5381625" cy="6418903"/>
          </a:xfrm>
          <a:prstGeom prst="rect">
            <a:avLst/>
          </a:prstGeom>
          <a:ln>
            <a:solidFill>
              <a:schemeClr val="tx1"/>
            </a:solidFill>
          </a:ln>
        </p:spPr>
      </p:pic>
      <p:sp>
        <p:nvSpPr>
          <p:cNvPr id="49" name="Ovaal 48">
            <a:extLst>
              <a:ext uri="{FF2B5EF4-FFF2-40B4-BE49-F238E27FC236}">
                <a16:creationId xmlns:a16="http://schemas.microsoft.com/office/drawing/2014/main" id="{CCC3B76E-F952-4C6E-9C18-AB9F2D66A7E1}"/>
              </a:ext>
            </a:extLst>
          </p:cNvPr>
          <p:cNvSpPr/>
          <p:nvPr/>
        </p:nvSpPr>
        <p:spPr>
          <a:xfrm rot="1177676">
            <a:off x="9313927" y="1846491"/>
            <a:ext cx="1120065" cy="824325"/>
          </a:xfrm>
          <a:custGeom>
            <a:avLst/>
            <a:gdLst>
              <a:gd name="connsiteX0" fmla="*/ 0 w 1120065"/>
              <a:gd name="connsiteY0" fmla="*/ 412163 h 824325"/>
              <a:gd name="connsiteX1" fmla="*/ 560033 w 1120065"/>
              <a:gd name="connsiteY1" fmla="*/ 0 h 824325"/>
              <a:gd name="connsiteX2" fmla="*/ 1120066 w 1120065"/>
              <a:gd name="connsiteY2" fmla="*/ 412163 h 824325"/>
              <a:gd name="connsiteX3" fmla="*/ 560033 w 1120065"/>
              <a:gd name="connsiteY3" fmla="*/ 824326 h 824325"/>
              <a:gd name="connsiteX4" fmla="*/ 0 w 1120065"/>
              <a:gd name="connsiteY4" fmla="*/ 412163 h 8243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20065" h="824325" fill="none" extrusionOk="0">
                <a:moveTo>
                  <a:pt x="0" y="412163"/>
                </a:moveTo>
                <a:cubicBezTo>
                  <a:pt x="-7979" y="251689"/>
                  <a:pt x="239423" y="-88093"/>
                  <a:pt x="560033" y="0"/>
                </a:cubicBezTo>
                <a:cubicBezTo>
                  <a:pt x="874259" y="-43109"/>
                  <a:pt x="1169754" y="155711"/>
                  <a:pt x="1120066" y="412163"/>
                </a:cubicBezTo>
                <a:cubicBezTo>
                  <a:pt x="1161638" y="712069"/>
                  <a:pt x="932795" y="875233"/>
                  <a:pt x="560033" y="824326"/>
                </a:cubicBezTo>
                <a:cubicBezTo>
                  <a:pt x="283216" y="846254"/>
                  <a:pt x="49399" y="654351"/>
                  <a:pt x="0" y="412163"/>
                </a:cubicBezTo>
                <a:close/>
              </a:path>
              <a:path w="1120065" h="824325" stroke="0" extrusionOk="0">
                <a:moveTo>
                  <a:pt x="0" y="412163"/>
                </a:moveTo>
                <a:cubicBezTo>
                  <a:pt x="15127" y="194124"/>
                  <a:pt x="310107" y="-39020"/>
                  <a:pt x="560033" y="0"/>
                </a:cubicBezTo>
                <a:cubicBezTo>
                  <a:pt x="845648" y="-24985"/>
                  <a:pt x="1103020" y="191431"/>
                  <a:pt x="1120066" y="412163"/>
                </a:cubicBezTo>
                <a:cubicBezTo>
                  <a:pt x="1116453" y="610666"/>
                  <a:pt x="819396" y="779863"/>
                  <a:pt x="560033" y="824326"/>
                </a:cubicBezTo>
                <a:cubicBezTo>
                  <a:pt x="262805" y="856935"/>
                  <a:pt x="4488" y="636861"/>
                  <a:pt x="0" y="412163"/>
                </a:cubicBezTo>
                <a:close/>
              </a:path>
            </a:pathLst>
          </a:custGeom>
          <a:solidFill>
            <a:srgbClr val="67B2E8">
              <a:alpha val="50196"/>
            </a:srgbClr>
          </a:solidFill>
          <a:ln w="19050">
            <a:solidFill>
              <a:schemeClr val="accent2">
                <a:lumMod val="50000"/>
              </a:schemeClr>
            </a:solidFill>
            <a:prstDash val="lgDash"/>
            <a:extLst>
              <a:ext uri="{C807C97D-BFC1-408E-A445-0C87EB9F89A2}">
                <ask:lineSketchStyleProps xmlns:ask="http://schemas.microsoft.com/office/drawing/2018/sketchyshapes" sd="3401541704">
                  <a:prstGeom prst="ellipse">
                    <a:avLst/>
                  </a:prstGeom>
                  <ask:type>
                    <ask:lineSketchScribble/>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9" name="Rechthoek: afgeronde hoeken 19">
            <a:extLst>
              <a:ext uri="{FF2B5EF4-FFF2-40B4-BE49-F238E27FC236}">
                <a16:creationId xmlns:a16="http://schemas.microsoft.com/office/drawing/2014/main" id="{19FB4EC5-2E6B-4B8B-9F55-FEA9210DE5F0}"/>
              </a:ext>
            </a:extLst>
          </p:cNvPr>
          <p:cNvSpPr/>
          <p:nvPr/>
        </p:nvSpPr>
        <p:spPr>
          <a:xfrm rot="21152301">
            <a:off x="9525934" y="841334"/>
            <a:ext cx="602403" cy="967251"/>
          </a:xfrm>
          <a:custGeom>
            <a:avLst/>
            <a:gdLst>
              <a:gd name="connsiteX0" fmla="*/ 0 w 602403"/>
              <a:gd name="connsiteY0" fmla="*/ 100403 h 966899"/>
              <a:gd name="connsiteX1" fmla="*/ 100403 w 602403"/>
              <a:gd name="connsiteY1" fmla="*/ 0 h 966899"/>
              <a:gd name="connsiteX2" fmla="*/ 502000 w 602403"/>
              <a:gd name="connsiteY2" fmla="*/ 0 h 966899"/>
              <a:gd name="connsiteX3" fmla="*/ 602403 w 602403"/>
              <a:gd name="connsiteY3" fmla="*/ 100403 h 966899"/>
              <a:gd name="connsiteX4" fmla="*/ 602403 w 602403"/>
              <a:gd name="connsiteY4" fmla="*/ 866496 h 966899"/>
              <a:gd name="connsiteX5" fmla="*/ 502000 w 602403"/>
              <a:gd name="connsiteY5" fmla="*/ 966899 h 966899"/>
              <a:gd name="connsiteX6" fmla="*/ 100403 w 602403"/>
              <a:gd name="connsiteY6" fmla="*/ 966899 h 966899"/>
              <a:gd name="connsiteX7" fmla="*/ 0 w 602403"/>
              <a:gd name="connsiteY7" fmla="*/ 866496 h 966899"/>
              <a:gd name="connsiteX8" fmla="*/ 0 w 602403"/>
              <a:gd name="connsiteY8" fmla="*/ 100403 h 966899"/>
              <a:gd name="connsiteX0" fmla="*/ 0 w 602403"/>
              <a:gd name="connsiteY0" fmla="*/ 100403 h 966899"/>
              <a:gd name="connsiteX1" fmla="*/ 200541 w 602403"/>
              <a:gd name="connsiteY1" fmla="*/ 115583 h 966899"/>
              <a:gd name="connsiteX2" fmla="*/ 502000 w 602403"/>
              <a:gd name="connsiteY2" fmla="*/ 0 h 966899"/>
              <a:gd name="connsiteX3" fmla="*/ 602403 w 602403"/>
              <a:gd name="connsiteY3" fmla="*/ 100403 h 966899"/>
              <a:gd name="connsiteX4" fmla="*/ 602403 w 602403"/>
              <a:gd name="connsiteY4" fmla="*/ 866496 h 966899"/>
              <a:gd name="connsiteX5" fmla="*/ 502000 w 602403"/>
              <a:gd name="connsiteY5" fmla="*/ 966899 h 966899"/>
              <a:gd name="connsiteX6" fmla="*/ 100403 w 602403"/>
              <a:gd name="connsiteY6" fmla="*/ 966899 h 966899"/>
              <a:gd name="connsiteX7" fmla="*/ 0 w 602403"/>
              <a:gd name="connsiteY7" fmla="*/ 866496 h 966899"/>
              <a:gd name="connsiteX8" fmla="*/ 0 w 602403"/>
              <a:gd name="connsiteY8" fmla="*/ 100403 h 966899"/>
              <a:gd name="connsiteX0" fmla="*/ 6442 w 602403"/>
              <a:gd name="connsiteY0" fmla="*/ 344607 h 966899"/>
              <a:gd name="connsiteX1" fmla="*/ 200541 w 602403"/>
              <a:gd name="connsiteY1" fmla="*/ 115583 h 966899"/>
              <a:gd name="connsiteX2" fmla="*/ 502000 w 602403"/>
              <a:gd name="connsiteY2" fmla="*/ 0 h 966899"/>
              <a:gd name="connsiteX3" fmla="*/ 602403 w 602403"/>
              <a:gd name="connsiteY3" fmla="*/ 100403 h 966899"/>
              <a:gd name="connsiteX4" fmla="*/ 602403 w 602403"/>
              <a:gd name="connsiteY4" fmla="*/ 866496 h 966899"/>
              <a:gd name="connsiteX5" fmla="*/ 502000 w 602403"/>
              <a:gd name="connsiteY5" fmla="*/ 966899 h 966899"/>
              <a:gd name="connsiteX6" fmla="*/ 100403 w 602403"/>
              <a:gd name="connsiteY6" fmla="*/ 966899 h 966899"/>
              <a:gd name="connsiteX7" fmla="*/ 0 w 602403"/>
              <a:gd name="connsiteY7" fmla="*/ 866496 h 966899"/>
              <a:gd name="connsiteX8" fmla="*/ 6442 w 602403"/>
              <a:gd name="connsiteY8" fmla="*/ 344607 h 966899"/>
              <a:gd name="connsiteX0" fmla="*/ 6442 w 602403"/>
              <a:gd name="connsiteY0" fmla="*/ 344959 h 967251"/>
              <a:gd name="connsiteX1" fmla="*/ 200541 w 602403"/>
              <a:gd name="connsiteY1" fmla="*/ 115935 h 967251"/>
              <a:gd name="connsiteX2" fmla="*/ 303695 w 602403"/>
              <a:gd name="connsiteY2" fmla="*/ 32315 h 967251"/>
              <a:gd name="connsiteX3" fmla="*/ 502000 w 602403"/>
              <a:gd name="connsiteY3" fmla="*/ 352 h 967251"/>
              <a:gd name="connsiteX4" fmla="*/ 602403 w 602403"/>
              <a:gd name="connsiteY4" fmla="*/ 100755 h 967251"/>
              <a:gd name="connsiteX5" fmla="*/ 602403 w 602403"/>
              <a:gd name="connsiteY5" fmla="*/ 866848 h 967251"/>
              <a:gd name="connsiteX6" fmla="*/ 502000 w 602403"/>
              <a:gd name="connsiteY6" fmla="*/ 967251 h 967251"/>
              <a:gd name="connsiteX7" fmla="*/ 100403 w 602403"/>
              <a:gd name="connsiteY7" fmla="*/ 967251 h 967251"/>
              <a:gd name="connsiteX8" fmla="*/ 0 w 602403"/>
              <a:gd name="connsiteY8" fmla="*/ 866848 h 967251"/>
              <a:gd name="connsiteX9" fmla="*/ 6442 w 602403"/>
              <a:gd name="connsiteY9" fmla="*/ 344959 h 9672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02403" h="967251">
                <a:moveTo>
                  <a:pt x="6442" y="344959"/>
                </a:moveTo>
                <a:cubicBezTo>
                  <a:pt x="6442" y="289508"/>
                  <a:pt x="145090" y="115935"/>
                  <a:pt x="200541" y="115935"/>
                </a:cubicBezTo>
                <a:cubicBezTo>
                  <a:pt x="249683" y="72314"/>
                  <a:pt x="253452" y="51579"/>
                  <a:pt x="303695" y="32315"/>
                </a:cubicBezTo>
                <a:cubicBezTo>
                  <a:pt x="353938" y="13051"/>
                  <a:pt x="451815" y="-2568"/>
                  <a:pt x="502000" y="352"/>
                </a:cubicBezTo>
                <a:cubicBezTo>
                  <a:pt x="557451" y="352"/>
                  <a:pt x="602403" y="45304"/>
                  <a:pt x="602403" y="100755"/>
                </a:cubicBezTo>
                <a:lnTo>
                  <a:pt x="602403" y="866848"/>
                </a:lnTo>
                <a:cubicBezTo>
                  <a:pt x="602403" y="922299"/>
                  <a:pt x="557451" y="967251"/>
                  <a:pt x="502000" y="967251"/>
                </a:cubicBezTo>
                <a:lnTo>
                  <a:pt x="100403" y="967251"/>
                </a:lnTo>
                <a:cubicBezTo>
                  <a:pt x="44952" y="967251"/>
                  <a:pt x="0" y="922299"/>
                  <a:pt x="0" y="866848"/>
                </a:cubicBezTo>
                <a:cubicBezTo>
                  <a:pt x="2147" y="692885"/>
                  <a:pt x="4295" y="518922"/>
                  <a:pt x="6442" y="344959"/>
                </a:cubicBezTo>
                <a:close/>
              </a:path>
            </a:pathLst>
          </a:custGeom>
          <a:solidFill>
            <a:srgbClr val="62366E">
              <a:alpha val="50196"/>
            </a:srgbClr>
          </a:solidFill>
          <a:ln w="19050">
            <a:solidFill>
              <a:schemeClr val="accent1"/>
            </a:solidFill>
            <a:prstDash val="lgDash"/>
            <a:extLst>
              <a:ext uri="{C807C97D-BFC1-408E-A445-0C87EB9F89A2}">
                <ask:lineSketchStyleProps xmlns:ask="http://schemas.microsoft.com/office/drawing/2018/sketchyshapes" sd="2027986909">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67" name="Ovaal 216">
            <a:extLst>
              <a:ext uri="{FF2B5EF4-FFF2-40B4-BE49-F238E27FC236}">
                <a16:creationId xmlns:a16="http://schemas.microsoft.com/office/drawing/2014/main" id="{6BB5B358-591C-478B-83BB-04C59E939570}"/>
              </a:ext>
            </a:extLst>
          </p:cNvPr>
          <p:cNvSpPr/>
          <p:nvPr/>
        </p:nvSpPr>
        <p:spPr>
          <a:xfrm rot="2334895">
            <a:off x="8643589" y="4818970"/>
            <a:ext cx="977943" cy="1448917"/>
          </a:xfrm>
          <a:custGeom>
            <a:avLst/>
            <a:gdLst>
              <a:gd name="connsiteX0" fmla="*/ 0 w 951616"/>
              <a:gd name="connsiteY0" fmla="*/ 601230 h 1202460"/>
              <a:gd name="connsiteX1" fmla="*/ 475808 w 951616"/>
              <a:gd name="connsiteY1" fmla="*/ 0 h 1202460"/>
              <a:gd name="connsiteX2" fmla="*/ 951616 w 951616"/>
              <a:gd name="connsiteY2" fmla="*/ 601230 h 1202460"/>
              <a:gd name="connsiteX3" fmla="*/ 475808 w 951616"/>
              <a:gd name="connsiteY3" fmla="*/ 1202460 h 1202460"/>
              <a:gd name="connsiteX4" fmla="*/ 0 w 951616"/>
              <a:gd name="connsiteY4" fmla="*/ 601230 h 1202460"/>
              <a:gd name="connsiteX0" fmla="*/ 37983 w 989599"/>
              <a:gd name="connsiteY0" fmla="*/ 601230 h 1318861"/>
              <a:gd name="connsiteX1" fmla="*/ 513791 w 989599"/>
              <a:gd name="connsiteY1" fmla="*/ 0 h 1318861"/>
              <a:gd name="connsiteX2" fmla="*/ 989599 w 989599"/>
              <a:gd name="connsiteY2" fmla="*/ 601230 h 1318861"/>
              <a:gd name="connsiteX3" fmla="*/ 207870 w 989599"/>
              <a:gd name="connsiteY3" fmla="*/ 1318861 h 1318861"/>
              <a:gd name="connsiteX4" fmla="*/ 37983 w 989599"/>
              <a:gd name="connsiteY4" fmla="*/ 601230 h 1318861"/>
              <a:gd name="connsiteX0" fmla="*/ 46258 w 877800"/>
              <a:gd name="connsiteY0" fmla="*/ 618569 h 1318895"/>
              <a:gd name="connsiteX1" fmla="*/ 401992 w 877800"/>
              <a:gd name="connsiteY1" fmla="*/ 22 h 1318895"/>
              <a:gd name="connsiteX2" fmla="*/ 877800 w 877800"/>
              <a:gd name="connsiteY2" fmla="*/ 601252 h 1318895"/>
              <a:gd name="connsiteX3" fmla="*/ 96071 w 877800"/>
              <a:gd name="connsiteY3" fmla="*/ 1318883 h 1318895"/>
              <a:gd name="connsiteX4" fmla="*/ 46258 w 877800"/>
              <a:gd name="connsiteY4" fmla="*/ 618569 h 1318895"/>
              <a:gd name="connsiteX0" fmla="*/ 145976 w 977518"/>
              <a:gd name="connsiteY0" fmla="*/ 618569 h 1337824"/>
              <a:gd name="connsiteX1" fmla="*/ 501710 w 977518"/>
              <a:gd name="connsiteY1" fmla="*/ 22 h 1337824"/>
              <a:gd name="connsiteX2" fmla="*/ 977518 w 977518"/>
              <a:gd name="connsiteY2" fmla="*/ 601252 h 1337824"/>
              <a:gd name="connsiteX3" fmla="*/ 195789 w 977518"/>
              <a:gd name="connsiteY3" fmla="*/ 1318883 h 1337824"/>
              <a:gd name="connsiteX4" fmla="*/ 669 w 977518"/>
              <a:gd name="connsiteY4" fmla="*/ 1086179 h 1337824"/>
              <a:gd name="connsiteX5" fmla="*/ 145976 w 977518"/>
              <a:gd name="connsiteY5" fmla="*/ 618569 h 1337824"/>
              <a:gd name="connsiteX0" fmla="*/ 246862 w 977141"/>
              <a:gd name="connsiteY0" fmla="*/ 643017 h 1337930"/>
              <a:gd name="connsiteX1" fmla="*/ 501333 w 977141"/>
              <a:gd name="connsiteY1" fmla="*/ 128 h 1337930"/>
              <a:gd name="connsiteX2" fmla="*/ 977141 w 977141"/>
              <a:gd name="connsiteY2" fmla="*/ 601358 h 1337930"/>
              <a:gd name="connsiteX3" fmla="*/ 195412 w 977141"/>
              <a:gd name="connsiteY3" fmla="*/ 1318989 h 1337930"/>
              <a:gd name="connsiteX4" fmla="*/ 292 w 977141"/>
              <a:gd name="connsiteY4" fmla="*/ 1086285 h 1337930"/>
              <a:gd name="connsiteX5" fmla="*/ 246862 w 977141"/>
              <a:gd name="connsiteY5" fmla="*/ 643017 h 1337930"/>
              <a:gd name="connsiteX0" fmla="*/ 246814 w 977093"/>
              <a:gd name="connsiteY0" fmla="*/ 688278 h 1383191"/>
              <a:gd name="connsiteX1" fmla="*/ 289264 w 977093"/>
              <a:gd name="connsiteY1" fmla="*/ 114745 h 1383191"/>
              <a:gd name="connsiteX2" fmla="*/ 501285 w 977093"/>
              <a:gd name="connsiteY2" fmla="*/ 45389 h 1383191"/>
              <a:gd name="connsiteX3" fmla="*/ 977093 w 977093"/>
              <a:gd name="connsiteY3" fmla="*/ 646619 h 1383191"/>
              <a:gd name="connsiteX4" fmla="*/ 195364 w 977093"/>
              <a:gd name="connsiteY4" fmla="*/ 1364250 h 1383191"/>
              <a:gd name="connsiteX5" fmla="*/ 244 w 977093"/>
              <a:gd name="connsiteY5" fmla="*/ 1131546 h 1383191"/>
              <a:gd name="connsiteX6" fmla="*/ 246814 w 977093"/>
              <a:gd name="connsiteY6" fmla="*/ 688278 h 1383191"/>
              <a:gd name="connsiteX0" fmla="*/ 246814 w 984760"/>
              <a:gd name="connsiteY0" fmla="*/ 762162 h 1457075"/>
              <a:gd name="connsiteX1" fmla="*/ 289264 w 984760"/>
              <a:gd name="connsiteY1" fmla="*/ 188629 h 1457075"/>
              <a:gd name="connsiteX2" fmla="*/ 501285 w 984760"/>
              <a:gd name="connsiteY2" fmla="*/ 119273 h 1457075"/>
              <a:gd name="connsiteX3" fmla="*/ 603934 w 984760"/>
              <a:gd name="connsiteY3" fmla="*/ 32521 h 1457075"/>
              <a:gd name="connsiteX4" fmla="*/ 977093 w 984760"/>
              <a:gd name="connsiteY4" fmla="*/ 720503 h 1457075"/>
              <a:gd name="connsiteX5" fmla="*/ 195364 w 984760"/>
              <a:gd name="connsiteY5" fmla="*/ 1438134 h 1457075"/>
              <a:gd name="connsiteX6" fmla="*/ 244 w 984760"/>
              <a:gd name="connsiteY6" fmla="*/ 1205430 h 1457075"/>
              <a:gd name="connsiteX7" fmla="*/ 246814 w 984760"/>
              <a:gd name="connsiteY7" fmla="*/ 762162 h 1457075"/>
              <a:gd name="connsiteX0" fmla="*/ 246814 w 984760"/>
              <a:gd name="connsiteY0" fmla="*/ 772210 h 1467123"/>
              <a:gd name="connsiteX1" fmla="*/ 289264 w 984760"/>
              <a:gd name="connsiteY1" fmla="*/ 198677 h 1467123"/>
              <a:gd name="connsiteX2" fmla="*/ 439548 w 984760"/>
              <a:gd name="connsiteY2" fmla="*/ 73068 h 1467123"/>
              <a:gd name="connsiteX3" fmla="*/ 603934 w 984760"/>
              <a:gd name="connsiteY3" fmla="*/ 42569 h 1467123"/>
              <a:gd name="connsiteX4" fmla="*/ 977093 w 984760"/>
              <a:gd name="connsiteY4" fmla="*/ 730551 h 1467123"/>
              <a:gd name="connsiteX5" fmla="*/ 195364 w 984760"/>
              <a:gd name="connsiteY5" fmla="*/ 1448182 h 1467123"/>
              <a:gd name="connsiteX6" fmla="*/ 244 w 984760"/>
              <a:gd name="connsiteY6" fmla="*/ 1215478 h 1467123"/>
              <a:gd name="connsiteX7" fmla="*/ 246814 w 984760"/>
              <a:gd name="connsiteY7" fmla="*/ 772210 h 1467123"/>
              <a:gd name="connsiteX0" fmla="*/ 246814 w 977943"/>
              <a:gd name="connsiteY0" fmla="*/ 772210 h 1448917"/>
              <a:gd name="connsiteX1" fmla="*/ 289264 w 977943"/>
              <a:gd name="connsiteY1" fmla="*/ 198677 h 1448917"/>
              <a:gd name="connsiteX2" fmla="*/ 439548 w 977943"/>
              <a:gd name="connsiteY2" fmla="*/ 73068 h 1448917"/>
              <a:gd name="connsiteX3" fmla="*/ 603934 w 977943"/>
              <a:gd name="connsiteY3" fmla="*/ 42569 h 1448917"/>
              <a:gd name="connsiteX4" fmla="*/ 977093 w 977943"/>
              <a:gd name="connsiteY4" fmla="*/ 730551 h 1448917"/>
              <a:gd name="connsiteX5" fmla="*/ 703059 w 977943"/>
              <a:gd name="connsiteY5" fmla="*/ 1145905 h 1448917"/>
              <a:gd name="connsiteX6" fmla="*/ 195364 w 977943"/>
              <a:gd name="connsiteY6" fmla="*/ 1448182 h 1448917"/>
              <a:gd name="connsiteX7" fmla="*/ 244 w 977943"/>
              <a:gd name="connsiteY7" fmla="*/ 1215478 h 1448917"/>
              <a:gd name="connsiteX8" fmla="*/ 246814 w 977943"/>
              <a:gd name="connsiteY8" fmla="*/ 772210 h 14489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77943" h="1448917">
                <a:moveTo>
                  <a:pt x="246814" y="772210"/>
                </a:moveTo>
                <a:cubicBezTo>
                  <a:pt x="294984" y="602743"/>
                  <a:pt x="246852" y="305825"/>
                  <a:pt x="289264" y="198677"/>
                </a:cubicBezTo>
                <a:cubicBezTo>
                  <a:pt x="331676" y="91529"/>
                  <a:pt x="387103" y="99086"/>
                  <a:pt x="439548" y="73068"/>
                </a:cubicBezTo>
                <a:cubicBezTo>
                  <a:pt x="491993" y="47050"/>
                  <a:pt x="524633" y="-57636"/>
                  <a:pt x="603934" y="42569"/>
                </a:cubicBezTo>
                <a:cubicBezTo>
                  <a:pt x="683235" y="142774"/>
                  <a:pt x="963262" y="556732"/>
                  <a:pt x="977093" y="730551"/>
                </a:cubicBezTo>
                <a:cubicBezTo>
                  <a:pt x="990924" y="904370"/>
                  <a:pt x="833347" y="1026300"/>
                  <a:pt x="703059" y="1145905"/>
                </a:cubicBezTo>
                <a:cubicBezTo>
                  <a:pt x="572771" y="1265510"/>
                  <a:pt x="312500" y="1436586"/>
                  <a:pt x="195364" y="1448182"/>
                </a:cubicBezTo>
                <a:cubicBezTo>
                  <a:pt x="78228" y="1459778"/>
                  <a:pt x="8546" y="1332197"/>
                  <a:pt x="244" y="1215478"/>
                </a:cubicBezTo>
                <a:cubicBezTo>
                  <a:pt x="-8058" y="1098759"/>
                  <a:pt x="198644" y="941677"/>
                  <a:pt x="246814" y="772210"/>
                </a:cubicBezTo>
                <a:close/>
              </a:path>
            </a:pathLst>
          </a:custGeom>
          <a:solidFill>
            <a:srgbClr val="62366E">
              <a:alpha val="50196"/>
            </a:srgbClr>
          </a:solidFill>
          <a:ln w="19050">
            <a:solidFill>
              <a:schemeClr val="accent1"/>
            </a:solidFill>
            <a:prstDash val="lgDash"/>
            <a:extLst>
              <a:ext uri="{C807C97D-BFC1-408E-A445-0C87EB9F89A2}">
                <ask:lineSketchStyleProps xmlns:ask="http://schemas.microsoft.com/office/drawing/2018/sketchyshapes" sd="1879167938">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grpSp>
        <p:nvGrpSpPr>
          <p:cNvPr id="69" name="Groep 68">
            <a:extLst>
              <a:ext uri="{FF2B5EF4-FFF2-40B4-BE49-F238E27FC236}">
                <a16:creationId xmlns:a16="http://schemas.microsoft.com/office/drawing/2014/main" id="{17C6F054-FD6D-4984-AC9C-47F88DFA5C2C}"/>
              </a:ext>
            </a:extLst>
          </p:cNvPr>
          <p:cNvGrpSpPr/>
          <p:nvPr/>
        </p:nvGrpSpPr>
        <p:grpSpPr>
          <a:xfrm>
            <a:off x="9491436" y="743708"/>
            <a:ext cx="288000" cy="288000"/>
            <a:chOff x="8966036" y="598928"/>
            <a:chExt cx="324000" cy="329184"/>
          </a:xfrm>
        </p:grpSpPr>
        <p:sp>
          <p:nvSpPr>
            <p:cNvPr id="210" name="Oval 53">
              <a:extLst>
                <a:ext uri="{FF2B5EF4-FFF2-40B4-BE49-F238E27FC236}">
                  <a16:creationId xmlns:a16="http://schemas.microsoft.com/office/drawing/2014/main" id="{6BA8F689-A75F-4FB6-A142-92A2D92A30E2}"/>
                </a:ext>
              </a:extLst>
            </p:cNvPr>
            <p:cNvSpPr/>
            <p:nvPr/>
          </p:nvSpPr>
          <p:spPr>
            <a:xfrm>
              <a:off x="8966036" y="598928"/>
              <a:ext cx="324000" cy="329184"/>
            </a:xfrm>
            <a:prstGeom prst="ellipse">
              <a:avLst/>
            </a:prstGeom>
            <a:solidFill>
              <a:srgbClr val="62366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11" name="Shopping_cart" descr="{&quot;Key&quot;:&quot;POWER_USER_SHAPE_ICON&quot;,&quot;Value&quot;:&quot;POWER_USER_SHAPE_ICON_STYLE_1&quot;}">
              <a:extLst>
                <a:ext uri="{FF2B5EF4-FFF2-40B4-BE49-F238E27FC236}">
                  <a16:creationId xmlns:a16="http://schemas.microsoft.com/office/drawing/2014/main" id="{76F6B086-4C9D-44E0-98EA-946905030D25}"/>
                </a:ext>
              </a:extLst>
            </p:cNvPr>
            <p:cNvGrpSpPr>
              <a:grpSpLocks noChangeAspect="1"/>
            </p:cNvGrpSpPr>
            <p:nvPr>
              <p:custDataLst>
                <p:tags r:id="rId13"/>
              </p:custDataLst>
            </p:nvPr>
          </p:nvGrpSpPr>
          <p:grpSpPr>
            <a:xfrm>
              <a:off x="9003559" y="656958"/>
              <a:ext cx="235088" cy="232174"/>
              <a:chOff x="4646614" y="2062164"/>
              <a:chExt cx="384175" cy="379413"/>
            </a:xfrm>
            <a:solidFill>
              <a:schemeClr val="bg1"/>
            </a:solidFill>
          </p:grpSpPr>
          <p:sp>
            <p:nvSpPr>
              <p:cNvPr id="212" name="Freeform 198">
                <a:extLst>
                  <a:ext uri="{FF2B5EF4-FFF2-40B4-BE49-F238E27FC236}">
                    <a16:creationId xmlns:a16="http://schemas.microsoft.com/office/drawing/2014/main" id="{2B8B98FA-B3B0-42CD-A4FE-3C652FE59151}"/>
                  </a:ext>
                </a:extLst>
              </p:cNvPr>
              <p:cNvSpPr>
                <a:spLocks noEditPoints="1"/>
              </p:cNvSpPr>
              <p:nvPr/>
            </p:nvSpPr>
            <p:spPr bwMode="auto">
              <a:xfrm>
                <a:off x="4773614" y="2386014"/>
                <a:ext cx="55563" cy="55563"/>
              </a:xfrm>
              <a:custGeom>
                <a:avLst/>
                <a:gdLst>
                  <a:gd name="T0" fmla="*/ 40 w 80"/>
                  <a:gd name="T1" fmla="*/ 55 h 80"/>
                  <a:gd name="T2" fmla="*/ 25 w 80"/>
                  <a:gd name="T3" fmla="*/ 40 h 80"/>
                  <a:gd name="T4" fmla="*/ 40 w 80"/>
                  <a:gd name="T5" fmla="*/ 25 h 80"/>
                  <a:gd name="T6" fmla="*/ 55 w 80"/>
                  <a:gd name="T7" fmla="*/ 40 h 80"/>
                  <a:gd name="T8" fmla="*/ 40 w 80"/>
                  <a:gd name="T9" fmla="*/ 55 h 80"/>
                  <a:gd name="T10" fmla="*/ 40 w 80"/>
                  <a:gd name="T11" fmla="*/ 0 h 80"/>
                  <a:gd name="T12" fmla="*/ 0 w 80"/>
                  <a:gd name="T13" fmla="*/ 40 h 80"/>
                  <a:gd name="T14" fmla="*/ 40 w 80"/>
                  <a:gd name="T15" fmla="*/ 80 h 80"/>
                  <a:gd name="T16" fmla="*/ 80 w 80"/>
                  <a:gd name="T17" fmla="*/ 40 h 80"/>
                  <a:gd name="T18" fmla="*/ 40 w 80"/>
                  <a:gd name="T19"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0" h="80">
                    <a:moveTo>
                      <a:pt x="40" y="55"/>
                    </a:moveTo>
                    <a:cubicBezTo>
                      <a:pt x="32" y="55"/>
                      <a:pt x="25" y="48"/>
                      <a:pt x="25" y="40"/>
                    </a:cubicBezTo>
                    <a:cubicBezTo>
                      <a:pt x="25" y="32"/>
                      <a:pt x="32" y="25"/>
                      <a:pt x="40" y="25"/>
                    </a:cubicBezTo>
                    <a:cubicBezTo>
                      <a:pt x="48" y="25"/>
                      <a:pt x="55" y="32"/>
                      <a:pt x="55" y="40"/>
                    </a:cubicBezTo>
                    <a:cubicBezTo>
                      <a:pt x="55" y="48"/>
                      <a:pt x="48" y="55"/>
                      <a:pt x="40" y="55"/>
                    </a:cubicBezTo>
                    <a:close/>
                    <a:moveTo>
                      <a:pt x="40" y="0"/>
                    </a:moveTo>
                    <a:cubicBezTo>
                      <a:pt x="18" y="0"/>
                      <a:pt x="0" y="18"/>
                      <a:pt x="0" y="40"/>
                    </a:cubicBezTo>
                    <a:cubicBezTo>
                      <a:pt x="0" y="62"/>
                      <a:pt x="18" y="80"/>
                      <a:pt x="40" y="80"/>
                    </a:cubicBezTo>
                    <a:cubicBezTo>
                      <a:pt x="62" y="80"/>
                      <a:pt x="80" y="62"/>
                      <a:pt x="80" y="40"/>
                    </a:cubicBezTo>
                    <a:cubicBezTo>
                      <a:pt x="80" y="18"/>
                      <a:pt x="62" y="0"/>
                      <a:pt x="40"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3" name="Freeform 199">
                <a:extLst>
                  <a:ext uri="{FF2B5EF4-FFF2-40B4-BE49-F238E27FC236}">
                    <a16:creationId xmlns:a16="http://schemas.microsoft.com/office/drawing/2014/main" id="{ACF064F1-40E3-4CB2-A495-FB7BC073CCF0}"/>
                  </a:ext>
                </a:extLst>
              </p:cNvPr>
              <p:cNvSpPr>
                <a:spLocks noEditPoints="1"/>
              </p:cNvSpPr>
              <p:nvPr/>
            </p:nvSpPr>
            <p:spPr bwMode="auto">
              <a:xfrm>
                <a:off x="4929189" y="2386014"/>
                <a:ext cx="55563" cy="55563"/>
              </a:xfrm>
              <a:custGeom>
                <a:avLst/>
                <a:gdLst>
                  <a:gd name="T0" fmla="*/ 40 w 80"/>
                  <a:gd name="T1" fmla="*/ 55 h 80"/>
                  <a:gd name="T2" fmla="*/ 25 w 80"/>
                  <a:gd name="T3" fmla="*/ 40 h 80"/>
                  <a:gd name="T4" fmla="*/ 40 w 80"/>
                  <a:gd name="T5" fmla="*/ 25 h 80"/>
                  <a:gd name="T6" fmla="*/ 55 w 80"/>
                  <a:gd name="T7" fmla="*/ 40 h 80"/>
                  <a:gd name="T8" fmla="*/ 40 w 80"/>
                  <a:gd name="T9" fmla="*/ 55 h 80"/>
                  <a:gd name="T10" fmla="*/ 40 w 80"/>
                  <a:gd name="T11" fmla="*/ 0 h 80"/>
                  <a:gd name="T12" fmla="*/ 0 w 80"/>
                  <a:gd name="T13" fmla="*/ 40 h 80"/>
                  <a:gd name="T14" fmla="*/ 40 w 80"/>
                  <a:gd name="T15" fmla="*/ 80 h 80"/>
                  <a:gd name="T16" fmla="*/ 80 w 80"/>
                  <a:gd name="T17" fmla="*/ 40 h 80"/>
                  <a:gd name="T18" fmla="*/ 40 w 80"/>
                  <a:gd name="T19"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0" h="80">
                    <a:moveTo>
                      <a:pt x="40" y="55"/>
                    </a:moveTo>
                    <a:cubicBezTo>
                      <a:pt x="32" y="55"/>
                      <a:pt x="25" y="48"/>
                      <a:pt x="25" y="40"/>
                    </a:cubicBezTo>
                    <a:cubicBezTo>
                      <a:pt x="25" y="32"/>
                      <a:pt x="32" y="25"/>
                      <a:pt x="40" y="25"/>
                    </a:cubicBezTo>
                    <a:cubicBezTo>
                      <a:pt x="48" y="25"/>
                      <a:pt x="55" y="32"/>
                      <a:pt x="55" y="40"/>
                    </a:cubicBezTo>
                    <a:cubicBezTo>
                      <a:pt x="55" y="48"/>
                      <a:pt x="48" y="55"/>
                      <a:pt x="40" y="55"/>
                    </a:cubicBezTo>
                    <a:close/>
                    <a:moveTo>
                      <a:pt x="40" y="0"/>
                    </a:moveTo>
                    <a:cubicBezTo>
                      <a:pt x="18" y="0"/>
                      <a:pt x="0" y="18"/>
                      <a:pt x="0" y="40"/>
                    </a:cubicBezTo>
                    <a:cubicBezTo>
                      <a:pt x="0" y="62"/>
                      <a:pt x="18" y="80"/>
                      <a:pt x="40" y="80"/>
                    </a:cubicBezTo>
                    <a:cubicBezTo>
                      <a:pt x="62" y="80"/>
                      <a:pt x="80" y="62"/>
                      <a:pt x="80" y="40"/>
                    </a:cubicBezTo>
                    <a:cubicBezTo>
                      <a:pt x="80" y="18"/>
                      <a:pt x="62" y="0"/>
                      <a:pt x="40"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4" name="Freeform 200">
                <a:extLst>
                  <a:ext uri="{FF2B5EF4-FFF2-40B4-BE49-F238E27FC236}">
                    <a16:creationId xmlns:a16="http://schemas.microsoft.com/office/drawing/2014/main" id="{B81881DA-C121-407F-8A62-E4B182523D98}"/>
                  </a:ext>
                </a:extLst>
              </p:cNvPr>
              <p:cNvSpPr>
                <a:spLocks noEditPoints="1"/>
              </p:cNvSpPr>
              <p:nvPr/>
            </p:nvSpPr>
            <p:spPr bwMode="auto">
              <a:xfrm>
                <a:off x="4646614" y="2062164"/>
                <a:ext cx="384175" cy="311150"/>
              </a:xfrm>
              <a:custGeom>
                <a:avLst/>
                <a:gdLst>
                  <a:gd name="T0" fmla="*/ 465 w 554"/>
                  <a:gd name="T1" fmla="*/ 168 h 450"/>
                  <a:gd name="T2" fmla="*/ 530 w 554"/>
                  <a:gd name="T3" fmla="*/ 88 h 450"/>
                  <a:gd name="T4" fmla="*/ 483 w 554"/>
                  <a:gd name="T5" fmla="*/ 257 h 450"/>
                  <a:gd name="T6" fmla="*/ 447 w 554"/>
                  <a:gd name="T7" fmla="*/ 273 h 450"/>
                  <a:gd name="T8" fmla="*/ 505 w 554"/>
                  <a:gd name="T9" fmla="*/ 177 h 450"/>
                  <a:gd name="T10" fmla="*/ 432 w 554"/>
                  <a:gd name="T11" fmla="*/ 273 h 450"/>
                  <a:gd name="T12" fmla="*/ 407 w 554"/>
                  <a:gd name="T13" fmla="*/ 177 h 450"/>
                  <a:gd name="T14" fmla="*/ 432 w 554"/>
                  <a:gd name="T15" fmla="*/ 273 h 450"/>
                  <a:gd name="T16" fmla="*/ 352 w 554"/>
                  <a:gd name="T17" fmla="*/ 88 h 450"/>
                  <a:gd name="T18" fmla="*/ 393 w 554"/>
                  <a:gd name="T19" fmla="*/ 168 h 450"/>
                  <a:gd name="T20" fmla="*/ 383 w 554"/>
                  <a:gd name="T21" fmla="*/ 273 h 450"/>
                  <a:gd name="T22" fmla="*/ 352 w 554"/>
                  <a:gd name="T23" fmla="*/ 177 h 450"/>
                  <a:gd name="T24" fmla="*/ 383 w 554"/>
                  <a:gd name="T25" fmla="*/ 273 h 450"/>
                  <a:gd name="T26" fmla="*/ 297 w 554"/>
                  <a:gd name="T27" fmla="*/ 168 h 450"/>
                  <a:gd name="T28" fmla="*/ 337 w 554"/>
                  <a:gd name="T29" fmla="*/ 88 h 450"/>
                  <a:gd name="T30" fmla="*/ 337 w 554"/>
                  <a:gd name="T31" fmla="*/ 273 h 450"/>
                  <a:gd name="T32" fmla="*/ 298 w 554"/>
                  <a:gd name="T33" fmla="*/ 177 h 450"/>
                  <a:gd name="T34" fmla="*/ 337 w 554"/>
                  <a:gd name="T35" fmla="*/ 273 h 450"/>
                  <a:gd name="T36" fmla="*/ 242 w 554"/>
                  <a:gd name="T37" fmla="*/ 177 h 450"/>
                  <a:gd name="T38" fmla="*/ 292 w 554"/>
                  <a:gd name="T39" fmla="*/ 273 h 450"/>
                  <a:gd name="T40" fmla="*/ 210 w 554"/>
                  <a:gd name="T41" fmla="*/ 273 h 450"/>
                  <a:gd name="T42" fmla="*/ 227 w 554"/>
                  <a:gd name="T43" fmla="*/ 177 h 450"/>
                  <a:gd name="T44" fmla="*/ 210 w 554"/>
                  <a:gd name="T45" fmla="*/ 273 h 450"/>
                  <a:gd name="T46" fmla="*/ 157 w 554"/>
                  <a:gd name="T47" fmla="*/ 268 h 450"/>
                  <a:gd name="T48" fmla="*/ 173 w 554"/>
                  <a:gd name="T49" fmla="*/ 177 h 450"/>
                  <a:gd name="T50" fmla="*/ 170 w 554"/>
                  <a:gd name="T51" fmla="*/ 273 h 450"/>
                  <a:gd name="T52" fmla="*/ 106 w 554"/>
                  <a:gd name="T53" fmla="*/ 88 h 450"/>
                  <a:gd name="T54" fmla="*/ 171 w 554"/>
                  <a:gd name="T55" fmla="*/ 168 h 450"/>
                  <a:gd name="T56" fmla="*/ 126 w 554"/>
                  <a:gd name="T57" fmla="*/ 156 h 450"/>
                  <a:gd name="T58" fmla="*/ 225 w 554"/>
                  <a:gd name="T59" fmla="*/ 168 h 450"/>
                  <a:gd name="T60" fmla="*/ 168 w 554"/>
                  <a:gd name="T61" fmla="*/ 88 h 450"/>
                  <a:gd name="T62" fmla="*/ 274 w 554"/>
                  <a:gd name="T63" fmla="*/ 88 h 450"/>
                  <a:gd name="T64" fmla="*/ 241 w 554"/>
                  <a:gd name="T65" fmla="*/ 168 h 450"/>
                  <a:gd name="T66" fmla="*/ 274 w 554"/>
                  <a:gd name="T67" fmla="*/ 88 h 450"/>
                  <a:gd name="T68" fmla="*/ 462 w 554"/>
                  <a:gd name="T69" fmla="*/ 88 h 450"/>
                  <a:gd name="T70" fmla="*/ 408 w 554"/>
                  <a:gd name="T71" fmla="*/ 168 h 450"/>
                  <a:gd name="T72" fmla="*/ 24 w 554"/>
                  <a:gd name="T73" fmla="*/ 29 h 450"/>
                  <a:gd name="T74" fmla="*/ 19 w 554"/>
                  <a:gd name="T75" fmla="*/ 13 h 450"/>
                  <a:gd name="T76" fmla="*/ 24 w 554"/>
                  <a:gd name="T77" fmla="*/ 29 h 450"/>
                  <a:gd name="T78" fmla="*/ 110 w 554"/>
                  <a:gd name="T79" fmla="*/ 63 h 450"/>
                  <a:gd name="T80" fmla="*/ 91 w 554"/>
                  <a:gd name="T81" fmla="*/ 34 h 450"/>
                  <a:gd name="T82" fmla="*/ 39 w 554"/>
                  <a:gd name="T83" fmla="*/ 12 h 450"/>
                  <a:gd name="T84" fmla="*/ 3 w 554"/>
                  <a:gd name="T85" fmla="*/ 27 h 450"/>
                  <a:gd name="T86" fmla="*/ 38 w 554"/>
                  <a:gd name="T87" fmla="*/ 31 h 450"/>
                  <a:gd name="T88" fmla="*/ 67 w 554"/>
                  <a:gd name="T89" fmla="*/ 40 h 450"/>
                  <a:gd name="T90" fmla="*/ 209 w 554"/>
                  <a:gd name="T91" fmla="*/ 450 h 450"/>
                  <a:gd name="T92" fmla="*/ 496 w 554"/>
                  <a:gd name="T93" fmla="*/ 437 h 450"/>
                  <a:gd name="T94" fmla="*/ 212 w 554"/>
                  <a:gd name="T95" fmla="*/ 420 h 450"/>
                  <a:gd name="T96" fmla="*/ 168 w 554"/>
                  <a:gd name="T97" fmla="*/ 309 h 450"/>
                  <a:gd name="T98" fmla="*/ 451 w 554"/>
                  <a:gd name="T99" fmla="*/ 314 h 450"/>
                  <a:gd name="T100" fmla="*/ 552 w 554"/>
                  <a:gd name="T101" fmla="*/ 88 h 4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54" h="450">
                    <a:moveTo>
                      <a:pt x="508" y="168"/>
                    </a:moveTo>
                    <a:lnTo>
                      <a:pt x="465" y="168"/>
                    </a:lnTo>
                    <a:lnTo>
                      <a:pt x="478" y="88"/>
                    </a:lnTo>
                    <a:lnTo>
                      <a:pt x="530" y="88"/>
                    </a:lnTo>
                    <a:lnTo>
                      <a:pt x="508" y="168"/>
                    </a:lnTo>
                    <a:close/>
                    <a:moveTo>
                      <a:pt x="483" y="257"/>
                    </a:moveTo>
                    <a:cubicBezTo>
                      <a:pt x="480" y="265"/>
                      <a:pt x="471" y="273"/>
                      <a:pt x="462" y="273"/>
                    </a:cubicBezTo>
                    <a:lnTo>
                      <a:pt x="447" y="273"/>
                    </a:lnTo>
                    <a:lnTo>
                      <a:pt x="463" y="177"/>
                    </a:lnTo>
                    <a:lnTo>
                      <a:pt x="505" y="177"/>
                    </a:lnTo>
                    <a:lnTo>
                      <a:pt x="483" y="257"/>
                    </a:lnTo>
                    <a:close/>
                    <a:moveTo>
                      <a:pt x="432" y="273"/>
                    </a:moveTo>
                    <a:lnTo>
                      <a:pt x="398" y="273"/>
                    </a:lnTo>
                    <a:lnTo>
                      <a:pt x="407" y="177"/>
                    </a:lnTo>
                    <a:lnTo>
                      <a:pt x="447" y="177"/>
                    </a:lnTo>
                    <a:lnTo>
                      <a:pt x="432" y="273"/>
                    </a:lnTo>
                    <a:close/>
                    <a:moveTo>
                      <a:pt x="352" y="168"/>
                    </a:moveTo>
                    <a:lnTo>
                      <a:pt x="352" y="88"/>
                    </a:lnTo>
                    <a:lnTo>
                      <a:pt x="401" y="88"/>
                    </a:lnTo>
                    <a:lnTo>
                      <a:pt x="393" y="168"/>
                    </a:lnTo>
                    <a:lnTo>
                      <a:pt x="352" y="168"/>
                    </a:lnTo>
                    <a:close/>
                    <a:moveTo>
                      <a:pt x="383" y="273"/>
                    </a:moveTo>
                    <a:lnTo>
                      <a:pt x="352" y="273"/>
                    </a:lnTo>
                    <a:lnTo>
                      <a:pt x="352" y="177"/>
                    </a:lnTo>
                    <a:lnTo>
                      <a:pt x="392" y="177"/>
                    </a:lnTo>
                    <a:lnTo>
                      <a:pt x="383" y="273"/>
                    </a:lnTo>
                    <a:close/>
                    <a:moveTo>
                      <a:pt x="337" y="168"/>
                    </a:moveTo>
                    <a:lnTo>
                      <a:pt x="297" y="168"/>
                    </a:lnTo>
                    <a:lnTo>
                      <a:pt x="289" y="88"/>
                    </a:lnTo>
                    <a:lnTo>
                      <a:pt x="337" y="88"/>
                    </a:lnTo>
                    <a:lnTo>
                      <a:pt x="337" y="168"/>
                    </a:lnTo>
                    <a:close/>
                    <a:moveTo>
                      <a:pt x="337" y="273"/>
                    </a:moveTo>
                    <a:lnTo>
                      <a:pt x="307" y="273"/>
                    </a:lnTo>
                    <a:lnTo>
                      <a:pt x="298" y="177"/>
                    </a:lnTo>
                    <a:lnTo>
                      <a:pt x="337" y="177"/>
                    </a:lnTo>
                    <a:lnTo>
                      <a:pt x="337" y="273"/>
                    </a:lnTo>
                    <a:close/>
                    <a:moveTo>
                      <a:pt x="258" y="273"/>
                    </a:moveTo>
                    <a:lnTo>
                      <a:pt x="242" y="177"/>
                    </a:lnTo>
                    <a:lnTo>
                      <a:pt x="282" y="177"/>
                    </a:lnTo>
                    <a:lnTo>
                      <a:pt x="292" y="273"/>
                    </a:lnTo>
                    <a:lnTo>
                      <a:pt x="258" y="273"/>
                    </a:lnTo>
                    <a:close/>
                    <a:moveTo>
                      <a:pt x="210" y="273"/>
                    </a:moveTo>
                    <a:lnTo>
                      <a:pt x="188" y="177"/>
                    </a:lnTo>
                    <a:lnTo>
                      <a:pt x="227" y="177"/>
                    </a:lnTo>
                    <a:lnTo>
                      <a:pt x="242" y="273"/>
                    </a:lnTo>
                    <a:lnTo>
                      <a:pt x="210" y="273"/>
                    </a:lnTo>
                    <a:close/>
                    <a:moveTo>
                      <a:pt x="170" y="273"/>
                    </a:moveTo>
                    <a:cubicBezTo>
                      <a:pt x="165" y="273"/>
                      <a:pt x="161" y="271"/>
                      <a:pt x="157" y="268"/>
                    </a:cubicBezTo>
                    <a:cubicBezTo>
                      <a:pt x="150" y="244"/>
                      <a:pt x="141" y="211"/>
                      <a:pt x="131" y="177"/>
                    </a:cubicBezTo>
                    <a:lnTo>
                      <a:pt x="173" y="177"/>
                    </a:lnTo>
                    <a:lnTo>
                      <a:pt x="194" y="273"/>
                    </a:lnTo>
                    <a:lnTo>
                      <a:pt x="170" y="273"/>
                    </a:lnTo>
                    <a:close/>
                    <a:moveTo>
                      <a:pt x="126" y="156"/>
                    </a:moveTo>
                    <a:cubicBezTo>
                      <a:pt x="119" y="133"/>
                      <a:pt x="112" y="109"/>
                      <a:pt x="106" y="88"/>
                    </a:cubicBezTo>
                    <a:lnTo>
                      <a:pt x="153" y="88"/>
                    </a:lnTo>
                    <a:lnTo>
                      <a:pt x="171" y="168"/>
                    </a:lnTo>
                    <a:lnTo>
                      <a:pt x="129" y="168"/>
                    </a:lnTo>
                    <a:cubicBezTo>
                      <a:pt x="128" y="164"/>
                      <a:pt x="127" y="160"/>
                      <a:pt x="126" y="156"/>
                    </a:cubicBezTo>
                    <a:close/>
                    <a:moveTo>
                      <a:pt x="212" y="88"/>
                    </a:moveTo>
                    <a:lnTo>
                      <a:pt x="225" y="168"/>
                    </a:lnTo>
                    <a:lnTo>
                      <a:pt x="186" y="168"/>
                    </a:lnTo>
                    <a:lnTo>
                      <a:pt x="168" y="88"/>
                    </a:lnTo>
                    <a:lnTo>
                      <a:pt x="212" y="88"/>
                    </a:lnTo>
                    <a:close/>
                    <a:moveTo>
                      <a:pt x="274" y="88"/>
                    </a:moveTo>
                    <a:lnTo>
                      <a:pt x="281" y="168"/>
                    </a:lnTo>
                    <a:lnTo>
                      <a:pt x="241" y="168"/>
                    </a:lnTo>
                    <a:lnTo>
                      <a:pt x="228" y="88"/>
                    </a:lnTo>
                    <a:lnTo>
                      <a:pt x="274" y="88"/>
                    </a:lnTo>
                    <a:close/>
                    <a:moveTo>
                      <a:pt x="416" y="88"/>
                    </a:moveTo>
                    <a:lnTo>
                      <a:pt x="462" y="88"/>
                    </a:lnTo>
                    <a:lnTo>
                      <a:pt x="449" y="168"/>
                    </a:lnTo>
                    <a:lnTo>
                      <a:pt x="408" y="168"/>
                    </a:lnTo>
                    <a:lnTo>
                      <a:pt x="416" y="88"/>
                    </a:lnTo>
                    <a:close/>
                    <a:moveTo>
                      <a:pt x="24" y="29"/>
                    </a:moveTo>
                    <a:cubicBezTo>
                      <a:pt x="19" y="31"/>
                      <a:pt x="15" y="28"/>
                      <a:pt x="13" y="24"/>
                    </a:cubicBezTo>
                    <a:cubicBezTo>
                      <a:pt x="12" y="19"/>
                      <a:pt x="14" y="14"/>
                      <a:pt x="19" y="13"/>
                    </a:cubicBezTo>
                    <a:cubicBezTo>
                      <a:pt x="24" y="12"/>
                      <a:pt x="28" y="14"/>
                      <a:pt x="30" y="19"/>
                    </a:cubicBezTo>
                    <a:cubicBezTo>
                      <a:pt x="31" y="23"/>
                      <a:pt x="29" y="28"/>
                      <a:pt x="24" y="29"/>
                    </a:cubicBezTo>
                    <a:close/>
                    <a:moveTo>
                      <a:pt x="533" y="63"/>
                    </a:moveTo>
                    <a:lnTo>
                      <a:pt x="110" y="63"/>
                    </a:lnTo>
                    <a:cubicBezTo>
                      <a:pt x="106" y="63"/>
                      <a:pt x="103" y="63"/>
                      <a:pt x="100" y="65"/>
                    </a:cubicBezTo>
                    <a:cubicBezTo>
                      <a:pt x="99" y="61"/>
                      <a:pt x="94" y="44"/>
                      <a:pt x="91" y="34"/>
                    </a:cubicBezTo>
                    <a:cubicBezTo>
                      <a:pt x="88" y="22"/>
                      <a:pt x="79" y="12"/>
                      <a:pt x="64" y="12"/>
                    </a:cubicBezTo>
                    <a:cubicBezTo>
                      <a:pt x="61" y="12"/>
                      <a:pt x="40" y="12"/>
                      <a:pt x="39" y="12"/>
                    </a:cubicBezTo>
                    <a:cubicBezTo>
                      <a:pt x="34" y="4"/>
                      <a:pt x="25" y="0"/>
                      <a:pt x="16" y="2"/>
                    </a:cubicBezTo>
                    <a:cubicBezTo>
                      <a:pt x="5" y="6"/>
                      <a:pt x="0" y="16"/>
                      <a:pt x="3" y="27"/>
                    </a:cubicBezTo>
                    <a:cubicBezTo>
                      <a:pt x="6" y="37"/>
                      <a:pt x="17" y="43"/>
                      <a:pt x="27" y="40"/>
                    </a:cubicBezTo>
                    <a:cubicBezTo>
                      <a:pt x="32" y="39"/>
                      <a:pt x="36" y="35"/>
                      <a:pt x="38" y="31"/>
                    </a:cubicBezTo>
                    <a:cubicBezTo>
                      <a:pt x="40" y="31"/>
                      <a:pt x="52" y="31"/>
                      <a:pt x="54" y="31"/>
                    </a:cubicBezTo>
                    <a:cubicBezTo>
                      <a:pt x="63" y="31"/>
                      <a:pt x="65" y="33"/>
                      <a:pt x="67" y="40"/>
                    </a:cubicBezTo>
                    <a:cubicBezTo>
                      <a:pt x="73" y="61"/>
                      <a:pt x="165" y="388"/>
                      <a:pt x="171" y="409"/>
                    </a:cubicBezTo>
                    <a:cubicBezTo>
                      <a:pt x="180" y="439"/>
                      <a:pt x="194" y="450"/>
                      <a:pt x="209" y="450"/>
                    </a:cubicBezTo>
                    <a:lnTo>
                      <a:pt x="483" y="450"/>
                    </a:lnTo>
                    <a:cubicBezTo>
                      <a:pt x="492" y="450"/>
                      <a:pt x="496" y="441"/>
                      <a:pt x="496" y="437"/>
                    </a:cubicBezTo>
                    <a:cubicBezTo>
                      <a:pt x="498" y="423"/>
                      <a:pt x="486" y="420"/>
                      <a:pt x="480" y="420"/>
                    </a:cubicBezTo>
                    <a:lnTo>
                      <a:pt x="212" y="420"/>
                    </a:lnTo>
                    <a:cubicBezTo>
                      <a:pt x="205" y="420"/>
                      <a:pt x="198" y="415"/>
                      <a:pt x="196" y="408"/>
                    </a:cubicBezTo>
                    <a:cubicBezTo>
                      <a:pt x="195" y="404"/>
                      <a:pt x="170" y="315"/>
                      <a:pt x="168" y="309"/>
                    </a:cubicBezTo>
                    <a:cubicBezTo>
                      <a:pt x="174" y="315"/>
                      <a:pt x="179" y="314"/>
                      <a:pt x="182" y="314"/>
                    </a:cubicBezTo>
                    <a:lnTo>
                      <a:pt x="451" y="314"/>
                    </a:lnTo>
                    <a:cubicBezTo>
                      <a:pt x="486" y="314"/>
                      <a:pt x="500" y="272"/>
                      <a:pt x="503" y="259"/>
                    </a:cubicBezTo>
                    <a:lnTo>
                      <a:pt x="552" y="88"/>
                    </a:lnTo>
                    <a:cubicBezTo>
                      <a:pt x="554" y="81"/>
                      <a:pt x="552" y="63"/>
                      <a:pt x="533" y="63"/>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grpSp>
        <p:nvGrpSpPr>
          <p:cNvPr id="74" name="Groep 73">
            <a:extLst>
              <a:ext uri="{FF2B5EF4-FFF2-40B4-BE49-F238E27FC236}">
                <a16:creationId xmlns:a16="http://schemas.microsoft.com/office/drawing/2014/main" id="{B46363B0-104D-4607-AA17-3CD4A6C21677}"/>
              </a:ext>
            </a:extLst>
          </p:cNvPr>
          <p:cNvGrpSpPr/>
          <p:nvPr/>
        </p:nvGrpSpPr>
        <p:grpSpPr>
          <a:xfrm>
            <a:off x="8061561" y="3973074"/>
            <a:ext cx="288000" cy="288000"/>
            <a:chOff x="7536161" y="3828294"/>
            <a:chExt cx="329184" cy="329184"/>
          </a:xfrm>
        </p:grpSpPr>
        <p:sp>
          <p:nvSpPr>
            <p:cNvPr id="164" name="Oval 221">
              <a:extLst>
                <a:ext uri="{FF2B5EF4-FFF2-40B4-BE49-F238E27FC236}">
                  <a16:creationId xmlns:a16="http://schemas.microsoft.com/office/drawing/2014/main" id="{FAA61F55-763F-4BC6-A17C-1FA0C905E275}"/>
                </a:ext>
              </a:extLst>
            </p:cNvPr>
            <p:cNvSpPr/>
            <p:nvPr/>
          </p:nvSpPr>
          <p:spPr>
            <a:xfrm>
              <a:off x="7536161" y="3828294"/>
              <a:ext cx="329184" cy="329184"/>
            </a:xfrm>
            <a:prstGeom prst="ellipse">
              <a:avLst/>
            </a:prstGeom>
            <a:solidFill>
              <a:srgbClr val="7D2B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65" name="Group 1">
              <a:extLst>
                <a:ext uri="{FF2B5EF4-FFF2-40B4-BE49-F238E27FC236}">
                  <a16:creationId xmlns:a16="http://schemas.microsoft.com/office/drawing/2014/main" id="{7809E46E-0A69-464E-922D-E2B5E88F25B6}"/>
                </a:ext>
              </a:extLst>
            </p:cNvPr>
            <p:cNvGrpSpPr/>
            <p:nvPr/>
          </p:nvGrpSpPr>
          <p:grpSpPr>
            <a:xfrm>
              <a:off x="7558082" y="3918651"/>
              <a:ext cx="268066" cy="148469"/>
              <a:chOff x="4827318" y="3775979"/>
              <a:chExt cx="371092" cy="205530"/>
            </a:xfrm>
          </p:grpSpPr>
          <p:sp>
            <p:nvSpPr>
              <p:cNvPr id="166" name="Tag2" descr="{&quot;Key&quot;:&quot;POWER_USER_SHAPE_ICON&quot;,&quot;Value&quot;:&quot;POWER_USER_SHAPE_ICON_STYLE_1&quot;}">
                <a:extLst>
                  <a:ext uri="{FF2B5EF4-FFF2-40B4-BE49-F238E27FC236}">
                    <a16:creationId xmlns:a16="http://schemas.microsoft.com/office/drawing/2014/main" id="{EE5D0198-4DD6-4C0B-ADFD-2D605CF6C978}"/>
                  </a:ext>
                </a:extLst>
              </p:cNvPr>
              <p:cNvSpPr>
                <a:spLocks noChangeAspect="1" noEditPoints="1"/>
              </p:cNvSpPr>
              <p:nvPr>
                <p:custDataLst>
                  <p:tags r:id="rId11"/>
                </p:custDataLst>
              </p:nvPr>
            </p:nvSpPr>
            <p:spPr bwMode="auto">
              <a:xfrm>
                <a:off x="4827318" y="3775979"/>
                <a:ext cx="179598" cy="178796"/>
              </a:xfrm>
              <a:custGeom>
                <a:avLst/>
                <a:gdLst>
                  <a:gd name="T0" fmla="*/ 537 w 621"/>
                  <a:gd name="T1" fmla="*/ 117 h 617"/>
                  <a:gd name="T2" fmla="*/ 504 w 621"/>
                  <a:gd name="T3" fmla="*/ 83 h 617"/>
                  <a:gd name="T4" fmla="*/ 537 w 621"/>
                  <a:gd name="T5" fmla="*/ 50 h 617"/>
                  <a:gd name="T6" fmla="*/ 571 w 621"/>
                  <a:gd name="T7" fmla="*/ 83 h 617"/>
                  <a:gd name="T8" fmla="*/ 537 w 621"/>
                  <a:gd name="T9" fmla="*/ 117 h 617"/>
                  <a:gd name="T10" fmla="*/ 601 w 621"/>
                  <a:gd name="T11" fmla="*/ 0 h 617"/>
                  <a:gd name="T12" fmla="*/ 600 w 621"/>
                  <a:gd name="T13" fmla="*/ 0 h 617"/>
                  <a:gd name="T14" fmla="*/ 599 w 621"/>
                  <a:gd name="T15" fmla="*/ 0 h 617"/>
                  <a:gd name="T16" fmla="*/ 341 w 621"/>
                  <a:gd name="T17" fmla="*/ 0 h 617"/>
                  <a:gd name="T18" fmla="*/ 318 w 621"/>
                  <a:gd name="T19" fmla="*/ 12 h 617"/>
                  <a:gd name="T20" fmla="*/ 16 w 621"/>
                  <a:gd name="T21" fmla="*/ 314 h 617"/>
                  <a:gd name="T22" fmla="*/ 16 w 621"/>
                  <a:gd name="T23" fmla="*/ 372 h 617"/>
                  <a:gd name="T24" fmla="*/ 248 w 621"/>
                  <a:gd name="T25" fmla="*/ 605 h 617"/>
                  <a:gd name="T26" fmla="*/ 277 w 621"/>
                  <a:gd name="T27" fmla="*/ 617 h 617"/>
                  <a:gd name="T28" fmla="*/ 306 w 621"/>
                  <a:gd name="T29" fmla="*/ 605 h 617"/>
                  <a:gd name="T30" fmla="*/ 608 w 621"/>
                  <a:gd name="T31" fmla="*/ 302 h 617"/>
                  <a:gd name="T32" fmla="*/ 621 w 621"/>
                  <a:gd name="T33" fmla="*/ 280 h 617"/>
                  <a:gd name="T34" fmla="*/ 621 w 621"/>
                  <a:gd name="T35" fmla="*/ 20 h 617"/>
                  <a:gd name="T36" fmla="*/ 601 w 621"/>
                  <a:gd name="T37" fmla="*/ 0 h 6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21" h="617">
                    <a:moveTo>
                      <a:pt x="537" y="117"/>
                    </a:moveTo>
                    <a:cubicBezTo>
                      <a:pt x="519" y="117"/>
                      <a:pt x="504" y="102"/>
                      <a:pt x="504" y="83"/>
                    </a:cubicBezTo>
                    <a:cubicBezTo>
                      <a:pt x="504" y="65"/>
                      <a:pt x="519" y="50"/>
                      <a:pt x="537" y="50"/>
                    </a:cubicBezTo>
                    <a:cubicBezTo>
                      <a:pt x="556" y="50"/>
                      <a:pt x="571" y="65"/>
                      <a:pt x="571" y="83"/>
                    </a:cubicBezTo>
                    <a:cubicBezTo>
                      <a:pt x="571" y="102"/>
                      <a:pt x="556" y="117"/>
                      <a:pt x="537" y="117"/>
                    </a:cubicBezTo>
                    <a:close/>
                    <a:moveTo>
                      <a:pt x="601" y="0"/>
                    </a:moveTo>
                    <a:lnTo>
                      <a:pt x="600" y="0"/>
                    </a:lnTo>
                    <a:cubicBezTo>
                      <a:pt x="600" y="0"/>
                      <a:pt x="600" y="0"/>
                      <a:pt x="599" y="0"/>
                    </a:cubicBezTo>
                    <a:lnTo>
                      <a:pt x="341" y="0"/>
                    </a:lnTo>
                    <a:cubicBezTo>
                      <a:pt x="334" y="0"/>
                      <a:pt x="320" y="10"/>
                      <a:pt x="318" y="12"/>
                    </a:cubicBezTo>
                    <a:lnTo>
                      <a:pt x="16" y="314"/>
                    </a:lnTo>
                    <a:cubicBezTo>
                      <a:pt x="0" y="330"/>
                      <a:pt x="0" y="356"/>
                      <a:pt x="16" y="372"/>
                    </a:cubicBezTo>
                    <a:lnTo>
                      <a:pt x="248" y="605"/>
                    </a:lnTo>
                    <a:cubicBezTo>
                      <a:pt x="256" y="613"/>
                      <a:pt x="267" y="617"/>
                      <a:pt x="277" y="617"/>
                    </a:cubicBezTo>
                    <a:cubicBezTo>
                      <a:pt x="288" y="617"/>
                      <a:pt x="298" y="613"/>
                      <a:pt x="306" y="605"/>
                    </a:cubicBezTo>
                    <a:lnTo>
                      <a:pt x="608" y="302"/>
                    </a:lnTo>
                    <a:cubicBezTo>
                      <a:pt x="610" y="300"/>
                      <a:pt x="621" y="288"/>
                      <a:pt x="621" y="280"/>
                    </a:cubicBezTo>
                    <a:lnTo>
                      <a:pt x="621" y="20"/>
                    </a:lnTo>
                    <a:cubicBezTo>
                      <a:pt x="621" y="9"/>
                      <a:pt x="613" y="0"/>
                      <a:pt x="601"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7" name="Shopping_Basket2" descr="{&quot;Key&quot;:&quot;POWER_USER_SHAPE_ICON&quot;,&quot;Value&quot;:&quot;POWER_USER_SHAPE_ICON_STYLE_1&quot;}">
                <a:extLst>
                  <a:ext uri="{FF2B5EF4-FFF2-40B4-BE49-F238E27FC236}">
                    <a16:creationId xmlns:a16="http://schemas.microsoft.com/office/drawing/2014/main" id="{7ADF5EFA-95A1-410B-9377-BD67C5B50A57}"/>
                  </a:ext>
                </a:extLst>
              </p:cNvPr>
              <p:cNvSpPr>
                <a:spLocks noChangeAspect="1" noChangeArrowheads="1"/>
              </p:cNvSpPr>
              <p:nvPr>
                <p:custDataLst>
                  <p:tags r:id="rId12"/>
                </p:custDataLst>
              </p:nvPr>
            </p:nvSpPr>
            <p:spPr bwMode="auto">
              <a:xfrm>
                <a:off x="4994952" y="3802713"/>
                <a:ext cx="203458" cy="178796"/>
              </a:xfrm>
              <a:custGeom>
                <a:avLst/>
                <a:gdLst>
                  <a:gd name="T0" fmla="*/ 429 w 583"/>
                  <a:gd name="T1" fmla="*/ 183 h 512"/>
                  <a:gd name="T2" fmla="*/ 312 w 583"/>
                  <a:gd name="T3" fmla="*/ 10 h 512"/>
                  <a:gd name="T4" fmla="*/ 291 w 583"/>
                  <a:gd name="T5" fmla="*/ 0 h 512"/>
                  <a:gd name="T6" fmla="*/ 271 w 583"/>
                  <a:gd name="T7" fmla="*/ 10 h 512"/>
                  <a:gd name="T8" fmla="*/ 153 w 583"/>
                  <a:gd name="T9" fmla="*/ 183 h 512"/>
                  <a:gd name="T10" fmla="*/ 26 w 583"/>
                  <a:gd name="T11" fmla="*/ 183 h 512"/>
                  <a:gd name="T12" fmla="*/ 0 w 583"/>
                  <a:gd name="T13" fmla="*/ 214 h 512"/>
                  <a:gd name="T14" fmla="*/ 0 w 583"/>
                  <a:gd name="T15" fmla="*/ 219 h 512"/>
                  <a:gd name="T16" fmla="*/ 66 w 583"/>
                  <a:gd name="T17" fmla="*/ 470 h 512"/>
                  <a:gd name="T18" fmla="*/ 117 w 583"/>
                  <a:gd name="T19" fmla="*/ 511 h 512"/>
                  <a:gd name="T20" fmla="*/ 465 w 583"/>
                  <a:gd name="T21" fmla="*/ 511 h 512"/>
                  <a:gd name="T22" fmla="*/ 516 w 583"/>
                  <a:gd name="T23" fmla="*/ 470 h 512"/>
                  <a:gd name="T24" fmla="*/ 582 w 583"/>
                  <a:gd name="T25" fmla="*/ 219 h 512"/>
                  <a:gd name="T26" fmla="*/ 582 w 583"/>
                  <a:gd name="T27" fmla="*/ 214 h 512"/>
                  <a:gd name="T28" fmla="*/ 552 w 583"/>
                  <a:gd name="T29" fmla="*/ 183 h 512"/>
                  <a:gd name="T30" fmla="*/ 429 w 583"/>
                  <a:gd name="T31" fmla="*/ 183 h 512"/>
                  <a:gd name="T32" fmla="*/ 209 w 583"/>
                  <a:gd name="T33" fmla="*/ 183 h 512"/>
                  <a:gd name="T34" fmla="*/ 291 w 583"/>
                  <a:gd name="T35" fmla="*/ 66 h 512"/>
                  <a:gd name="T36" fmla="*/ 373 w 583"/>
                  <a:gd name="T37" fmla="*/ 183 h 512"/>
                  <a:gd name="T38" fmla="*/ 209 w 583"/>
                  <a:gd name="T39" fmla="*/ 183 h 512"/>
                  <a:gd name="T40" fmla="*/ 291 w 583"/>
                  <a:gd name="T41" fmla="*/ 398 h 512"/>
                  <a:gd name="T42" fmla="*/ 240 w 583"/>
                  <a:gd name="T43" fmla="*/ 347 h 512"/>
                  <a:gd name="T44" fmla="*/ 291 w 583"/>
                  <a:gd name="T45" fmla="*/ 291 h 512"/>
                  <a:gd name="T46" fmla="*/ 347 w 583"/>
                  <a:gd name="T47" fmla="*/ 347 h 512"/>
                  <a:gd name="T48" fmla="*/ 291 w 583"/>
                  <a:gd name="T49" fmla="*/ 39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83" h="512">
                    <a:moveTo>
                      <a:pt x="429" y="183"/>
                    </a:moveTo>
                    <a:lnTo>
                      <a:pt x="312" y="10"/>
                    </a:lnTo>
                    <a:cubicBezTo>
                      <a:pt x="307" y="5"/>
                      <a:pt x="299" y="0"/>
                      <a:pt x="291" y="0"/>
                    </a:cubicBezTo>
                    <a:cubicBezTo>
                      <a:pt x="284" y="0"/>
                      <a:pt x="276" y="0"/>
                      <a:pt x="271" y="10"/>
                    </a:cubicBezTo>
                    <a:lnTo>
                      <a:pt x="153" y="183"/>
                    </a:lnTo>
                    <a:lnTo>
                      <a:pt x="26" y="183"/>
                    </a:lnTo>
                    <a:cubicBezTo>
                      <a:pt x="10" y="183"/>
                      <a:pt x="0" y="194"/>
                      <a:pt x="0" y="214"/>
                    </a:cubicBezTo>
                    <a:lnTo>
                      <a:pt x="0" y="219"/>
                    </a:lnTo>
                    <a:lnTo>
                      <a:pt x="66" y="470"/>
                    </a:lnTo>
                    <a:cubicBezTo>
                      <a:pt x="72" y="490"/>
                      <a:pt x="92" y="511"/>
                      <a:pt x="117" y="511"/>
                    </a:cubicBezTo>
                    <a:lnTo>
                      <a:pt x="465" y="511"/>
                    </a:lnTo>
                    <a:cubicBezTo>
                      <a:pt x="485" y="511"/>
                      <a:pt x="506" y="490"/>
                      <a:pt x="516" y="470"/>
                    </a:cubicBezTo>
                    <a:lnTo>
                      <a:pt x="582" y="219"/>
                    </a:lnTo>
                    <a:lnTo>
                      <a:pt x="582" y="214"/>
                    </a:lnTo>
                    <a:cubicBezTo>
                      <a:pt x="582" y="194"/>
                      <a:pt x="572" y="183"/>
                      <a:pt x="552" y="183"/>
                    </a:cubicBezTo>
                    <a:lnTo>
                      <a:pt x="429" y="183"/>
                    </a:lnTo>
                    <a:close/>
                    <a:moveTo>
                      <a:pt x="209" y="183"/>
                    </a:moveTo>
                    <a:lnTo>
                      <a:pt x="291" y="66"/>
                    </a:lnTo>
                    <a:lnTo>
                      <a:pt x="373" y="183"/>
                    </a:lnTo>
                    <a:lnTo>
                      <a:pt x="209" y="183"/>
                    </a:lnTo>
                    <a:close/>
                    <a:moveTo>
                      <a:pt x="291" y="398"/>
                    </a:moveTo>
                    <a:cubicBezTo>
                      <a:pt x="261" y="398"/>
                      <a:pt x="240" y="375"/>
                      <a:pt x="240" y="347"/>
                    </a:cubicBezTo>
                    <a:cubicBezTo>
                      <a:pt x="240" y="319"/>
                      <a:pt x="261" y="291"/>
                      <a:pt x="291" y="291"/>
                    </a:cubicBezTo>
                    <a:cubicBezTo>
                      <a:pt x="322" y="291"/>
                      <a:pt x="347" y="319"/>
                      <a:pt x="347" y="347"/>
                    </a:cubicBezTo>
                    <a:cubicBezTo>
                      <a:pt x="347" y="375"/>
                      <a:pt x="322" y="398"/>
                      <a:pt x="291" y="398"/>
                    </a:cubicBezTo>
                    <a:close/>
                  </a:path>
                </a:pathLst>
              </a:custGeom>
              <a:solidFill>
                <a:schemeClr val="bg1"/>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grpSp>
        <p:nvGrpSpPr>
          <p:cNvPr id="76" name="Groep 75">
            <a:extLst>
              <a:ext uri="{FF2B5EF4-FFF2-40B4-BE49-F238E27FC236}">
                <a16:creationId xmlns:a16="http://schemas.microsoft.com/office/drawing/2014/main" id="{EA45D03B-1207-4FE0-8C33-86D1196F9719}"/>
              </a:ext>
            </a:extLst>
          </p:cNvPr>
          <p:cNvGrpSpPr/>
          <p:nvPr/>
        </p:nvGrpSpPr>
        <p:grpSpPr>
          <a:xfrm>
            <a:off x="7181184" y="4461570"/>
            <a:ext cx="252000" cy="252000"/>
            <a:chOff x="8342489" y="1970656"/>
            <a:chExt cx="329184" cy="329184"/>
          </a:xfrm>
        </p:grpSpPr>
        <p:sp>
          <p:nvSpPr>
            <p:cNvPr id="154" name="Oval 53">
              <a:extLst>
                <a:ext uri="{FF2B5EF4-FFF2-40B4-BE49-F238E27FC236}">
                  <a16:creationId xmlns:a16="http://schemas.microsoft.com/office/drawing/2014/main" id="{89EF6712-FA69-4476-B86C-7C766EB872E1}"/>
                </a:ext>
              </a:extLst>
            </p:cNvPr>
            <p:cNvSpPr/>
            <p:nvPr/>
          </p:nvSpPr>
          <p:spPr>
            <a:xfrm>
              <a:off x="8342489" y="1970656"/>
              <a:ext cx="329184" cy="329184"/>
            </a:xfrm>
            <a:prstGeom prst="ellipse">
              <a:avLst/>
            </a:prstGeom>
            <a:solidFill>
              <a:srgbClr val="62366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55" name="Shopping_cart" descr="{&quot;Key&quot;:&quot;POWER_USER_SHAPE_ICON&quot;,&quot;Value&quot;:&quot;POWER_USER_SHAPE_ICON_STYLE_1&quot;}">
              <a:extLst>
                <a:ext uri="{FF2B5EF4-FFF2-40B4-BE49-F238E27FC236}">
                  <a16:creationId xmlns:a16="http://schemas.microsoft.com/office/drawing/2014/main" id="{23284003-3493-4DCC-A683-E057B961CC45}"/>
                </a:ext>
              </a:extLst>
            </p:cNvPr>
            <p:cNvGrpSpPr>
              <a:grpSpLocks noChangeAspect="1"/>
            </p:cNvGrpSpPr>
            <p:nvPr>
              <p:custDataLst>
                <p:tags r:id="rId10"/>
              </p:custDataLst>
            </p:nvPr>
          </p:nvGrpSpPr>
          <p:grpSpPr>
            <a:xfrm>
              <a:off x="8380012" y="2028686"/>
              <a:ext cx="235088" cy="232174"/>
              <a:chOff x="4646614" y="2062164"/>
              <a:chExt cx="384175" cy="379413"/>
            </a:xfrm>
            <a:solidFill>
              <a:schemeClr val="bg1"/>
            </a:solidFill>
          </p:grpSpPr>
          <p:sp>
            <p:nvSpPr>
              <p:cNvPr id="156" name="Freeform 198">
                <a:extLst>
                  <a:ext uri="{FF2B5EF4-FFF2-40B4-BE49-F238E27FC236}">
                    <a16:creationId xmlns:a16="http://schemas.microsoft.com/office/drawing/2014/main" id="{A0A2576C-6C1E-4708-9DF7-852142025C73}"/>
                  </a:ext>
                </a:extLst>
              </p:cNvPr>
              <p:cNvSpPr>
                <a:spLocks noEditPoints="1"/>
              </p:cNvSpPr>
              <p:nvPr/>
            </p:nvSpPr>
            <p:spPr bwMode="auto">
              <a:xfrm>
                <a:off x="4773614" y="2386014"/>
                <a:ext cx="55563" cy="55563"/>
              </a:xfrm>
              <a:custGeom>
                <a:avLst/>
                <a:gdLst>
                  <a:gd name="T0" fmla="*/ 40 w 80"/>
                  <a:gd name="T1" fmla="*/ 55 h 80"/>
                  <a:gd name="T2" fmla="*/ 25 w 80"/>
                  <a:gd name="T3" fmla="*/ 40 h 80"/>
                  <a:gd name="T4" fmla="*/ 40 w 80"/>
                  <a:gd name="T5" fmla="*/ 25 h 80"/>
                  <a:gd name="T6" fmla="*/ 55 w 80"/>
                  <a:gd name="T7" fmla="*/ 40 h 80"/>
                  <a:gd name="T8" fmla="*/ 40 w 80"/>
                  <a:gd name="T9" fmla="*/ 55 h 80"/>
                  <a:gd name="T10" fmla="*/ 40 w 80"/>
                  <a:gd name="T11" fmla="*/ 0 h 80"/>
                  <a:gd name="T12" fmla="*/ 0 w 80"/>
                  <a:gd name="T13" fmla="*/ 40 h 80"/>
                  <a:gd name="T14" fmla="*/ 40 w 80"/>
                  <a:gd name="T15" fmla="*/ 80 h 80"/>
                  <a:gd name="T16" fmla="*/ 80 w 80"/>
                  <a:gd name="T17" fmla="*/ 40 h 80"/>
                  <a:gd name="T18" fmla="*/ 40 w 80"/>
                  <a:gd name="T19"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0" h="80">
                    <a:moveTo>
                      <a:pt x="40" y="55"/>
                    </a:moveTo>
                    <a:cubicBezTo>
                      <a:pt x="32" y="55"/>
                      <a:pt x="25" y="48"/>
                      <a:pt x="25" y="40"/>
                    </a:cubicBezTo>
                    <a:cubicBezTo>
                      <a:pt x="25" y="32"/>
                      <a:pt x="32" y="25"/>
                      <a:pt x="40" y="25"/>
                    </a:cubicBezTo>
                    <a:cubicBezTo>
                      <a:pt x="48" y="25"/>
                      <a:pt x="55" y="32"/>
                      <a:pt x="55" y="40"/>
                    </a:cubicBezTo>
                    <a:cubicBezTo>
                      <a:pt x="55" y="48"/>
                      <a:pt x="48" y="55"/>
                      <a:pt x="40" y="55"/>
                    </a:cubicBezTo>
                    <a:close/>
                    <a:moveTo>
                      <a:pt x="40" y="0"/>
                    </a:moveTo>
                    <a:cubicBezTo>
                      <a:pt x="18" y="0"/>
                      <a:pt x="0" y="18"/>
                      <a:pt x="0" y="40"/>
                    </a:cubicBezTo>
                    <a:cubicBezTo>
                      <a:pt x="0" y="62"/>
                      <a:pt x="18" y="80"/>
                      <a:pt x="40" y="80"/>
                    </a:cubicBezTo>
                    <a:cubicBezTo>
                      <a:pt x="62" y="80"/>
                      <a:pt x="80" y="62"/>
                      <a:pt x="80" y="40"/>
                    </a:cubicBezTo>
                    <a:cubicBezTo>
                      <a:pt x="80" y="18"/>
                      <a:pt x="62" y="0"/>
                      <a:pt x="40"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7" name="Freeform 199">
                <a:extLst>
                  <a:ext uri="{FF2B5EF4-FFF2-40B4-BE49-F238E27FC236}">
                    <a16:creationId xmlns:a16="http://schemas.microsoft.com/office/drawing/2014/main" id="{4A6F3453-2864-44E8-A78F-B8A426395FDE}"/>
                  </a:ext>
                </a:extLst>
              </p:cNvPr>
              <p:cNvSpPr>
                <a:spLocks noEditPoints="1"/>
              </p:cNvSpPr>
              <p:nvPr/>
            </p:nvSpPr>
            <p:spPr bwMode="auto">
              <a:xfrm>
                <a:off x="4929189" y="2386014"/>
                <a:ext cx="55563" cy="55563"/>
              </a:xfrm>
              <a:custGeom>
                <a:avLst/>
                <a:gdLst>
                  <a:gd name="T0" fmla="*/ 40 w 80"/>
                  <a:gd name="T1" fmla="*/ 55 h 80"/>
                  <a:gd name="T2" fmla="*/ 25 w 80"/>
                  <a:gd name="T3" fmla="*/ 40 h 80"/>
                  <a:gd name="T4" fmla="*/ 40 w 80"/>
                  <a:gd name="T5" fmla="*/ 25 h 80"/>
                  <a:gd name="T6" fmla="*/ 55 w 80"/>
                  <a:gd name="T7" fmla="*/ 40 h 80"/>
                  <a:gd name="T8" fmla="*/ 40 w 80"/>
                  <a:gd name="T9" fmla="*/ 55 h 80"/>
                  <a:gd name="T10" fmla="*/ 40 w 80"/>
                  <a:gd name="T11" fmla="*/ 0 h 80"/>
                  <a:gd name="T12" fmla="*/ 0 w 80"/>
                  <a:gd name="T13" fmla="*/ 40 h 80"/>
                  <a:gd name="T14" fmla="*/ 40 w 80"/>
                  <a:gd name="T15" fmla="*/ 80 h 80"/>
                  <a:gd name="T16" fmla="*/ 80 w 80"/>
                  <a:gd name="T17" fmla="*/ 40 h 80"/>
                  <a:gd name="T18" fmla="*/ 40 w 80"/>
                  <a:gd name="T19"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0" h="80">
                    <a:moveTo>
                      <a:pt x="40" y="55"/>
                    </a:moveTo>
                    <a:cubicBezTo>
                      <a:pt x="32" y="55"/>
                      <a:pt x="25" y="48"/>
                      <a:pt x="25" y="40"/>
                    </a:cubicBezTo>
                    <a:cubicBezTo>
                      <a:pt x="25" y="32"/>
                      <a:pt x="32" y="25"/>
                      <a:pt x="40" y="25"/>
                    </a:cubicBezTo>
                    <a:cubicBezTo>
                      <a:pt x="48" y="25"/>
                      <a:pt x="55" y="32"/>
                      <a:pt x="55" y="40"/>
                    </a:cubicBezTo>
                    <a:cubicBezTo>
                      <a:pt x="55" y="48"/>
                      <a:pt x="48" y="55"/>
                      <a:pt x="40" y="55"/>
                    </a:cubicBezTo>
                    <a:close/>
                    <a:moveTo>
                      <a:pt x="40" y="0"/>
                    </a:moveTo>
                    <a:cubicBezTo>
                      <a:pt x="18" y="0"/>
                      <a:pt x="0" y="18"/>
                      <a:pt x="0" y="40"/>
                    </a:cubicBezTo>
                    <a:cubicBezTo>
                      <a:pt x="0" y="62"/>
                      <a:pt x="18" y="80"/>
                      <a:pt x="40" y="80"/>
                    </a:cubicBezTo>
                    <a:cubicBezTo>
                      <a:pt x="62" y="80"/>
                      <a:pt x="80" y="62"/>
                      <a:pt x="80" y="40"/>
                    </a:cubicBezTo>
                    <a:cubicBezTo>
                      <a:pt x="80" y="18"/>
                      <a:pt x="62" y="0"/>
                      <a:pt x="40"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8" name="Freeform 200">
                <a:extLst>
                  <a:ext uri="{FF2B5EF4-FFF2-40B4-BE49-F238E27FC236}">
                    <a16:creationId xmlns:a16="http://schemas.microsoft.com/office/drawing/2014/main" id="{6FA0DF8B-42FB-4757-979C-E1566DCD9028}"/>
                  </a:ext>
                </a:extLst>
              </p:cNvPr>
              <p:cNvSpPr>
                <a:spLocks noEditPoints="1"/>
              </p:cNvSpPr>
              <p:nvPr/>
            </p:nvSpPr>
            <p:spPr bwMode="auto">
              <a:xfrm>
                <a:off x="4646614" y="2062164"/>
                <a:ext cx="384175" cy="311150"/>
              </a:xfrm>
              <a:custGeom>
                <a:avLst/>
                <a:gdLst>
                  <a:gd name="T0" fmla="*/ 465 w 554"/>
                  <a:gd name="T1" fmla="*/ 168 h 450"/>
                  <a:gd name="T2" fmla="*/ 530 w 554"/>
                  <a:gd name="T3" fmla="*/ 88 h 450"/>
                  <a:gd name="T4" fmla="*/ 483 w 554"/>
                  <a:gd name="T5" fmla="*/ 257 h 450"/>
                  <a:gd name="T6" fmla="*/ 447 w 554"/>
                  <a:gd name="T7" fmla="*/ 273 h 450"/>
                  <a:gd name="T8" fmla="*/ 505 w 554"/>
                  <a:gd name="T9" fmla="*/ 177 h 450"/>
                  <a:gd name="T10" fmla="*/ 432 w 554"/>
                  <a:gd name="T11" fmla="*/ 273 h 450"/>
                  <a:gd name="T12" fmla="*/ 407 w 554"/>
                  <a:gd name="T13" fmla="*/ 177 h 450"/>
                  <a:gd name="T14" fmla="*/ 432 w 554"/>
                  <a:gd name="T15" fmla="*/ 273 h 450"/>
                  <a:gd name="T16" fmla="*/ 352 w 554"/>
                  <a:gd name="T17" fmla="*/ 88 h 450"/>
                  <a:gd name="T18" fmla="*/ 393 w 554"/>
                  <a:gd name="T19" fmla="*/ 168 h 450"/>
                  <a:gd name="T20" fmla="*/ 383 w 554"/>
                  <a:gd name="T21" fmla="*/ 273 h 450"/>
                  <a:gd name="T22" fmla="*/ 352 w 554"/>
                  <a:gd name="T23" fmla="*/ 177 h 450"/>
                  <a:gd name="T24" fmla="*/ 383 w 554"/>
                  <a:gd name="T25" fmla="*/ 273 h 450"/>
                  <a:gd name="T26" fmla="*/ 297 w 554"/>
                  <a:gd name="T27" fmla="*/ 168 h 450"/>
                  <a:gd name="T28" fmla="*/ 337 w 554"/>
                  <a:gd name="T29" fmla="*/ 88 h 450"/>
                  <a:gd name="T30" fmla="*/ 337 w 554"/>
                  <a:gd name="T31" fmla="*/ 273 h 450"/>
                  <a:gd name="T32" fmla="*/ 298 w 554"/>
                  <a:gd name="T33" fmla="*/ 177 h 450"/>
                  <a:gd name="T34" fmla="*/ 337 w 554"/>
                  <a:gd name="T35" fmla="*/ 273 h 450"/>
                  <a:gd name="T36" fmla="*/ 242 w 554"/>
                  <a:gd name="T37" fmla="*/ 177 h 450"/>
                  <a:gd name="T38" fmla="*/ 292 w 554"/>
                  <a:gd name="T39" fmla="*/ 273 h 450"/>
                  <a:gd name="T40" fmla="*/ 210 w 554"/>
                  <a:gd name="T41" fmla="*/ 273 h 450"/>
                  <a:gd name="T42" fmla="*/ 227 w 554"/>
                  <a:gd name="T43" fmla="*/ 177 h 450"/>
                  <a:gd name="T44" fmla="*/ 210 w 554"/>
                  <a:gd name="T45" fmla="*/ 273 h 450"/>
                  <a:gd name="T46" fmla="*/ 157 w 554"/>
                  <a:gd name="T47" fmla="*/ 268 h 450"/>
                  <a:gd name="T48" fmla="*/ 173 w 554"/>
                  <a:gd name="T49" fmla="*/ 177 h 450"/>
                  <a:gd name="T50" fmla="*/ 170 w 554"/>
                  <a:gd name="T51" fmla="*/ 273 h 450"/>
                  <a:gd name="T52" fmla="*/ 106 w 554"/>
                  <a:gd name="T53" fmla="*/ 88 h 450"/>
                  <a:gd name="T54" fmla="*/ 171 w 554"/>
                  <a:gd name="T55" fmla="*/ 168 h 450"/>
                  <a:gd name="T56" fmla="*/ 126 w 554"/>
                  <a:gd name="T57" fmla="*/ 156 h 450"/>
                  <a:gd name="T58" fmla="*/ 225 w 554"/>
                  <a:gd name="T59" fmla="*/ 168 h 450"/>
                  <a:gd name="T60" fmla="*/ 168 w 554"/>
                  <a:gd name="T61" fmla="*/ 88 h 450"/>
                  <a:gd name="T62" fmla="*/ 274 w 554"/>
                  <a:gd name="T63" fmla="*/ 88 h 450"/>
                  <a:gd name="T64" fmla="*/ 241 w 554"/>
                  <a:gd name="T65" fmla="*/ 168 h 450"/>
                  <a:gd name="T66" fmla="*/ 274 w 554"/>
                  <a:gd name="T67" fmla="*/ 88 h 450"/>
                  <a:gd name="T68" fmla="*/ 462 w 554"/>
                  <a:gd name="T69" fmla="*/ 88 h 450"/>
                  <a:gd name="T70" fmla="*/ 408 w 554"/>
                  <a:gd name="T71" fmla="*/ 168 h 450"/>
                  <a:gd name="T72" fmla="*/ 24 w 554"/>
                  <a:gd name="T73" fmla="*/ 29 h 450"/>
                  <a:gd name="T74" fmla="*/ 19 w 554"/>
                  <a:gd name="T75" fmla="*/ 13 h 450"/>
                  <a:gd name="T76" fmla="*/ 24 w 554"/>
                  <a:gd name="T77" fmla="*/ 29 h 450"/>
                  <a:gd name="T78" fmla="*/ 110 w 554"/>
                  <a:gd name="T79" fmla="*/ 63 h 450"/>
                  <a:gd name="T80" fmla="*/ 91 w 554"/>
                  <a:gd name="T81" fmla="*/ 34 h 450"/>
                  <a:gd name="T82" fmla="*/ 39 w 554"/>
                  <a:gd name="T83" fmla="*/ 12 h 450"/>
                  <a:gd name="T84" fmla="*/ 3 w 554"/>
                  <a:gd name="T85" fmla="*/ 27 h 450"/>
                  <a:gd name="T86" fmla="*/ 38 w 554"/>
                  <a:gd name="T87" fmla="*/ 31 h 450"/>
                  <a:gd name="T88" fmla="*/ 67 w 554"/>
                  <a:gd name="T89" fmla="*/ 40 h 450"/>
                  <a:gd name="T90" fmla="*/ 209 w 554"/>
                  <a:gd name="T91" fmla="*/ 450 h 450"/>
                  <a:gd name="T92" fmla="*/ 496 w 554"/>
                  <a:gd name="T93" fmla="*/ 437 h 450"/>
                  <a:gd name="T94" fmla="*/ 212 w 554"/>
                  <a:gd name="T95" fmla="*/ 420 h 450"/>
                  <a:gd name="T96" fmla="*/ 168 w 554"/>
                  <a:gd name="T97" fmla="*/ 309 h 450"/>
                  <a:gd name="T98" fmla="*/ 451 w 554"/>
                  <a:gd name="T99" fmla="*/ 314 h 450"/>
                  <a:gd name="T100" fmla="*/ 552 w 554"/>
                  <a:gd name="T101" fmla="*/ 88 h 4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54" h="450">
                    <a:moveTo>
                      <a:pt x="508" y="168"/>
                    </a:moveTo>
                    <a:lnTo>
                      <a:pt x="465" y="168"/>
                    </a:lnTo>
                    <a:lnTo>
                      <a:pt x="478" y="88"/>
                    </a:lnTo>
                    <a:lnTo>
                      <a:pt x="530" y="88"/>
                    </a:lnTo>
                    <a:lnTo>
                      <a:pt x="508" y="168"/>
                    </a:lnTo>
                    <a:close/>
                    <a:moveTo>
                      <a:pt x="483" y="257"/>
                    </a:moveTo>
                    <a:cubicBezTo>
                      <a:pt x="480" y="265"/>
                      <a:pt x="471" y="273"/>
                      <a:pt x="462" y="273"/>
                    </a:cubicBezTo>
                    <a:lnTo>
                      <a:pt x="447" y="273"/>
                    </a:lnTo>
                    <a:lnTo>
                      <a:pt x="463" y="177"/>
                    </a:lnTo>
                    <a:lnTo>
                      <a:pt x="505" y="177"/>
                    </a:lnTo>
                    <a:lnTo>
                      <a:pt x="483" y="257"/>
                    </a:lnTo>
                    <a:close/>
                    <a:moveTo>
                      <a:pt x="432" y="273"/>
                    </a:moveTo>
                    <a:lnTo>
                      <a:pt x="398" y="273"/>
                    </a:lnTo>
                    <a:lnTo>
                      <a:pt x="407" y="177"/>
                    </a:lnTo>
                    <a:lnTo>
                      <a:pt x="447" y="177"/>
                    </a:lnTo>
                    <a:lnTo>
                      <a:pt x="432" y="273"/>
                    </a:lnTo>
                    <a:close/>
                    <a:moveTo>
                      <a:pt x="352" y="168"/>
                    </a:moveTo>
                    <a:lnTo>
                      <a:pt x="352" y="88"/>
                    </a:lnTo>
                    <a:lnTo>
                      <a:pt x="401" y="88"/>
                    </a:lnTo>
                    <a:lnTo>
                      <a:pt x="393" y="168"/>
                    </a:lnTo>
                    <a:lnTo>
                      <a:pt x="352" y="168"/>
                    </a:lnTo>
                    <a:close/>
                    <a:moveTo>
                      <a:pt x="383" y="273"/>
                    </a:moveTo>
                    <a:lnTo>
                      <a:pt x="352" y="273"/>
                    </a:lnTo>
                    <a:lnTo>
                      <a:pt x="352" y="177"/>
                    </a:lnTo>
                    <a:lnTo>
                      <a:pt x="392" y="177"/>
                    </a:lnTo>
                    <a:lnTo>
                      <a:pt x="383" y="273"/>
                    </a:lnTo>
                    <a:close/>
                    <a:moveTo>
                      <a:pt x="337" y="168"/>
                    </a:moveTo>
                    <a:lnTo>
                      <a:pt x="297" y="168"/>
                    </a:lnTo>
                    <a:lnTo>
                      <a:pt x="289" y="88"/>
                    </a:lnTo>
                    <a:lnTo>
                      <a:pt x="337" y="88"/>
                    </a:lnTo>
                    <a:lnTo>
                      <a:pt x="337" y="168"/>
                    </a:lnTo>
                    <a:close/>
                    <a:moveTo>
                      <a:pt x="337" y="273"/>
                    </a:moveTo>
                    <a:lnTo>
                      <a:pt x="307" y="273"/>
                    </a:lnTo>
                    <a:lnTo>
                      <a:pt x="298" y="177"/>
                    </a:lnTo>
                    <a:lnTo>
                      <a:pt x="337" y="177"/>
                    </a:lnTo>
                    <a:lnTo>
                      <a:pt x="337" y="273"/>
                    </a:lnTo>
                    <a:close/>
                    <a:moveTo>
                      <a:pt x="258" y="273"/>
                    </a:moveTo>
                    <a:lnTo>
                      <a:pt x="242" y="177"/>
                    </a:lnTo>
                    <a:lnTo>
                      <a:pt x="282" y="177"/>
                    </a:lnTo>
                    <a:lnTo>
                      <a:pt x="292" y="273"/>
                    </a:lnTo>
                    <a:lnTo>
                      <a:pt x="258" y="273"/>
                    </a:lnTo>
                    <a:close/>
                    <a:moveTo>
                      <a:pt x="210" y="273"/>
                    </a:moveTo>
                    <a:lnTo>
                      <a:pt x="188" y="177"/>
                    </a:lnTo>
                    <a:lnTo>
                      <a:pt x="227" y="177"/>
                    </a:lnTo>
                    <a:lnTo>
                      <a:pt x="242" y="273"/>
                    </a:lnTo>
                    <a:lnTo>
                      <a:pt x="210" y="273"/>
                    </a:lnTo>
                    <a:close/>
                    <a:moveTo>
                      <a:pt x="170" y="273"/>
                    </a:moveTo>
                    <a:cubicBezTo>
                      <a:pt x="165" y="273"/>
                      <a:pt x="161" y="271"/>
                      <a:pt x="157" y="268"/>
                    </a:cubicBezTo>
                    <a:cubicBezTo>
                      <a:pt x="150" y="244"/>
                      <a:pt x="141" y="211"/>
                      <a:pt x="131" y="177"/>
                    </a:cubicBezTo>
                    <a:lnTo>
                      <a:pt x="173" y="177"/>
                    </a:lnTo>
                    <a:lnTo>
                      <a:pt x="194" y="273"/>
                    </a:lnTo>
                    <a:lnTo>
                      <a:pt x="170" y="273"/>
                    </a:lnTo>
                    <a:close/>
                    <a:moveTo>
                      <a:pt x="126" y="156"/>
                    </a:moveTo>
                    <a:cubicBezTo>
                      <a:pt x="119" y="133"/>
                      <a:pt x="112" y="109"/>
                      <a:pt x="106" y="88"/>
                    </a:cubicBezTo>
                    <a:lnTo>
                      <a:pt x="153" y="88"/>
                    </a:lnTo>
                    <a:lnTo>
                      <a:pt x="171" y="168"/>
                    </a:lnTo>
                    <a:lnTo>
                      <a:pt x="129" y="168"/>
                    </a:lnTo>
                    <a:cubicBezTo>
                      <a:pt x="128" y="164"/>
                      <a:pt x="127" y="160"/>
                      <a:pt x="126" y="156"/>
                    </a:cubicBezTo>
                    <a:close/>
                    <a:moveTo>
                      <a:pt x="212" y="88"/>
                    </a:moveTo>
                    <a:lnTo>
                      <a:pt x="225" y="168"/>
                    </a:lnTo>
                    <a:lnTo>
                      <a:pt x="186" y="168"/>
                    </a:lnTo>
                    <a:lnTo>
                      <a:pt x="168" y="88"/>
                    </a:lnTo>
                    <a:lnTo>
                      <a:pt x="212" y="88"/>
                    </a:lnTo>
                    <a:close/>
                    <a:moveTo>
                      <a:pt x="274" y="88"/>
                    </a:moveTo>
                    <a:lnTo>
                      <a:pt x="281" y="168"/>
                    </a:lnTo>
                    <a:lnTo>
                      <a:pt x="241" y="168"/>
                    </a:lnTo>
                    <a:lnTo>
                      <a:pt x="228" y="88"/>
                    </a:lnTo>
                    <a:lnTo>
                      <a:pt x="274" y="88"/>
                    </a:lnTo>
                    <a:close/>
                    <a:moveTo>
                      <a:pt x="416" y="88"/>
                    </a:moveTo>
                    <a:lnTo>
                      <a:pt x="462" y="88"/>
                    </a:lnTo>
                    <a:lnTo>
                      <a:pt x="449" y="168"/>
                    </a:lnTo>
                    <a:lnTo>
                      <a:pt x="408" y="168"/>
                    </a:lnTo>
                    <a:lnTo>
                      <a:pt x="416" y="88"/>
                    </a:lnTo>
                    <a:close/>
                    <a:moveTo>
                      <a:pt x="24" y="29"/>
                    </a:moveTo>
                    <a:cubicBezTo>
                      <a:pt x="19" y="31"/>
                      <a:pt x="15" y="28"/>
                      <a:pt x="13" y="24"/>
                    </a:cubicBezTo>
                    <a:cubicBezTo>
                      <a:pt x="12" y="19"/>
                      <a:pt x="14" y="14"/>
                      <a:pt x="19" y="13"/>
                    </a:cubicBezTo>
                    <a:cubicBezTo>
                      <a:pt x="24" y="12"/>
                      <a:pt x="28" y="14"/>
                      <a:pt x="30" y="19"/>
                    </a:cubicBezTo>
                    <a:cubicBezTo>
                      <a:pt x="31" y="23"/>
                      <a:pt x="29" y="28"/>
                      <a:pt x="24" y="29"/>
                    </a:cubicBezTo>
                    <a:close/>
                    <a:moveTo>
                      <a:pt x="533" y="63"/>
                    </a:moveTo>
                    <a:lnTo>
                      <a:pt x="110" y="63"/>
                    </a:lnTo>
                    <a:cubicBezTo>
                      <a:pt x="106" y="63"/>
                      <a:pt x="103" y="63"/>
                      <a:pt x="100" y="65"/>
                    </a:cubicBezTo>
                    <a:cubicBezTo>
                      <a:pt x="99" y="61"/>
                      <a:pt x="94" y="44"/>
                      <a:pt x="91" y="34"/>
                    </a:cubicBezTo>
                    <a:cubicBezTo>
                      <a:pt x="88" y="22"/>
                      <a:pt x="79" y="12"/>
                      <a:pt x="64" y="12"/>
                    </a:cubicBezTo>
                    <a:cubicBezTo>
                      <a:pt x="61" y="12"/>
                      <a:pt x="40" y="12"/>
                      <a:pt x="39" y="12"/>
                    </a:cubicBezTo>
                    <a:cubicBezTo>
                      <a:pt x="34" y="4"/>
                      <a:pt x="25" y="0"/>
                      <a:pt x="16" y="2"/>
                    </a:cubicBezTo>
                    <a:cubicBezTo>
                      <a:pt x="5" y="6"/>
                      <a:pt x="0" y="16"/>
                      <a:pt x="3" y="27"/>
                    </a:cubicBezTo>
                    <a:cubicBezTo>
                      <a:pt x="6" y="37"/>
                      <a:pt x="17" y="43"/>
                      <a:pt x="27" y="40"/>
                    </a:cubicBezTo>
                    <a:cubicBezTo>
                      <a:pt x="32" y="39"/>
                      <a:pt x="36" y="35"/>
                      <a:pt x="38" y="31"/>
                    </a:cubicBezTo>
                    <a:cubicBezTo>
                      <a:pt x="40" y="31"/>
                      <a:pt x="52" y="31"/>
                      <a:pt x="54" y="31"/>
                    </a:cubicBezTo>
                    <a:cubicBezTo>
                      <a:pt x="63" y="31"/>
                      <a:pt x="65" y="33"/>
                      <a:pt x="67" y="40"/>
                    </a:cubicBezTo>
                    <a:cubicBezTo>
                      <a:pt x="73" y="61"/>
                      <a:pt x="165" y="388"/>
                      <a:pt x="171" y="409"/>
                    </a:cubicBezTo>
                    <a:cubicBezTo>
                      <a:pt x="180" y="439"/>
                      <a:pt x="194" y="450"/>
                      <a:pt x="209" y="450"/>
                    </a:cubicBezTo>
                    <a:lnTo>
                      <a:pt x="483" y="450"/>
                    </a:lnTo>
                    <a:cubicBezTo>
                      <a:pt x="492" y="450"/>
                      <a:pt x="496" y="441"/>
                      <a:pt x="496" y="437"/>
                    </a:cubicBezTo>
                    <a:cubicBezTo>
                      <a:pt x="498" y="423"/>
                      <a:pt x="486" y="420"/>
                      <a:pt x="480" y="420"/>
                    </a:cubicBezTo>
                    <a:lnTo>
                      <a:pt x="212" y="420"/>
                    </a:lnTo>
                    <a:cubicBezTo>
                      <a:pt x="205" y="420"/>
                      <a:pt x="198" y="415"/>
                      <a:pt x="196" y="408"/>
                    </a:cubicBezTo>
                    <a:cubicBezTo>
                      <a:pt x="195" y="404"/>
                      <a:pt x="170" y="315"/>
                      <a:pt x="168" y="309"/>
                    </a:cubicBezTo>
                    <a:cubicBezTo>
                      <a:pt x="174" y="315"/>
                      <a:pt x="179" y="314"/>
                      <a:pt x="182" y="314"/>
                    </a:cubicBezTo>
                    <a:lnTo>
                      <a:pt x="451" y="314"/>
                    </a:lnTo>
                    <a:cubicBezTo>
                      <a:pt x="486" y="314"/>
                      <a:pt x="500" y="272"/>
                      <a:pt x="503" y="259"/>
                    </a:cubicBezTo>
                    <a:lnTo>
                      <a:pt x="552" y="88"/>
                    </a:lnTo>
                    <a:cubicBezTo>
                      <a:pt x="554" y="81"/>
                      <a:pt x="552" y="63"/>
                      <a:pt x="533" y="63"/>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
        <p:nvSpPr>
          <p:cNvPr id="111" name="Rechthoek 63">
            <a:extLst>
              <a:ext uri="{FF2B5EF4-FFF2-40B4-BE49-F238E27FC236}">
                <a16:creationId xmlns:a16="http://schemas.microsoft.com/office/drawing/2014/main" id="{9838F1B7-AAD5-4C10-BAE2-69319FE37596}"/>
              </a:ext>
            </a:extLst>
          </p:cNvPr>
          <p:cNvSpPr/>
          <p:nvPr/>
        </p:nvSpPr>
        <p:spPr>
          <a:xfrm>
            <a:off x="7117715" y="1871287"/>
            <a:ext cx="137160" cy="182880"/>
          </a:xfrm>
          <a:prstGeom prst="rect">
            <a:avLst/>
          </a:prstGeom>
          <a:ln/>
        </p:spPr>
        <p:style>
          <a:lnRef idx="0">
            <a:schemeClr val="accent2"/>
          </a:lnRef>
          <a:fillRef idx="3">
            <a:schemeClr val="accent2"/>
          </a:fillRef>
          <a:effectRef idx="3">
            <a:schemeClr val="accent2"/>
          </a:effectRef>
          <a:fontRef idx="minor">
            <a:schemeClr val="lt1"/>
          </a:fontRef>
        </p:style>
        <p:txBody>
          <a:bodyPr rtlCol="0" anchor="ctr"/>
          <a:lstStyle/>
          <a:p>
            <a:pPr algn="ctr"/>
            <a:r>
              <a:rPr lang="nl-NL" sz="1200" b="1"/>
              <a:t>P</a:t>
            </a:r>
          </a:p>
        </p:txBody>
      </p:sp>
      <p:sp>
        <p:nvSpPr>
          <p:cNvPr id="114" name="Rechthoek 63">
            <a:extLst>
              <a:ext uri="{FF2B5EF4-FFF2-40B4-BE49-F238E27FC236}">
                <a16:creationId xmlns:a16="http://schemas.microsoft.com/office/drawing/2014/main" id="{EF1F70DF-A6C5-4702-8F2C-2FDEAF6D3B50}"/>
              </a:ext>
            </a:extLst>
          </p:cNvPr>
          <p:cNvSpPr/>
          <p:nvPr/>
        </p:nvSpPr>
        <p:spPr>
          <a:xfrm>
            <a:off x="7905979" y="3803862"/>
            <a:ext cx="137160" cy="182880"/>
          </a:xfrm>
          <a:prstGeom prst="rect">
            <a:avLst/>
          </a:prstGeom>
          <a:ln/>
        </p:spPr>
        <p:style>
          <a:lnRef idx="0">
            <a:schemeClr val="accent2"/>
          </a:lnRef>
          <a:fillRef idx="3">
            <a:schemeClr val="accent2"/>
          </a:fillRef>
          <a:effectRef idx="3">
            <a:schemeClr val="accent2"/>
          </a:effectRef>
          <a:fontRef idx="minor">
            <a:schemeClr val="lt1"/>
          </a:fontRef>
        </p:style>
        <p:txBody>
          <a:bodyPr rtlCol="0" anchor="ctr"/>
          <a:lstStyle/>
          <a:p>
            <a:pPr algn="ctr"/>
            <a:r>
              <a:rPr lang="nl-NL" sz="1200" b="1"/>
              <a:t>P</a:t>
            </a:r>
          </a:p>
        </p:txBody>
      </p:sp>
      <p:sp>
        <p:nvSpPr>
          <p:cNvPr id="116" name="Rechthoek 63">
            <a:extLst>
              <a:ext uri="{FF2B5EF4-FFF2-40B4-BE49-F238E27FC236}">
                <a16:creationId xmlns:a16="http://schemas.microsoft.com/office/drawing/2014/main" id="{E71D95F9-1BE1-4B6F-B88E-E1E6C9EDFD65}"/>
              </a:ext>
            </a:extLst>
          </p:cNvPr>
          <p:cNvSpPr/>
          <p:nvPr/>
        </p:nvSpPr>
        <p:spPr>
          <a:xfrm>
            <a:off x="9213713" y="4269188"/>
            <a:ext cx="137160" cy="182880"/>
          </a:xfrm>
          <a:prstGeom prst="rect">
            <a:avLst/>
          </a:prstGeom>
          <a:ln/>
        </p:spPr>
        <p:style>
          <a:lnRef idx="0">
            <a:schemeClr val="accent2"/>
          </a:lnRef>
          <a:fillRef idx="3">
            <a:schemeClr val="accent2"/>
          </a:fillRef>
          <a:effectRef idx="3">
            <a:schemeClr val="accent2"/>
          </a:effectRef>
          <a:fontRef idx="minor">
            <a:schemeClr val="lt1"/>
          </a:fontRef>
        </p:style>
        <p:txBody>
          <a:bodyPr rtlCol="0" anchor="ctr"/>
          <a:lstStyle/>
          <a:p>
            <a:pPr algn="ctr"/>
            <a:r>
              <a:rPr lang="nl-NL" sz="1200" b="1"/>
              <a:t>P</a:t>
            </a:r>
          </a:p>
        </p:txBody>
      </p:sp>
      <p:sp>
        <p:nvSpPr>
          <p:cNvPr id="122" name="Rechthoek 63">
            <a:extLst>
              <a:ext uri="{FF2B5EF4-FFF2-40B4-BE49-F238E27FC236}">
                <a16:creationId xmlns:a16="http://schemas.microsoft.com/office/drawing/2014/main" id="{4BA9DC60-A5C5-4F85-9A3F-36147D16855D}"/>
              </a:ext>
            </a:extLst>
          </p:cNvPr>
          <p:cNvSpPr/>
          <p:nvPr/>
        </p:nvSpPr>
        <p:spPr>
          <a:xfrm>
            <a:off x="7505961" y="5085819"/>
            <a:ext cx="137160" cy="182880"/>
          </a:xfrm>
          <a:prstGeom prst="rect">
            <a:avLst/>
          </a:prstGeom>
          <a:ln/>
        </p:spPr>
        <p:style>
          <a:lnRef idx="0">
            <a:schemeClr val="accent2"/>
          </a:lnRef>
          <a:fillRef idx="3">
            <a:schemeClr val="accent2"/>
          </a:fillRef>
          <a:effectRef idx="3">
            <a:schemeClr val="accent2"/>
          </a:effectRef>
          <a:fontRef idx="minor">
            <a:schemeClr val="lt1"/>
          </a:fontRef>
        </p:style>
        <p:txBody>
          <a:bodyPr rtlCol="0" anchor="ctr"/>
          <a:lstStyle/>
          <a:p>
            <a:pPr algn="ctr"/>
            <a:r>
              <a:rPr lang="nl-NL" sz="1200" b="1"/>
              <a:t>P</a:t>
            </a:r>
          </a:p>
        </p:txBody>
      </p:sp>
      <p:sp>
        <p:nvSpPr>
          <p:cNvPr id="124" name="Rechthoek 63">
            <a:extLst>
              <a:ext uri="{FF2B5EF4-FFF2-40B4-BE49-F238E27FC236}">
                <a16:creationId xmlns:a16="http://schemas.microsoft.com/office/drawing/2014/main" id="{45897DE5-2016-4B3D-9109-F286112CECA9}"/>
              </a:ext>
            </a:extLst>
          </p:cNvPr>
          <p:cNvSpPr/>
          <p:nvPr/>
        </p:nvSpPr>
        <p:spPr>
          <a:xfrm>
            <a:off x="10724041" y="1098917"/>
            <a:ext cx="137160" cy="182880"/>
          </a:xfrm>
          <a:prstGeom prst="rect">
            <a:avLst/>
          </a:prstGeom>
          <a:ln/>
        </p:spPr>
        <p:style>
          <a:lnRef idx="0">
            <a:schemeClr val="accent2"/>
          </a:lnRef>
          <a:fillRef idx="3">
            <a:schemeClr val="accent2"/>
          </a:fillRef>
          <a:effectRef idx="3">
            <a:schemeClr val="accent2"/>
          </a:effectRef>
          <a:fontRef idx="minor">
            <a:schemeClr val="lt1"/>
          </a:fontRef>
        </p:style>
        <p:txBody>
          <a:bodyPr rtlCol="0" anchor="ctr"/>
          <a:lstStyle/>
          <a:p>
            <a:pPr algn="ctr"/>
            <a:r>
              <a:rPr lang="nl-NL" sz="1200" b="1"/>
              <a:t>P</a:t>
            </a:r>
          </a:p>
        </p:txBody>
      </p:sp>
      <p:sp>
        <p:nvSpPr>
          <p:cNvPr id="125" name="Rechthoek 63">
            <a:extLst>
              <a:ext uri="{FF2B5EF4-FFF2-40B4-BE49-F238E27FC236}">
                <a16:creationId xmlns:a16="http://schemas.microsoft.com/office/drawing/2014/main" id="{D8C82E66-EEAE-4C1E-A4CA-C7271D917FCF}"/>
              </a:ext>
            </a:extLst>
          </p:cNvPr>
          <p:cNvSpPr/>
          <p:nvPr/>
        </p:nvSpPr>
        <p:spPr>
          <a:xfrm>
            <a:off x="6759996" y="1295708"/>
            <a:ext cx="137160" cy="182880"/>
          </a:xfrm>
          <a:prstGeom prst="rect">
            <a:avLst/>
          </a:prstGeom>
          <a:ln/>
        </p:spPr>
        <p:style>
          <a:lnRef idx="0">
            <a:schemeClr val="accent2"/>
          </a:lnRef>
          <a:fillRef idx="3">
            <a:schemeClr val="accent2"/>
          </a:fillRef>
          <a:effectRef idx="3">
            <a:schemeClr val="accent2"/>
          </a:effectRef>
          <a:fontRef idx="minor">
            <a:schemeClr val="lt1"/>
          </a:fontRef>
        </p:style>
        <p:txBody>
          <a:bodyPr rtlCol="0" anchor="ctr"/>
          <a:lstStyle/>
          <a:p>
            <a:pPr algn="ctr"/>
            <a:r>
              <a:rPr lang="nl-NL" sz="1200" b="1"/>
              <a:t>P</a:t>
            </a:r>
          </a:p>
        </p:txBody>
      </p:sp>
      <p:sp>
        <p:nvSpPr>
          <p:cNvPr id="51" name="Tekstvak 78">
            <a:extLst>
              <a:ext uri="{FF2B5EF4-FFF2-40B4-BE49-F238E27FC236}">
                <a16:creationId xmlns:a16="http://schemas.microsoft.com/office/drawing/2014/main" id="{97BD8ED2-C190-4A9B-BEB0-DB1AFBCCE500}"/>
              </a:ext>
            </a:extLst>
          </p:cNvPr>
          <p:cNvSpPr txBox="1"/>
          <p:nvPr/>
        </p:nvSpPr>
        <p:spPr>
          <a:xfrm>
            <a:off x="438599" y="317580"/>
            <a:ext cx="5560558" cy="584775"/>
          </a:xfrm>
          <a:custGeom>
            <a:avLst/>
            <a:gdLst>
              <a:gd name="connsiteX0" fmla="*/ 0 w 5560558"/>
              <a:gd name="connsiteY0" fmla="*/ 0 h 584775"/>
              <a:gd name="connsiteX1" fmla="*/ 583859 w 5560558"/>
              <a:gd name="connsiteY1" fmla="*/ 0 h 584775"/>
              <a:gd name="connsiteX2" fmla="*/ 1334534 w 5560558"/>
              <a:gd name="connsiteY2" fmla="*/ 0 h 584775"/>
              <a:gd name="connsiteX3" fmla="*/ 2085209 w 5560558"/>
              <a:gd name="connsiteY3" fmla="*/ 0 h 584775"/>
              <a:gd name="connsiteX4" fmla="*/ 2891490 w 5560558"/>
              <a:gd name="connsiteY4" fmla="*/ 0 h 584775"/>
              <a:gd name="connsiteX5" fmla="*/ 3475349 w 5560558"/>
              <a:gd name="connsiteY5" fmla="*/ 0 h 584775"/>
              <a:gd name="connsiteX6" fmla="*/ 4226024 w 5560558"/>
              <a:gd name="connsiteY6" fmla="*/ 0 h 584775"/>
              <a:gd name="connsiteX7" fmla="*/ 4865488 w 5560558"/>
              <a:gd name="connsiteY7" fmla="*/ 0 h 584775"/>
              <a:gd name="connsiteX8" fmla="*/ 5560558 w 5560558"/>
              <a:gd name="connsiteY8" fmla="*/ 0 h 584775"/>
              <a:gd name="connsiteX9" fmla="*/ 5560558 w 5560558"/>
              <a:gd name="connsiteY9" fmla="*/ 584775 h 584775"/>
              <a:gd name="connsiteX10" fmla="*/ 4976699 w 5560558"/>
              <a:gd name="connsiteY10" fmla="*/ 584775 h 584775"/>
              <a:gd name="connsiteX11" fmla="*/ 4226024 w 5560558"/>
              <a:gd name="connsiteY11" fmla="*/ 584775 h 584775"/>
              <a:gd name="connsiteX12" fmla="*/ 3475349 w 5560558"/>
              <a:gd name="connsiteY12" fmla="*/ 584775 h 584775"/>
              <a:gd name="connsiteX13" fmla="*/ 2835885 w 5560558"/>
              <a:gd name="connsiteY13" fmla="*/ 584775 h 584775"/>
              <a:gd name="connsiteX14" fmla="*/ 2307632 w 5560558"/>
              <a:gd name="connsiteY14" fmla="*/ 584775 h 584775"/>
              <a:gd name="connsiteX15" fmla="*/ 1501351 w 5560558"/>
              <a:gd name="connsiteY15" fmla="*/ 584775 h 584775"/>
              <a:gd name="connsiteX16" fmla="*/ 917492 w 5560558"/>
              <a:gd name="connsiteY16" fmla="*/ 584775 h 584775"/>
              <a:gd name="connsiteX17" fmla="*/ 0 w 5560558"/>
              <a:gd name="connsiteY17" fmla="*/ 584775 h 584775"/>
              <a:gd name="connsiteX18" fmla="*/ 0 w 5560558"/>
              <a:gd name="connsiteY18" fmla="*/ 0 h 584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5560558" h="584775" fill="none" extrusionOk="0">
                <a:moveTo>
                  <a:pt x="0" y="0"/>
                </a:moveTo>
                <a:cubicBezTo>
                  <a:pt x="139081" y="-13757"/>
                  <a:pt x="353289" y="4916"/>
                  <a:pt x="583859" y="0"/>
                </a:cubicBezTo>
                <a:cubicBezTo>
                  <a:pt x="814429" y="-4916"/>
                  <a:pt x="1125233" y="-26419"/>
                  <a:pt x="1334534" y="0"/>
                </a:cubicBezTo>
                <a:cubicBezTo>
                  <a:pt x="1543836" y="26419"/>
                  <a:pt x="1819044" y="20682"/>
                  <a:pt x="2085209" y="0"/>
                </a:cubicBezTo>
                <a:cubicBezTo>
                  <a:pt x="2351375" y="-20682"/>
                  <a:pt x="2518648" y="30659"/>
                  <a:pt x="2891490" y="0"/>
                </a:cubicBezTo>
                <a:cubicBezTo>
                  <a:pt x="3264332" y="-30659"/>
                  <a:pt x="3212231" y="-27133"/>
                  <a:pt x="3475349" y="0"/>
                </a:cubicBezTo>
                <a:cubicBezTo>
                  <a:pt x="3738467" y="27133"/>
                  <a:pt x="4037927" y="28131"/>
                  <a:pt x="4226024" y="0"/>
                </a:cubicBezTo>
                <a:cubicBezTo>
                  <a:pt x="4414121" y="-28131"/>
                  <a:pt x="4564708" y="-10832"/>
                  <a:pt x="4865488" y="0"/>
                </a:cubicBezTo>
                <a:cubicBezTo>
                  <a:pt x="5166268" y="10832"/>
                  <a:pt x="5333821" y="9063"/>
                  <a:pt x="5560558" y="0"/>
                </a:cubicBezTo>
                <a:cubicBezTo>
                  <a:pt x="5544246" y="206723"/>
                  <a:pt x="5569129" y="433784"/>
                  <a:pt x="5560558" y="584775"/>
                </a:cubicBezTo>
                <a:cubicBezTo>
                  <a:pt x="5386060" y="582796"/>
                  <a:pt x="5258691" y="576326"/>
                  <a:pt x="4976699" y="584775"/>
                </a:cubicBezTo>
                <a:cubicBezTo>
                  <a:pt x="4694707" y="593224"/>
                  <a:pt x="4553856" y="609075"/>
                  <a:pt x="4226024" y="584775"/>
                </a:cubicBezTo>
                <a:cubicBezTo>
                  <a:pt x="3898192" y="560475"/>
                  <a:pt x="3664498" y="621357"/>
                  <a:pt x="3475349" y="584775"/>
                </a:cubicBezTo>
                <a:cubicBezTo>
                  <a:pt x="3286200" y="548193"/>
                  <a:pt x="3061500" y="597327"/>
                  <a:pt x="2835885" y="584775"/>
                </a:cubicBezTo>
                <a:cubicBezTo>
                  <a:pt x="2610270" y="572223"/>
                  <a:pt x="2464928" y="561219"/>
                  <a:pt x="2307632" y="584775"/>
                </a:cubicBezTo>
                <a:cubicBezTo>
                  <a:pt x="2150336" y="608331"/>
                  <a:pt x="1710478" y="563588"/>
                  <a:pt x="1501351" y="584775"/>
                </a:cubicBezTo>
                <a:cubicBezTo>
                  <a:pt x="1292224" y="605962"/>
                  <a:pt x="1139029" y="574518"/>
                  <a:pt x="917492" y="584775"/>
                </a:cubicBezTo>
                <a:cubicBezTo>
                  <a:pt x="695955" y="595032"/>
                  <a:pt x="373567" y="557402"/>
                  <a:pt x="0" y="584775"/>
                </a:cubicBezTo>
                <a:cubicBezTo>
                  <a:pt x="3518" y="328809"/>
                  <a:pt x="-21436" y="273411"/>
                  <a:pt x="0" y="0"/>
                </a:cubicBezTo>
                <a:close/>
              </a:path>
              <a:path w="5560558" h="584775" stroke="0" extrusionOk="0">
                <a:moveTo>
                  <a:pt x="0" y="0"/>
                </a:moveTo>
                <a:cubicBezTo>
                  <a:pt x="283176" y="8974"/>
                  <a:pt x="415727" y="1304"/>
                  <a:pt x="750675" y="0"/>
                </a:cubicBezTo>
                <a:cubicBezTo>
                  <a:pt x="1085623" y="-1304"/>
                  <a:pt x="1056412" y="-14030"/>
                  <a:pt x="1334534" y="0"/>
                </a:cubicBezTo>
                <a:cubicBezTo>
                  <a:pt x="1612656" y="14030"/>
                  <a:pt x="1701965" y="25562"/>
                  <a:pt x="1862787" y="0"/>
                </a:cubicBezTo>
                <a:cubicBezTo>
                  <a:pt x="2023609" y="-25562"/>
                  <a:pt x="2176289" y="4631"/>
                  <a:pt x="2391040" y="0"/>
                </a:cubicBezTo>
                <a:cubicBezTo>
                  <a:pt x="2605791" y="-4631"/>
                  <a:pt x="2812157" y="-16359"/>
                  <a:pt x="2974899" y="0"/>
                </a:cubicBezTo>
                <a:cubicBezTo>
                  <a:pt x="3137641" y="16359"/>
                  <a:pt x="3401223" y="28384"/>
                  <a:pt x="3558757" y="0"/>
                </a:cubicBezTo>
                <a:cubicBezTo>
                  <a:pt x="3716291" y="-28384"/>
                  <a:pt x="4008947" y="-30532"/>
                  <a:pt x="4253827" y="0"/>
                </a:cubicBezTo>
                <a:cubicBezTo>
                  <a:pt x="4498707" y="30532"/>
                  <a:pt x="4567084" y="-9707"/>
                  <a:pt x="4837685" y="0"/>
                </a:cubicBezTo>
                <a:cubicBezTo>
                  <a:pt x="5108286" y="9707"/>
                  <a:pt x="5328404" y="14580"/>
                  <a:pt x="5560558" y="0"/>
                </a:cubicBezTo>
                <a:cubicBezTo>
                  <a:pt x="5587157" y="133511"/>
                  <a:pt x="5555252" y="382936"/>
                  <a:pt x="5560558" y="584775"/>
                </a:cubicBezTo>
                <a:cubicBezTo>
                  <a:pt x="5337716" y="572247"/>
                  <a:pt x="5231950" y="603716"/>
                  <a:pt x="4976699" y="584775"/>
                </a:cubicBezTo>
                <a:cubicBezTo>
                  <a:pt x="4721448" y="565834"/>
                  <a:pt x="4616289" y="567611"/>
                  <a:pt x="4448446" y="584775"/>
                </a:cubicBezTo>
                <a:cubicBezTo>
                  <a:pt x="4280603" y="601939"/>
                  <a:pt x="3987026" y="558533"/>
                  <a:pt x="3864588" y="584775"/>
                </a:cubicBezTo>
                <a:cubicBezTo>
                  <a:pt x="3742150" y="611017"/>
                  <a:pt x="3291814" y="609932"/>
                  <a:pt x="3113912" y="584775"/>
                </a:cubicBezTo>
                <a:cubicBezTo>
                  <a:pt x="2936010" y="559618"/>
                  <a:pt x="2486999" y="575338"/>
                  <a:pt x="2307632" y="584775"/>
                </a:cubicBezTo>
                <a:cubicBezTo>
                  <a:pt x="2128265" y="594212"/>
                  <a:pt x="1760507" y="547304"/>
                  <a:pt x="1501351" y="584775"/>
                </a:cubicBezTo>
                <a:cubicBezTo>
                  <a:pt x="1242195" y="622246"/>
                  <a:pt x="925449" y="552791"/>
                  <a:pt x="695070" y="584775"/>
                </a:cubicBezTo>
                <a:cubicBezTo>
                  <a:pt x="464691" y="616759"/>
                  <a:pt x="208241" y="587844"/>
                  <a:pt x="0" y="584775"/>
                </a:cubicBezTo>
                <a:cubicBezTo>
                  <a:pt x="-13948" y="380521"/>
                  <a:pt x="-14459" y="273012"/>
                  <a:pt x="0" y="0"/>
                </a:cubicBezTo>
                <a:close/>
              </a:path>
            </a:pathLst>
          </a:custGeom>
          <a:solidFill>
            <a:srgbClr val="B3DCEE"/>
          </a:solidFill>
          <a:ln>
            <a:solidFill>
              <a:schemeClr val="accent2"/>
            </a:solidFill>
            <a:extLst>
              <a:ext uri="{C807C97D-BFC1-408E-A445-0C87EB9F89A2}">
                <ask:lineSketchStyleProps xmlns:ask="http://schemas.microsoft.com/office/drawing/2018/sketchyshapes" sd="2404412986">
                  <a:prstGeom prst="rect">
                    <a:avLst/>
                  </a:prstGeom>
                  <ask:type>
                    <ask:lineSketchFreehand/>
                  </ask:type>
                </ask:lineSketchStyleProps>
              </a:ext>
            </a:extLst>
          </a:ln>
        </p:spPr>
        <p:txBody>
          <a:bodyPr wrap="square" lIns="91440" tIns="45720" rIns="91440" bIns="45720" rtlCol="0" anchor="t">
            <a:spAutoFit/>
          </a:bodyPr>
          <a:lstStyle>
            <a:defPPr>
              <a:defRPr lang="nl-NL"/>
            </a:defPPr>
            <a:lvl1pPr>
              <a:defRPr sz="1200" b="1"/>
            </a:lvl1pPr>
          </a:lstStyle>
          <a:p>
            <a:r>
              <a:rPr lang="nl-NL" sz="1600">
                <a:solidFill>
                  <a:schemeClr val="accent2">
                    <a:lumMod val="50000"/>
                  </a:schemeClr>
                </a:solidFill>
                <a:latin typeface="+mj-lt"/>
              </a:rPr>
              <a:t>3. ‘t Plein en ‘t Erf - </a:t>
            </a:r>
            <a:r>
              <a:rPr lang="nl-NL" sz="1600" b="0">
                <a:solidFill>
                  <a:schemeClr val="accent2">
                    <a:lumMod val="50000"/>
                  </a:schemeClr>
                </a:solidFill>
                <a:latin typeface="+mj-lt"/>
              </a:rPr>
              <a:t>entreepleinen met een mix van functies</a:t>
            </a:r>
            <a:endParaRPr lang="nl-NL" sz="1600" b="0">
              <a:latin typeface="+mj-lt"/>
            </a:endParaRPr>
          </a:p>
        </p:txBody>
      </p:sp>
      <p:sp>
        <p:nvSpPr>
          <p:cNvPr id="173" name="Tekstvak 172">
            <a:extLst>
              <a:ext uri="{FF2B5EF4-FFF2-40B4-BE49-F238E27FC236}">
                <a16:creationId xmlns:a16="http://schemas.microsoft.com/office/drawing/2014/main" id="{CCF6F92C-1659-4678-BCEE-253FB5D83DB3}"/>
              </a:ext>
            </a:extLst>
          </p:cNvPr>
          <p:cNvSpPr txBox="1"/>
          <p:nvPr/>
        </p:nvSpPr>
        <p:spPr>
          <a:xfrm>
            <a:off x="401218" y="991078"/>
            <a:ext cx="5560558" cy="4524315"/>
          </a:xfrm>
          <a:prstGeom prst="rect">
            <a:avLst/>
          </a:prstGeom>
          <a:noFill/>
        </p:spPr>
        <p:txBody>
          <a:bodyPr wrap="square" rtlCol="0">
            <a:spAutoFit/>
          </a:bodyPr>
          <a:lstStyle/>
          <a:p>
            <a:pPr marL="285750" indent="-285750">
              <a:buFont typeface="Arial" panose="020B0604020202020204" pitchFamily="34" charset="0"/>
              <a:buChar char="•"/>
            </a:pPr>
            <a:endParaRPr lang="nl-NL" sz="1600" dirty="0">
              <a:latin typeface="+mj-lt"/>
            </a:endParaRPr>
          </a:p>
          <a:p>
            <a:pPr marL="285750" indent="-285750">
              <a:buFont typeface="Arial" panose="020B0604020202020204" pitchFamily="34" charset="0"/>
              <a:buChar char="•"/>
            </a:pPr>
            <a:r>
              <a:rPr lang="nl-NL" sz="1600" b="0" dirty="0">
                <a:latin typeface="+mj-lt"/>
              </a:rPr>
              <a:t>Beide pleinen worden druk bezocht door de nabijheid van de supermarkten.</a:t>
            </a:r>
            <a:endParaRPr lang="nl-NL" sz="1600" dirty="0">
              <a:latin typeface="+mj-lt"/>
            </a:endParaRPr>
          </a:p>
          <a:p>
            <a:endParaRPr lang="nl-NL" sz="1600" dirty="0">
              <a:latin typeface="+mj-lt"/>
            </a:endParaRPr>
          </a:p>
          <a:p>
            <a:r>
              <a:rPr lang="nl-NL" sz="1600" b="1" dirty="0">
                <a:latin typeface="+mj-lt"/>
              </a:rPr>
              <a:t>Ontwikkelrichting </a:t>
            </a:r>
          </a:p>
          <a:p>
            <a:pPr marL="285750" indent="-285750">
              <a:buFont typeface="Arial" panose="020B0604020202020204" pitchFamily="34" charset="0"/>
              <a:buChar char="•"/>
            </a:pPr>
            <a:r>
              <a:rPr lang="nl-NL" sz="1600" dirty="0">
                <a:latin typeface="+mj-lt"/>
              </a:rPr>
              <a:t>Behouden van de huidige functie van de pleinen, inclusief de verschillende functies die hier al samen komen (winkels, horeca, diensten en verblijf).</a:t>
            </a:r>
            <a:endParaRPr lang="nl-NL" sz="1600" b="0" dirty="0">
              <a:latin typeface="+mj-lt"/>
            </a:endParaRPr>
          </a:p>
          <a:p>
            <a:r>
              <a:rPr lang="nl-NL" sz="1600" b="0" dirty="0">
                <a:latin typeface="+mj-lt"/>
              </a:rPr>
              <a:t> </a:t>
            </a:r>
          </a:p>
          <a:p>
            <a:r>
              <a:rPr lang="nl-NL" sz="1600" b="1" dirty="0">
                <a:latin typeface="+mj-lt"/>
              </a:rPr>
              <a:t>Welke functies willen we hier? </a:t>
            </a:r>
            <a:r>
              <a:rPr lang="nl-NL" sz="1600" dirty="0">
                <a:latin typeface="+mj-lt"/>
              </a:rPr>
              <a:t> </a:t>
            </a:r>
          </a:p>
          <a:p>
            <a:pPr marL="285750" indent="-285750">
              <a:buFont typeface="Arial" panose="020B0604020202020204" pitchFamily="34" charset="0"/>
              <a:buChar char="•"/>
            </a:pPr>
            <a:r>
              <a:rPr lang="nl-NL" sz="1600" b="0" dirty="0">
                <a:latin typeface="+mj-lt"/>
              </a:rPr>
              <a:t>Mix van detailhandel (food en non-food) </a:t>
            </a:r>
            <a:r>
              <a:rPr lang="nl-NL" sz="1600" dirty="0">
                <a:latin typeface="+mj-lt"/>
              </a:rPr>
              <a:t>en winkel- ondersteunende (dag)horeca.</a:t>
            </a:r>
          </a:p>
          <a:p>
            <a:pPr marL="285750" indent="-285750">
              <a:buFont typeface="Arial" panose="020B0604020202020204" pitchFamily="34" charset="0"/>
              <a:buChar char="•"/>
            </a:pPr>
            <a:endParaRPr lang="nl-NL" sz="1600" b="0" dirty="0">
              <a:latin typeface="+mj-lt"/>
            </a:endParaRPr>
          </a:p>
          <a:p>
            <a:pPr marL="285750" indent="-285750">
              <a:buFont typeface="Arial" panose="020B0604020202020204" pitchFamily="34" charset="0"/>
              <a:buChar char="•"/>
            </a:pPr>
            <a:r>
              <a:rPr lang="nl-NL" sz="1600" dirty="0">
                <a:latin typeface="+mj-lt"/>
              </a:rPr>
              <a:t>Geen uitbreiding horeca.</a:t>
            </a:r>
            <a:endParaRPr lang="nl-NL" sz="1600" b="0" dirty="0">
              <a:latin typeface="+mj-lt"/>
            </a:endParaRPr>
          </a:p>
          <a:p>
            <a:pPr marL="285750" indent="-285750">
              <a:buFont typeface="Arial" panose="020B0604020202020204" pitchFamily="34" charset="0"/>
              <a:buChar char="•"/>
            </a:pPr>
            <a:endParaRPr lang="nl-NL" sz="1600" dirty="0">
              <a:latin typeface="+mj-lt"/>
            </a:endParaRPr>
          </a:p>
          <a:p>
            <a:pPr marL="285750" indent="-285750">
              <a:buFont typeface="Arial" panose="020B0604020202020204" pitchFamily="34" charset="0"/>
              <a:buChar char="•"/>
            </a:pPr>
            <a:endParaRPr lang="nl-NL" sz="1600" b="0" dirty="0">
              <a:latin typeface="+mj-lt"/>
            </a:endParaRPr>
          </a:p>
          <a:p>
            <a:pPr marL="285750" indent="-285750">
              <a:buFont typeface="Arial" panose="020B0604020202020204" pitchFamily="34" charset="0"/>
              <a:buChar char="•"/>
            </a:pPr>
            <a:endParaRPr lang="nl-NL" sz="1600" b="0" dirty="0">
              <a:latin typeface="+mj-lt"/>
            </a:endParaRPr>
          </a:p>
          <a:p>
            <a:pPr marL="285750" indent="-285750">
              <a:buFont typeface="Arial" panose="020B0604020202020204" pitchFamily="34" charset="0"/>
              <a:buChar char="•"/>
            </a:pPr>
            <a:endParaRPr lang="nl-NL" sz="1600" b="0" dirty="0">
              <a:latin typeface="+mj-lt"/>
            </a:endParaRPr>
          </a:p>
        </p:txBody>
      </p:sp>
      <p:pic>
        <p:nvPicPr>
          <p:cNvPr id="3076" name="Picture 4" descr="Nieuwkomers openen online aanval op brillenmarkt | Binnenland | AD.nl">
            <a:extLst>
              <a:ext uri="{FF2B5EF4-FFF2-40B4-BE49-F238E27FC236}">
                <a16:creationId xmlns:a16="http://schemas.microsoft.com/office/drawing/2014/main" id="{23D9FA13-CF14-4CB3-BB61-7BBFE3DB20CD}"/>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346456" y="4956248"/>
            <a:ext cx="3314638" cy="1872245"/>
          </a:xfrm>
          <a:prstGeom prst="rect">
            <a:avLst/>
          </a:prstGeom>
          <a:noFill/>
          <a:extLst>
            <a:ext uri="{909E8E84-426E-40DD-AFC4-6F175D3DCCD1}">
              <a14:hiddenFill xmlns:a14="http://schemas.microsoft.com/office/drawing/2010/main">
                <a:solidFill>
                  <a:srgbClr val="FFFFFF"/>
                </a:solidFill>
              </a14:hiddenFill>
            </a:ext>
          </a:extLst>
        </p:spPr>
      </p:pic>
      <p:pic>
        <p:nvPicPr>
          <p:cNvPr id="3078" name="Picture 6" descr="Opleiding Verkoop in de Drogisterij - Cursus als thuisstudie | NHA">
            <a:extLst>
              <a:ext uri="{FF2B5EF4-FFF2-40B4-BE49-F238E27FC236}">
                <a16:creationId xmlns:a16="http://schemas.microsoft.com/office/drawing/2014/main" id="{C99060C5-1D1C-4224-8052-EB0518F41803}"/>
              </a:ext>
            </a:extLst>
          </p:cNvPr>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1961091" y="4865057"/>
            <a:ext cx="3256468" cy="2000402"/>
          </a:xfrm>
          <a:prstGeom prst="rect">
            <a:avLst/>
          </a:prstGeom>
          <a:noFill/>
          <a:extLst>
            <a:ext uri="{909E8E84-426E-40DD-AFC4-6F175D3DCCD1}">
              <a14:hiddenFill xmlns:a14="http://schemas.microsoft.com/office/drawing/2010/main">
                <a:solidFill>
                  <a:srgbClr val="FFFFFF"/>
                </a:solidFill>
              </a14:hiddenFill>
            </a:ext>
          </a:extLst>
        </p:spPr>
      </p:pic>
      <p:pic>
        <p:nvPicPr>
          <p:cNvPr id="3074" name="Picture 2" descr="Servicemedewerker Fastservice on the Job - ROC van Amsterdam">
            <a:extLst>
              <a:ext uri="{FF2B5EF4-FFF2-40B4-BE49-F238E27FC236}">
                <a16:creationId xmlns:a16="http://schemas.microsoft.com/office/drawing/2014/main" id="{A7E32671-549A-4232-99DC-8879759F2AB9}"/>
              </a:ext>
            </a:extLst>
          </p:cNvPr>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4075686" y="4881258"/>
            <a:ext cx="2313559" cy="2000402"/>
          </a:xfrm>
          <a:prstGeom prst="rect">
            <a:avLst/>
          </a:prstGeom>
          <a:noFill/>
          <a:extLst>
            <a:ext uri="{909E8E84-426E-40DD-AFC4-6F175D3DCCD1}">
              <a14:hiddenFill xmlns:a14="http://schemas.microsoft.com/office/drawing/2010/main">
                <a:solidFill>
                  <a:srgbClr val="FFFFFF"/>
                </a:solidFill>
              </a14:hiddenFill>
            </a:ext>
          </a:extLst>
        </p:spPr>
      </p:pic>
      <p:sp>
        <p:nvSpPr>
          <p:cNvPr id="45" name="Ovaal 44">
            <a:extLst>
              <a:ext uri="{FF2B5EF4-FFF2-40B4-BE49-F238E27FC236}">
                <a16:creationId xmlns:a16="http://schemas.microsoft.com/office/drawing/2014/main" id="{5EBC23EA-0472-4403-9227-F95545A11D05}"/>
              </a:ext>
            </a:extLst>
          </p:cNvPr>
          <p:cNvSpPr/>
          <p:nvPr/>
        </p:nvSpPr>
        <p:spPr>
          <a:xfrm rot="6335418">
            <a:off x="7462004" y="4201214"/>
            <a:ext cx="404813" cy="747905"/>
          </a:xfrm>
          <a:custGeom>
            <a:avLst/>
            <a:gdLst>
              <a:gd name="connsiteX0" fmla="*/ 0 w 404813"/>
              <a:gd name="connsiteY0" fmla="*/ 373953 h 747905"/>
              <a:gd name="connsiteX1" fmla="*/ 202407 w 404813"/>
              <a:gd name="connsiteY1" fmla="*/ 0 h 747905"/>
              <a:gd name="connsiteX2" fmla="*/ 404814 w 404813"/>
              <a:gd name="connsiteY2" fmla="*/ 373953 h 747905"/>
              <a:gd name="connsiteX3" fmla="*/ 202407 w 404813"/>
              <a:gd name="connsiteY3" fmla="*/ 747906 h 747905"/>
              <a:gd name="connsiteX4" fmla="*/ 0 w 404813"/>
              <a:gd name="connsiteY4" fmla="*/ 373953 h 7479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4813" h="747905" fill="none" extrusionOk="0">
                <a:moveTo>
                  <a:pt x="0" y="373953"/>
                </a:moveTo>
                <a:cubicBezTo>
                  <a:pt x="-16879" y="183643"/>
                  <a:pt x="73338" y="2740"/>
                  <a:pt x="202407" y="0"/>
                </a:cubicBezTo>
                <a:cubicBezTo>
                  <a:pt x="349533" y="20451"/>
                  <a:pt x="381757" y="168422"/>
                  <a:pt x="404814" y="373953"/>
                </a:cubicBezTo>
                <a:cubicBezTo>
                  <a:pt x="393256" y="571113"/>
                  <a:pt x="340063" y="741369"/>
                  <a:pt x="202407" y="747906"/>
                </a:cubicBezTo>
                <a:cubicBezTo>
                  <a:pt x="83669" y="725352"/>
                  <a:pt x="-18715" y="599346"/>
                  <a:pt x="0" y="373953"/>
                </a:cubicBezTo>
                <a:close/>
              </a:path>
              <a:path w="404813" h="747905" stroke="0" extrusionOk="0">
                <a:moveTo>
                  <a:pt x="0" y="373953"/>
                </a:moveTo>
                <a:cubicBezTo>
                  <a:pt x="-9239" y="177625"/>
                  <a:pt x="96735" y="-10661"/>
                  <a:pt x="202407" y="0"/>
                </a:cubicBezTo>
                <a:cubicBezTo>
                  <a:pt x="321878" y="-20245"/>
                  <a:pt x="429541" y="171822"/>
                  <a:pt x="404814" y="373953"/>
                </a:cubicBezTo>
                <a:cubicBezTo>
                  <a:pt x="415907" y="584813"/>
                  <a:pt x="307494" y="746999"/>
                  <a:pt x="202407" y="747906"/>
                </a:cubicBezTo>
                <a:cubicBezTo>
                  <a:pt x="92027" y="739344"/>
                  <a:pt x="-12920" y="619683"/>
                  <a:pt x="0" y="373953"/>
                </a:cubicBezTo>
                <a:close/>
              </a:path>
            </a:pathLst>
          </a:custGeom>
          <a:solidFill>
            <a:srgbClr val="62366E">
              <a:alpha val="50196"/>
            </a:srgbClr>
          </a:solidFill>
          <a:ln w="19050">
            <a:solidFill>
              <a:schemeClr val="accent1"/>
            </a:solidFill>
            <a:prstDash val="lgDash"/>
            <a:extLst>
              <a:ext uri="{C807C97D-BFC1-408E-A445-0C87EB9F89A2}">
                <ask:lineSketchStyleProps xmlns:ask="http://schemas.microsoft.com/office/drawing/2018/sketchyshapes" sd="3066130187">
                  <a:prstGeom prst="ellipse">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6" name="Ovaal 45">
            <a:extLst>
              <a:ext uri="{FF2B5EF4-FFF2-40B4-BE49-F238E27FC236}">
                <a16:creationId xmlns:a16="http://schemas.microsoft.com/office/drawing/2014/main" id="{CAC1A91E-D3C9-4C0B-A2E3-010BCA48E89F}"/>
              </a:ext>
            </a:extLst>
          </p:cNvPr>
          <p:cNvSpPr/>
          <p:nvPr/>
        </p:nvSpPr>
        <p:spPr>
          <a:xfrm rot="19787095">
            <a:off x="8287673" y="4847456"/>
            <a:ext cx="962025" cy="571088"/>
          </a:xfrm>
          <a:custGeom>
            <a:avLst/>
            <a:gdLst>
              <a:gd name="connsiteX0" fmla="*/ 0 w 962025"/>
              <a:gd name="connsiteY0" fmla="*/ 285544 h 571088"/>
              <a:gd name="connsiteX1" fmla="*/ 481013 w 962025"/>
              <a:gd name="connsiteY1" fmla="*/ 0 h 571088"/>
              <a:gd name="connsiteX2" fmla="*/ 962026 w 962025"/>
              <a:gd name="connsiteY2" fmla="*/ 285544 h 571088"/>
              <a:gd name="connsiteX3" fmla="*/ 481013 w 962025"/>
              <a:gd name="connsiteY3" fmla="*/ 571088 h 571088"/>
              <a:gd name="connsiteX4" fmla="*/ 0 w 962025"/>
              <a:gd name="connsiteY4" fmla="*/ 285544 h 5710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62025" h="571088" fill="none" extrusionOk="0">
                <a:moveTo>
                  <a:pt x="0" y="285544"/>
                </a:moveTo>
                <a:cubicBezTo>
                  <a:pt x="13892" y="147464"/>
                  <a:pt x="162099" y="-6482"/>
                  <a:pt x="481013" y="0"/>
                </a:cubicBezTo>
                <a:cubicBezTo>
                  <a:pt x="764061" y="27883"/>
                  <a:pt x="975469" y="114686"/>
                  <a:pt x="962026" y="285544"/>
                </a:cubicBezTo>
                <a:cubicBezTo>
                  <a:pt x="952825" y="430623"/>
                  <a:pt x="800915" y="575181"/>
                  <a:pt x="481013" y="571088"/>
                </a:cubicBezTo>
                <a:cubicBezTo>
                  <a:pt x="188208" y="601951"/>
                  <a:pt x="-21382" y="432845"/>
                  <a:pt x="0" y="285544"/>
                </a:cubicBezTo>
                <a:close/>
              </a:path>
              <a:path w="962025" h="571088" stroke="0" extrusionOk="0">
                <a:moveTo>
                  <a:pt x="0" y="285544"/>
                </a:moveTo>
                <a:cubicBezTo>
                  <a:pt x="-5438" y="130323"/>
                  <a:pt x="267944" y="2167"/>
                  <a:pt x="481013" y="0"/>
                </a:cubicBezTo>
                <a:cubicBezTo>
                  <a:pt x="744467" y="11007"/>
                  <a:pt x="975934" y="86133"/>
                  <a:pt x="962026" y="285544"/>
                </a:cubicBezTo>
                <a:cubicBezTo>
                  <a:pt x="907139" y="433650"/>
                  <a:pt x="764095" y="567672"/>
                  <a:pt x="481013" y="571088"/>
                </a:cubicBezTo>
                <a:cubicBezTo>
                  <a:pt x="217662" y="537004"/>
                  <a:pt x="-16090" y="408565"/>
                  <a:pt x="0" y="285544"/>
                </a:cubicBezTo>
                <a:close/>
              </a:path>
            </a:pathLst>
          </a:custGeom>
          <a:solidFill>
            <a:srgbClr val="67B2E8">
              <a:alpha val="50196"/>
            </a:srgbClr>
          </a:solidFill>
          <a:ln w="19050">
            <a:solidFill>
              <a:schemeClr val="accent2">
                <a:lumMod val="50000"/>
              </a:schemeClr>
            </a:solidFill>
            <a:prstDash val="lgDash"/>
            <a:extLst>
              <a:ext uri="{C807C97D-BFC1-408E-A445-0C87EB9F89A2}">
                <ask:lineSketchStyleProps xmlns:ask="http://schemas.microsoft.com/office/drawing/2018/sketchyshapes" sd="378522932">
                  <a:prstGeom prst="ellipse">
                    <a:avLst/>
                  </a:prstGeom>
                  <ask:type>
                    <ask:lineSketchScribble/>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grpSp>
        <p:nvGrpSpPr>
          <p:cNvPr id="68" name="Groep 67">
            <a:extLst>
              <a:ext uri="{FF2B5EF4-FFF2-40B4-BE49-F238E27FC236}">
                <a16:creationId xmlns:a16="http://schemas.microsoft.com/office/drawing/2014/main" id="{EA4959AE-1C90-44F8-8CC0-F69344A994AE}"/>
              </a:ext>
            </a:extLst>
          </p:cNvPr>
          <p:cNvGrpSpPr/>
          <p:nvPr/>
        </p:nvGrpSpPr>
        <p:grpSpPr>
          <a:xfrm>
            <a:off x="8215556" y="5747399"/>
            <a:ext cx="288000" cy="288000"/>
            <a:chOff x="7690156" y="5602619"/>
            <a:chExt cx="329184" cy="329184"/>
          </a:xfrm>
        </p:grpSpPr>
        <p:sp>
          <p:nvSpPr>
            <p:cNvPr id="215" name="Oval 53">
              <a:extLst>
                <a:ext uri="{FF2B5EF4-FFF2-40B4-BE49-F238E27FC236}">
                  <a16:creationId xmlns:a16="http://schemas.microsoft.com/office/drawing/2014/main" id="{302703A0-B816-4A32-B75D-2E898D8339BD}"/>
                </a:ext>
              </a:extLst>
            </p:cNvPr>
            <p:cNvSpPr/>
            <p:nvPr/>
          </p:nvSpPr>
          <p:spPr>
            <a:xfrm>
              <a:off x="7690156" y="5602619"/>
              <a:ext cx="329184" cy="329184"/>
            </a:xfrm>
            <a:prstGeom prst="ellipse">
              <a:avLst/>
            </a:prstGeom>
            <a:solidFill>
              <a:srgbClr val="62366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16" name="Shopping_cart" descr="{&quot;Key&quot;:&quot;POWER_USER_SHAPE_ICON&quot;,&quot;Value&quot;:&quot;POWER_USER_SHAPE_ICON_STYLE_1&quot;}">
              <a:extLst>
                <a:ext uri="{FF2B5EF4-FFF2-40B4-BE49-F238E27FC236}">
                  <a16:creationId xmlns:a16="http://schemas.microsoft.com/office/drawing/2014/main" id="{35915F82-42B8-48D8-9743-EB7344596A32}"/>
                </a:ext>
              </a:extLst>
            </p:cNvPr>
            <p:cNvGrpSpPr>
              <a:grpSpLocks noChangeAspect="1"/>
            </p:cNvGrpSpPr>
            <p:nvPr>
              <p:custDataLst>
                <p:tags r:id="rId9"/>
              </p:custDataLst>
            </p:nvPr>
          </p:nvGrpSpPr>
          <p:grpSpPr>
            <a:xfrm>
              <a:off x="7727679" y="5660649"/>
              <a:ext cx="235088" cy="232174"/>
              <a:chOff x="4646614" y="2062164"/>
              <a:chExt cx="384175" cy="379413"/>
            </a:xfrm>
            <a:solidFill>
              <a:schemeClr val="bg1"/>
            </a:solidFill>
          </p:grpSpPr>
          <p:sp>
            <p:nvSpPr>
              <p:cNvPr id="217" name="Freeform 198">
                <a:extLst>
                  <a:ext uri="{FF2B5EF4-FFF2-40B4-BE49-F238E27FC236}">
                    <a16:creationId xmlns:a16="http://schemas.microsoft.com/office/drawing/2014/main" id="{F5622B37-A17E-4035-8170-433879D5C70E}"/>
                  </a:ext>
                </a:extLst>
              </p:cNvPr>
              <p:cNvSpPr>
                <a:spLocks noEditPoints="1"/>
              </p:cNvSpPr>
              <p:nvPr/>
            </p:nvSpPr>
            <p:spPr bwMode="auto">
              <a:xfrm>
                <a:off x="4773614" y="2386014"/>
                <a:ext cx="55563" cy="55563"/>
              </a:xfrm>
              <a:custGeom>
                <a:avLst/>
                <a:gdLst>
                  <a:gd name="T0" fmla="*/ 40 w 80"/>
                  <a:gd name="T1" fmla="*/ 55 h 80"/>
                  <a:gd name="T2" fmla="*/ 25 w 80"/>
                  <a:gd name="T3" fmla="*/ 40 h 80"/>
                  <a:gd name="T4" fmla="*/ 40 w 80"/>
                  <a:gd name="T5" fmla="*/ 25 h 80"/>
                  <a:gd name="T6" fmla="*/ 55 w 80"/>
                  <a:gd name="T7" fmla="*/ 40 h 80"/>
                  <a:gd name="T8" fmla="*/ 40 w 80"/>
                  <a:gd name="T9" fmla="*/ 55 h 80"/>
                  <a:gd name="T10" fmla="*/ 40 w 80"/>
                  <a:gd name="T11" fmla="*/ 0 h 80"/>
                  <a:gd name="T12" fmla="*/ 0 w 80"/>
                  <a:gd name="T13" fmla="*/ 40 h 80"/>
                  <a:gd name="T14" fmla="*/ 40 w 80"/>
                  <a:gd name="T15" fmla="*/ 80 h 80"/>
                  <a:gd name="T16" fmla="*/ 80 w 80"/>
                  <a:gd name="T17" fmla="*/ 40 h 80"/>
                  <a:gd name="T18" fmla="*/ 40 w 80"/>
                  <a:gd name="T19"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0" h="80">
                    <a:moveTo>
                      <a:pt x="40" y="55"/>
                    </a:moveTo>
                    <a:cubicBezTo>
                      <a:pt x="32" y="55"/>
                      <a:pt x="25" y="48"/>
                      <a:pt x="25" y="40"/>
                    </a:cubicBezTo>
                    <a:cubicBezTo>
                      <a:pt x="25" y="32"/>
                      <a:pt x="32" y="25"/>
                      <a:pt x="40" y="25"/>
                    </a:cubicBezTo>
                    <a:cubicBezTo>
                      <a:pt x="48" y="25"/>
                      <a:pt x="55" y="32"/>
                      <a:pt x="55" y="40"/>
                    </a:cubicBezTo>
                    <a:cubicBezTo>
                      <a:pt x="55" y="48"/>
                      <a:pt x="48" y="55"/>
                      <a:pt x="40" y="55"/>
                    </a:cubicBezTo>
                    <a:close/>
                    <a:moveTo>
                      <a:pt x="40" y="0"/>
                    </a:moveTo>
                    <a:cubicBezTo>
                      <a:pt x="18" y="0"/>
                      <a:pt x="0" y="18"/>
                      <a:pt x="0" y="40"/>
                    </a:cubicBezTo>
                    <a:cubicBezTo>
                      <a:pt x="0" y="62"/>
                      <a:pt x="18" y="80"/>
                      <a:pt x="40" y="80"/>
                    </a:cubicBezTo>
                    <a:cubicBezTo>
                      <a:pt x="62" y="80"/>
                      <a:pt x="80" y="62"/>
                      <a:pt x="80" y="40"/>
                    </a:cubicBezTo>
                    <a:cubicBezTo>
                      <a:pt x="80" y="18"/>
                      <a:pt x="62" y="0"/>
                      <a:pt x="40"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8" name="Freeform 199">
                <a:extLst>
                  <a:ext uri="{FF2B5EF4-FFF2-40B4-BE49-F238E27FC236}">
                    <a16:creationId xmlns:a16="http://schemas.microsoft.com/office/drawing/2014/main" id="{68DF2A85-157C-4DD1-B397-7D6CD0A633C3}"/>
                  </a:ext>
                </a:extLst>
              </p:cNvPr>
              <p:cNvSpPr>
                <a:spLocks noEditPoints="1"/>
              </p:cNvSpPr>
              <p:nvPr/>
            </p:nvSpPr>
            <p:spPr bwMode="auto">
              <a:xfrm>
                <a:off x="4929189" y="2386014"/>
                <a:ext cx="55563" cy="55563"/>
              </a:xfrm>
              <a:custGeom>
                <a:avLst/>
                <a:gdLst>
                  <a:gd name="T0" fmla="*/ 40 w 80"/>
                  <a:gd name="T1" fmla="*/ 55 h 80"/>
                  <a:gd name="T2" fmla="*/ 25 w 80"/>
                  <a:gd name="T3" fmla="*/ 40 h 80"/>
                  <a:gd name="T4" fmla="*/ 40 w 80"/>
                  <a:gd name="T5" fmla="*/ 25 h 80"/>
                  <a:gd name="T6" fmla="*/ 55 w 80"/>
                  <a:gd name="T7" fmla="*/ 40 h 80"/>
                  <a:gd name="T8" fmla="*/ 40 w 80"/>
                  <a:gd name="T9" fmla="*/ 55 h 80"/>
                  <a:gd name="T10" fmla="*/ 40 w 80"/>
                  <a:gd name="T11" fmla="*/ 0 h 80"/>
                  <a:gd name="T12" fmla="*/ 0 w 80"/>
                  <a:gd name="T13" fmla="*/ 40 h 80"/>
                  <a:gd name="T14" fmla="*/ 40 w 80"/>
                  <a:gd name="T15" fmla="*/ 80 h 80"/>
                  <a:gd name="T16" fmla="*/ 80 w 80"/>
                  <a:gd name="T17" fmla="*/ 40 h 80"/>
                  <a:gd name="T18" fmla="*/ 40 w 80"/>
                  <a:gd name="T19"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0" h="80">
                    <a:moveTo>
                      <a:pt x="40" y="55"/>
                    </a:moveTo>
                    <a:cubicBezTo>
                      <a:pt x="32" y="55"/>
                      <a:pt x="25" y="48"/>
                      <a:pt x="25" y="40"/>
                    </a:cubicBezTo>
                    <a:cubicBezTo>
                      <a:pt x="25" y="32"/>
                      <a:pt x="32" y="25"/>
                      <a:pt x="40" y="25"/>
                    </a:cubicBezTo>
                    <a:cubicBezTo>
                      <a:pt x="48" y="25"/>
                      <a:pt x="55" y="32"/>
                      <a:pt x="55" y="40"/>
                    </a:cubicBezTo>
                    <a:cubicBezTo>
                      <a:pt x="55" y="48"/>
                      <a:pt x="48" y="55"/>
                      <a:pt x="40" y="55"/>
                    </a:cubicBezTo>
                    <a:close/>
                    <a:moveTo>
                      <a:pt x="40" y="0"/>
                    </a:moveTo>
                    <a:cubicBezTo>
                      <a:pt x="18" y="0"/>
                      <a:pt x="0" y="18"/>
                      <a:pt x="0" y="40"/>
                    </a:cubicBezTo>
                    <a:cubicBezTo>
                      <a:pt x="0" y="62"/>
                      <a:pt x="18" y="80"/>
                      <a:pt x="40" y="80"/>
                    </a:cubicBezTo>
                    <a:cubicBezTo>
                      <a:pt x="62" y="80"/>
                      <a:pt x="80" y="62"/>
                      <a:pt x="80" y="40"/>
                    </a:cubicBezTo>
                    <a:cubicBezTo>
                      <a:pt x="80" y="18"/>
                      <a:pt x="62" y="0"/>
                      <a:pt x="40"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9" name="Freeform 200">
                <a:extLst>
                  <a:ext uri="{FF2B5EF4-FFF2-40B4-BE49-F238E27FC236}">
                    <a16:creationId xmlns:a16="http://schemas.microsoft.com/office/drawing/2014/main" id="{75D52F3D-BE79-4485-A611-FC72225057BA}"/>
                  </a:ext>
                </a:extLst>
              </p:cNvPr>
              <p:cNvSpPr>
                <a:spLocks noEditPoints="1"/>
              </p:cNvSpPr>
              <p:nvPr/>
            </p:nvSpPr>
            <p:spPr bwMode="auto">
              <a:xfrm>
                <a:off x="4646614" y="2062164"/>
                <a:ext cx="384175" cy="311150"/>
              </a:xfrm>
              <a:custGeom>
                <a:avLst/>
                <a:gdLst>
                  <a:gd name="T0" fmla="*/ 465 w 554"/>
                  <a:gd name="T1" fmla="*/ 168 h 450"/>
                  <a:gd name="T2" fmla="*/ 530 w 554"/>
                  <a:gd name="T3" fmla="*/ 88 h 450"/>
                  <a:gd name="T4" fmla="*/ 483 w 554"/>
                  <a:gd name="T5" fmla="*/ 257 h 450"/>
                  <a:gd name="T6" fmla="*/ 447 w 554"/>
                  <a:gd name="T7" fmla="*/ 273 h 450"/>
                  <a:gd name="T8" fmla="*/ 505 w 554"/>
                  <a:gd name="T9" fmla="*/ 177 h 450"/>
                  <a:gd name="T10" fmla="*/ 432 w 554"/>
                  <a:gd name="T11" fmla="*/ 273 h 450"/>
                  <a:gd name="T12" fmla="*/ 407 w 554"/>
                  <a:gd name="T13" fmla="*/ 177 h 450"/>
                  <a:gd name="T14" fmla="*/ 432 w 554"/>
                  <a:gd name="T15" fmla="*/ 273 h 450"/>
                  <a:gd name="T16" fmla="*/ 352 w 554"/>
                  <a:gd name="T17" fmla="*/ 88 h 450"/>
                  <a:gd name="T18" fmla="*/ 393 w 554"/>
                  <a:gd name="T19" fmla="*/ 168 h 450"/>
                  <a:gd name="T20" fmla="*/ 383 w 554"/>
                  <a:gd name="T21" fmla="*/ 273 h 450"/>
                  <a:gd name="T22" fmla="*/ 352 w 554"/>
                  <a:gd name="T23" fmla="*/ 177 h 450"/>
                  <a:gd name="T24" fmla="*/ 383 w 554"/>
                  <a:gd name="T25" fmla="*/ 273 h 450"/>
                  <a:gd name="T26" fmla="*/ 297 w 554"/>
                  <a:gd name="T27" fmla="*/ 168 h 450"/>
                  <a:gd name="T28" fmla="*/ 337 w 554"/>
                  <a:gd name="T29" fmla="*/ 88 h 450"/>
                  <a:gd name="T30" fmla="*/ 337 w 554"/>
                  <a:gd name="T31" fmla="*/ 273 h 450"/>
                  <a:gd name="T32" fmla="*/ 298 w 554"/>
                  <a:gd name="T33" fmla="*/ 177 h 450"/>
                  <a:gd name="T34" fmla="*/ 337 w 554"/>
                  <a:gd name="T35" fmla="*/ 273 h 450"/>
                  <a:gd name="T36" fmla="*/ 242 w 554"/>
                  <a:gd name="T37" fmla="*/ 177 h 450"/>
                  <a:gd name="T38" fmla="*/ 292 w 554"/>
                  <a:gd name="T39" fmla="*/ 273 h 450"/>
                  <a:gd name="T40" fmla="*/ 210 w 554"/>
                  <a:gd name="T41" fmla="*/ 273 h 450"/>
                  <a:gd name="T42" fmla="*/ 227 w 554"/>
                  <a:gd name="T43" fmla="*/ 177 h 450"/>
                  <a:gd name="T44" fmla="*/ 210 w 554"/>
                  <a:gd name="T45" fmla="*/ 273 h 450"/>
                  <a:gd name="T46" fmla="*/ 157 w 554"/>
                  <a:gd name="T47" fmla="*/ 268 h 450"/>
                  <a:gd name="T48" fmla="*/ 173 w 554"/>
                  <a:gd name="T49" fmla="*/ 177 h 450"/>
                  <a:gd name="T50" fmla="*/ 170 w 554"/>
                  <a:gd name="T51" fmla="*/ 273 h 450"/>
                  <a:gd name="T52" fmla="*/ 106 w 554"/>
                  <a:gd name="T53" fmla="*/ 88 h 450"/>
                  <a:gd name="T54" fmla="*/ 171 w 554"/>
                  <a:gd name="T55" fmla="*/ 168 h 450"/>
                  <a:gd name="T56" fmla="*/ 126 w 554"/>
                  <a:gd name="T57" fmla="*/ 156 h 450"/>
                  <a:gd name="T58" fmla="*/ 225 w 554"/>
                  <a:gd name="T59" fmla="*/ 168 h 450"/>
                  <a:gd name="T60" fmla="*/ 168 w 554"/>
                  <a:gd name="T61" fmla="*/ 88 h 450"/>
                  <a:gd name="T62" fmla="*/ 274 w 554"/>
                  <a:gd name="T63" fmla="*/ 88 h 450"/>
                  <a:gd name="T64" fmla="*/ 241 w 554"/>
                  <a:gd name="T65" fmla="*/ 168 h 450"/>
                  <a:gd name="T66" fmla="*/ 274 w 554"/>
                  <a:gd name="T67" fmla="*/ 88 h 450"/>
                  <a:gd name="T68" fmla="*/ 462 w 554"/>
                  <a:gd name="T69" fmla="*/ 88 h 450"/>
                  <a:gd name="T70" fmla="*/ 408 w 554"/>
                  <a:gd name="T71" fmla="*/ 168 h 450"/>
                  <a:gd name="T72" fmla="*/ 24 w 554"/>
                  <a:gd name="T73" fmla="*/ 29 h 450"/>
                  <a:gd name="T74" fmla="*/ 19 w 554"/>
                  <a:gd name="T75" fmla="*/ 13 h 450"/>
                  <a:gd name="T76" fmla="*/ 24 w 554"/>
                  <a:gd name="T77" fmla="*/ 29 h 450"/>
                  <a:gd name="T78" fmla="*/ 110 w 554"/>
                  <a:gd name="T79" fmla="*/ 63 h 450"/>
                  <a:gd name="T80" fmla="*/ 91 w 554"/>
                  <a:gd name="T81" fmla="*/ 34 h 450"/>
                  <a:gd name="T82" fmla="*/ 39 w 554"/>
                  <a:gd name="T83" fmla="*/ 12 h 450"/>
                  <a:gd name="T84" fmla="*/ 3 w 554"/>
                  <a:gd name="T85" fmla="*/ 27 h 450"/>
                  <a:gd name="T86" fmla="*/ 38 w 554"/>
                  <a:gd name="T87" fmla="*/ 31 h 450"/>
                  <a:gd name="T88" fmla="*/ 67 w 554"/>
                  <a:gd name="T89" fmla="*/ 40 h 450"/>
                  <a:gd name="T90" fmla="*/ 209 w 554"/>
                  <a:gd name="T91" fmla="*/ 450 h 450"/>
                  <a:gd name="T92" fmla="*/ 496 w 554"/>
                  <a:gd name="T93" fmla="*/ 437 h 450"/>
                  <a:gd name="T94" fmla="*/ 212 w 554"/>
                  <a:gd name="T95" fmla="*/ 420 h 450"/>
                  <a:gd name="T96" fmla="*/ 168 w 554"/>
                  <a:gd name="T97" fmla="*/ 309 h 450"/>
                  <a:gd name="T98" fmla="*/ 451 w 554"/>
                  <a:gd name="T99" fmla="*/ 314 h 450"/>
                  <a:gd name="T100" fmla="*/ 552 w 554"/>
                  <a:gd name="T101" fmla="*/ 88 h 4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54" h="450">
                    <a:moveTo>
                      <a:pt x="508" y="168"/>
                    </a:moveTo>
                    <a:lnTo>
                      <a:pt x="465" y="168"/>
                    </a:lnTo>
                    <a:lnTo>
                      <a:pt x="478" y="88"/>
                    </a:lnTo>
                    <a:lnTo>
                      <a:pt x="530" y="88"/>
                    </a:lnTo>
                    <a:lnTo>
                      <a:pt x="508" y="168"/>
                    </a:lnTo>
                    <a:close/>
                    <a:moveTo>
                      <a:pt x="483" y="257"/>
                    </a:moveTo>
                    <a:cubicBezTo>
                      <a:pt x="480" y="265"/>
                      <a:pt x="471" y="273"/>
                      <a:pt x="462" y="273"/>
                    </a:cubicBezTo>
                    <a:lnTo>
                      <a:pt x="447" y="273"/>
                    </a:lnTo>
                    <a:lnTo>
                      <a:pt x="463" y="177"/>
                    </a:lnTo>
                    <a:lnTo>
                      <a:pt x="505" y="177"/>
                    </a:lnTo>
                    <a:lnTo>
                      <a:pt x="483" y="257"/>
                    </a:lnTo>
                    <a:close/>
                    <a:moveTo>
                      <a:pt x="432" y="273"/>
                    </a:moveTo>
                    <a:lnTo>
                      <a:pt x="398" y="273"/>
                    </a:lnTo>
                    <a:lnTo>
                      <a:pt x="407" y="177"/>
                    </a:lnTo>
                    <a:lnTo>
                      <a:pt x="447" y="177"/>
                    </a:lnTo>
                    <a:lnTo>
                      <a:pt x="432" y="273"/>
                    </a:lnTo>
                    <a:close/>
                    <a:moveTo>
                      <a:pt x="352" y="168"/>
                    </a:moveTo>
                    <a:lnTo>
                      <a:pt x="352" y="88"/>
                    </a:lnTo>
                    <a:lnTo>
                      <a:pt x="401" y="88"/>
                    </a:lnTo>
                    <a:lnTo>
                      <a:pt x="393" y="168"/>
                    </a:lnTo>
                    <a:lnTo>
                      <a:pt x="352" y="168"/>
                    </a:lnTo>
                    <a:close/>
                    <a:moveTo>
                      <a:pt x="383" y="273"/>
                    </a:moveTo>
                    <a:lnTo>
                      <a:pt x="352" y="273"/>
                    </a:lnTo>
                    <a:lnTo>
                      <a:pt x="352" y="177"/>
                    </a:lnTo>
                    <a:lnTo>
                      <a:pt x="392" y="177"/>
                    </a:lnTo>
                    <a:lnTo>
                      <a:pt x="383" y="273"/>
                    </a:lnTo>
                    <a:close/>
                    <a:moveTo>
                      <a:pt x="337" y="168"/>
                    </a:moveTo>
                    <a:lnTo>
                      <a:pt x="297" y="168"/>
                    </a:lnTo>
                    <a:lnTo>
                      <a:pt x="289" y="88"/>
                    </a:lnTo>
                    <a:lnTo>
                      <a:pt x="337" y="88"/>
                    </a:lnTo>
                    <a:lnTo>
                      <a:pt x="337" y="168"/>
                    </a:lnTo>
                    <a:close/>
                    <a:moveTo>
                      <a:pt x="337" y="273"/>
                    </a:moveTo>
                    <a:lnTo>
                      <a:pt x="307" y="273"/>
                    </a:lnTo>
                    <a:lnTo>
                      <a:pt x="298" y="177"/>
                    </a:lnTo>
                    <a:lnTo>
                      <a:pt x="337" y="177"/>
                    </a:lnTo>
                    <a:lnTo>
                      <a:pt x="337" y="273"/>
                    </a:lnTo>
                    <a:close/>
                    <a:moveTo>
                      <a:pt x="258" y="273"/>
                    </a:moveTo>
                    <a:lnTo>
                      <a:pt x="242" y="177"/>
                    </a:lnTo>
                    <a:lnTo>
                      <a:pt x="282" y="177"/>
                    </a:lnTo>
                    <a:lnTo>
                      <a:pt x="292" y="273"/>
                    </a:lnTo>
                    <a:lnTo>
                      <a:pt x="258" y="273"/>
                    </a:lnTo>
                    <a:close/>
                    <a:moveTo>
                      <a:pt x="210" y="273"/>
                    </a:moveTo>
                    <a:lnTo>
                      <a:pt x="188" y="177"/>
                    </a:lnTo>
                    <a:lnTo>
                      <a:pt x="227" y="177"/>
                    </a:lnTo>
                    <a:lnTo>
                      <a:pt x="242" y="273"/>
                    </a:lnTo>
                    <a:lnTo>
                      <a:pt x="210" y="273"/>
                    </a:lnTo>
                    <a:close/>
                    <a:moveTo>
                      <a:pt x="170" y="273"/>
                    </a:moveTo>
                    <a:cubicBezTo>
                      <a:pt x="165" y="273"/>
                      <a:pt x="161" y="271"/>
                      <a:pt x="157" y="268"/>
                    </a:cubicBezTo>
                    <a:cubicBezTo>
                      <a:pt x="150" y="244"/>
                      <a:pt x="141" y="211"/>
                      <a:pt x="131" y="177"/>
                    </a:cubicBezTo>
                    <a:lnTo>
                      <a:pt x="173" y="177"/>
                    </a:lnTo>
                    <a:lnTo>
                      <a:pt x="194" y="273"/>
                    </a:lnTo>
                    <a:lnTo>
                      <a:pt x="170" y="273"/>
                    </a:lnTo>
                    <a:close/>
                    <a:moveTo>
                      <a:pt x="126" y="156"/>
                    </a:moveTo>
                    <a:cubicBezTo>
                      <a:pt x="119" y="133"/>
                      <a:pt x="112" y="109"/>
                      <a:pt x="106" y="88"/>
                    </a:cubicBezTo>
                    <a:lnTo>
                      <a:pt x="153" y="88"/>
                    </a:lnTo>
                    <a:lnTo>
                      <a:pt x="171" y="168"/>
                    </a:lnTo>
                    <a:lnTo>
                      <a:pt x="129" y="168"/>
                    </a:lnTo>
                    <a:cubicBezTo>
                      <a:pt x="128" y="164"/>
                      <a:pt x="127" y="160"/>
                      <a:pt x="126" y="156"/>
                    </a:cubicBezTo>
                    <a:close/>
                    <a:moveTo>
                      <a:pt x="212" y="88"/>
                    </a:moveTo>
                    <a:lnTo>
                      <a:pt x="225" y="168"/>
                    </a:lnTo>
                    <a:lnTo>
                      <a:pt x="186" y="168"/>
                    </a:lnTo>
                    <a:lnTo>
                      <a:pt x="168" y="88"/>
                    </a:lnTo>
                    <a:lnTo>
                      <a:pt x="212" y="88"/>
                    </a:lnTo>
                    <a:close/>
                    <a:moveTo>
                      <a:pt x="274" y="88"/>
                    </a:moveTo>
                    <a:lnTo>
                      <a:pt x="281" y="168"/>
                    </a:lnTo>
                    <a:lnTo>
                      <a:pt x="241" y="168"/>
                    </a:lnTo>
                    <a:lnTo>
                      <a:pt x="228" y="88"/>
                    </a:lnTo>
                    <a:lnTo>
                      <a:pt x="274" y="88"/>
                    </a:lnTo>
                    <a:close/>
                    <a:moveTo>
                      <a:pt x="416" y="88"/>
                    </a:moveTo>
                    <a:lnTo>
                      <a:pt x="462" y="88"/>
                    </a:lnTo>
                    <a:lnTo>
                      <a:pt x="449" y="168"/>
                    </a:lnTo>
                    <a:lnTo>
                      <a:pt x="408" y="168"/>
                    </a:lnTo>
                    <a:lnTo>
                      <a:pt x="416" y="88"/>
                    </a:lnTo>
                    <a:close/>
                    <a:moveTo>
                      <a:pt x="24" y="29"/>
                    </a:moveTo>
                    <a:cubicBezTo>
                      <a:pt x="19" y="31"/>
                      <a:pt x="15" y="28"/>
                      <a:pt x="13" y="24"/>
                    </a:cubicBezTo>
                    <a:cubicBezTo>
                      <a:pt x="12" y="19"/>
                      <a:pt x="14" y="14"/>
                      <a:pt x="19" y="13"/>
                    </a:cubicBezTo>
                    <a:cubicBezTo>
                      <a:pt x="24" y="12"/>
                      <a:pt x="28" y="14"/>
                      <a:pt x="30" y="19"/>
                    </a:cubicBezTo>
                    <a:cubicBezTo>
                      <a:pt x="31" y="23"/>
                      <a:pt x="29" y="28"/>
                      <a:pt x="24" y="29"/>
                    </a:cubicBezTo>
                    <a:close/>
                    <a:moveTo>
                      <a:pt x="533" y="63"/>
                    </a:moveTo>
                    <a:lnTo>
                      <a:pt x="110" y="63"/>
                    </a:lnTo>
                    <a:cubicBezTo>
                      <a:pt x="106" y="63"/>
                      <a:pt x="103" y="63"/>
                      <a:pt x="100" y="65"/>
                    </a:cubicBezTo>
                    <a:cubicBezTo>
                      <a:pt x="99" y="61"/>
                      <a:pt x="94" y="44"/>
                      <a:pt x="91" y="34"/>
                    </a:cubicBezTo>
                    <a:cubicBezTo>
                      <a:pt x="88" y="22"/>
                      <a:pt x="79" y="12"/>
                      <a:pt x="64" y="12"/>
                    </a:cubicBezTo>
                    <a:cubicBezTo>
                      <a:pt x="61" y="12"/>
                      <a:pt x="40" y="12"/>
                      <a:pt x="39" y="12"/>
                    </a:cubicBezTo>
                    <a:cubicBezTo>
                      <a:pt x="34" y="4"/>
                      <a:pt x="25" y="0"/>
                      <a:pt x="16" y="2"/>
                    </a:cubicBezTo>
                    <a:cubicBezTo>
                      <a:pt x="5" y="6"/>
                      <a:pt x="0" y="16"/>
                      <a:pt x="3" y="27"/>
                    </a:cubicBezTo>
                    <a:cubicBezTo>
                      <a:pt x="6" y="37"/>
                      <a:pt x="17" y="43"/>
                      <a:pt x="27" y="40"/>
                    </a:cubicBezTo>
                    <a:cubicBezTo>
                      <a:pt x="32" y="39"/>
                      <a:pt x="36" y="35"/>
                      <a:pt x="38" y="31"/>
                    </a:cubicBezTo>
                    <a:cubicBezTo>
                      <a:pt x="40" y="31"/>
                      <a:pt x="52" y="31"/>
                      <a:pt x="54" y="31"/>
                    </a:cubicBezTo>
                    <a:cubicBezTo>
                      <a:pt x="63" y="31"/>
                      <a:pt x="65" y="33"/>
                      <a:pt x="67" y="40"/>
                    </a:cubicBezTo>
                    <a:cubicBezTo>
                      <a:pt x="73" y="61"/>
                      <a:pt x="165" y="388"/>
                      <a:pt x="171" y="409"/>
                    </a:cubicBezTo>
                    <a:cubicBezTo>
                      <a:pt x="180" y="439"/>
                      <a:pt x="194" y="450"/>
                      <a:pt x="209" y="450"/>
                    </a:cubicBezTo>
                    <a:lnTo>
                      <a:pt x="483" y="450"/>
                    </a:lnTo>
                    <a:cubicBezTo>
                      <a:pt x="492" y="450"/>
                      <a:pt x="496" y="441"/>
                      <a:pt x="496" y="437"/>
                    </a:cubicBezTo>
                    <a:cubicBezTo>
                      <a:pt x="498" y="423"/>
                      <a:pt x="486" y="420"/>
                      <a:pt x="480" y="420"/>
                    </a:cubicBezTo>
                    <a:lnTo>
                      <a:pt x="212" y="420"/>
                    </a:lnTo>
                    <a:cubicBezTo>
                      <a:pt x="205" y="420"/>
                      <a:pt x="198" y="415"/>
                      <a:pt x="196" y="408"/>
                    </a:cubicBezTo>
                    <a:cubicBezTo>
                      <a:pt x="195" y="404"/>
                      <a:pt x="170" y="315"/>
                      <a:pt x="168" y="309"/>
                    </a:cubicBezTo>
                    <a:cubicBezTo>
                      <a:pt x="174" y="315"/>
                      <a:pt x="179" y="314"/>
                      <a:pt x="182" y="314"/>
                    </a:cubicBezTo>
                    <a:lnTo>
                      <a:pt x="451" y="314"/>
                    </a:lnTo>
                    <a:cubicBezTo>
                      <a:pt x="486" y="314"/>
                      <a:pt x="500" y="272"/>
                      <a:pt x="503" y="259"/>
                    </a:cubicBezTo>
                    <a:lnTo>
                      <a:pt x="552" y="88"/>
                    </a:lnTo>
                    <a:cubicBezTo>
                      <a:pt x="554" y="81"/>
                      <a:pt x="552" y="63"/>
                      <a:pt x="533" y="63"/>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
        <p:nvSpPr>
          <p:cNvPr id="102" name="Oval 165">
            <a:extLst>
              <a:ext uri="{FF2B5EF4-FFF2-40B4-BE49-F238E27FC236}">
                <a16:creationId xmlns:a16="http://schemas.microsoft.com/office/drawing/2014/main" id="{229B5337-5BC6-4ECC-AC74-9FCE829EEFC2}"/>
              </a:ext>
            </a:extLst>
          </p:cNvPr>
          <p:cNvSpPr/>
          <p:nvPr/>
        </p:nvSpPr>
        <p:spPr>
          <a:xfrm>
            <a:off x="8684132" y="5141136"/>
            <a:ext cx="329184" cy="329184"/>
          </a:xfrm>
          <a:prstGeom prst="ellipse">
            <a:avLst/>
          </a:prstGeom>
          <a:solidFill>
            <a:schemeClr val="accen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6" name="Fast_food2" descr="{&quot;Key&quot;:&quot;POWER_USER_SHAPE_ICON&quot;,&quot;Value&quot;:&quot;POWER_USER_SHAPE_ICON_STYLE_1&quot;}">
            <a:extLst>
              <a:ext uri="{FF2B5EF4-FFF2-40B4-BE49-F238E27FC236}">
                <a16:creationId xmlns:a16="http://schemas.microsoft.com/office/drawing/2014/main" id="{2084FD09-22AB-4991-9319-866E5968DB5F}"/>
              </a:ext>
            </a:extLst>
          </p:cNvPr>
          <p:cNvSpPr>
            <a:spLocks noChangeAspect="1" noEditPoints="1"/>
          </p:cNvSpPr>
          <p:nvPr/>
        </p:nvSpPr>
        <p:spPr bwMode="auto">
          <a:xfrm>
            <a:off x="8755412" y="5152975"/>
            <a:ext cx="180926" cy="251669"/>
          </a:xfrm>
          <a:custGeom>
            <a:avLst/>
            <a:gdLst>
              <a:gd name="T0" fmla="*/ 1247 w 1250"/>
              <a:gd name="T1" fmla="*/ 292 h 1099"/>
              <a:gd name="T2" fmla="*/ 1145 w 1250"/>
              <a:gd name="T3" fmla="*/ 1099 h 1099"/>
              <a:gd name="T4" fmla="*/ 799 w 1250"/>
              <a:gd name="T5" fmla="*/ 1099 h 1099"/>
              <a:gd name="T6" fmla="*/ 697 w 1250"/>
              <a:gd name="T7" fmla="*/ 292 h 1099"/>
              <a:gd name="T8" fmla="*/ 1119 w 1250"/>
              <a:gd name="T9" fmla="*/ 292 h 1099"/>
              <a:gd name="T10" fmla="*/ 1203 w 1250"/>
              <a:gd name="T11" fmla="*/ 0 h 1099"/>
              <a:gd name="T12" fmla="*/ 1250 w 1250"/>
              <a:gd name="T13" fmla="*/ 13 h 1099"/>
              <a:gd name="T14" fmla="*/ 1170 w 1250"/>
              <a:gd name="T15" fmla="*/ 292 h 1099"/>
              <a:gd name="T16" fmla="*/ 1247 w 1250"/>
              <a:gd name="T17" fmla="*/ 292 h 1099"/>
              <a:gd name="T18" fmla="*/ 648 w 1250"/>
              <a:gd name="T19" fmla="*/ 762 h 1099"/>
              <a:gd name="T20" fmla="*/ 481 w 1250"/>
              <a:gd name="T21" fmla="*/ 644 h 1099"/>
              <a:gd name="T22" fmla="*/ 195 w 1250"/>
              <a:gd name="T23" fmla="*/ 644 h 1099"/>
              <a:gd name="T24" fmla="*/ 29 w 1250"/>
              <a:gd name="T25" fmla="*/ 762 h 1099"/>
              <a:gd name="T26" fmla="*/ 648 w 1250"/>
              <a:gd name="T27" fmla="*/ 762 h 1099"/>
              <a:gd name="T28" fmla="*/ 29 w 1250"/>
              <a:gd name="T29" fmla="*/ 981 h 1099"/>
              <a:gd name="T30" fmla="*/ 195 w 1250"/>
              <a:gd name="T31" fmla="*/ 1099 h 1099"/>
              <a:gd name="T32" fmla="*/ 481 w 1250"/>
              <a:gd name="T33" fmla="*/ 1099 h 1099"/>
              <a:gd name="T34" fmla="*/ 648 w 1250"/>
              <a:gd name="T35" fmla="*/ 981 h 1099"/>
              <a:gd name="T36" fmla="*/ 29 w 1250"/>
              <a:gd name="T37" fmla="*/ 981 h 1099"/>
              <a:gd name="T38" fmla="*/ 621 w 1250"/>
              <a:gd name="T39" fmla="*/ 924 h 1099"/>
              <a:gd name="T40" fmla="*/ 674 w 1250"/>
              <a:gd name="T41" fmla="*/ 871 h 1099"/>
              <a:gd name="T42" fmla="*/ 621 w 1250"/>
              <a:gd name="T43" fmla="*/ 818 h 1099"/>
              <a:gd name="T44" fmla="*/ 53 w 1250"/>
              <a:gd name="T45" fmla="*/ 818 h 1099"/>
              <a:gd name="T46" fmla="*/ 0 w 1250"/>
              <a:gd name="T47" fmla="*/ 871 h 1099"/>
              <a:gd name="T48" fmla="*/ 53 w 1250"/>
              <a:gd name="T49" fmla="*/ 924 h 1099"/>
              <a:gd name="T50" fmla="*/ 621 w 1250"/>
              <a:gd name="T51" fmla="*/ 924 h 10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50" h="1099">
                <a:moveTo>
                  <a:pt x="1247" y="292"/>
                </a:moveTo>
                <a:lnTo>
                  <a:pt x="1145" y="1099"/>
                </a:lnTo>
                <a:lnTo>
                  <a:pt x="799" y="1099"/>
                </a:lnTo>
                <a:lnTo>
                  <a:pt x="697" y="292"/>
                </a:lnTo>
                <a:lnTo>
                  <a:pt x="1119" y="292"/>
                </a:lnTo>
                <a:lnTo>
                  <a:pt x="1203" y="0"/>
                </a:lnTo>
                <a:lnTo>
                  <a:pt x="1250" y="13"/>
                </a:lnTo>
                <a:lnTo>
                  <a:pt x="1170" y="292"/>
                </a:lnTo>
                <a:lnTo>
                  <a:pt x="1247" y="292"/>
                </a:lnTo>
                <a:close/>
                <a:moveTo>
                  <a:pt x="648" y="762"/>
                </a:moveTo>
                <a:cubicBezTo>
                  <a:pt x="648" y="762"/>
                  <a:pt x="661" y="644"/>
                  <a:pt x="481" y="644"/>
                </a:cubicBezTo>
                <a:lnTo>
                  <a:pt x="195" y="644"/>
                </a:lnTo>
                <a:cubicBezTo>
                  <a:pt x="16" y="644"/>
                  <a:pt x="29" y="762"/>
                  <a:pt x="29" y="762"/>
                </a:cubicBezTo>
                <a:lnTo>
                  <a:pt x="648" y="762"/>
                </a:lnTo>
                <a:close/>
                <a:moveTo>
                  <a:pt x="29" y="981"/>
                </a:moveTo>
                <a:cubicBezTo>
                  <a:pt x="29" y="981"/>
                  <a:pt x="16" y="1099"/>
                  <a:pt x="195" y="1099"/>
                </a:cubicBezTo>
                <a:lnTo>
                  <a:pt x="481" y="1099"/>
                </a:lnTo>
                <a:cubicBezTo>
                  <a:pt x="661" y="1099"/>
                  <a:pt x="648" y="981"/>
                  <a:pt x="648" y="981"/>
                </a:cubicBezTo>
                <a:lnTo>
                  <a:pt x="29" y="981"/>
                </a:lnTo>
                <a:close/>
                <a:moveTo>
                  <a:pt x="621" y="924"/>
                </a:moveTo>
                <a:cubicBezTo>
                  <a:pt x="650" y="924"/>
                  <a:pt x="674" y="900"/>
                  <a:pt x="674" y="871"/>
                </a:cubicBezTo>
                <a:cubicBezTo>
                  <a:pt x="674" y="842"/>
                  <a:pt x="650" y="818"/>
                  <a:pt x="621" y="818"/>
                </a:cubicBezTo>
                <a:lnTo>
                  <a:pt x="53" y="818"/>
                </a:lnTo>
                <a:cubicBezTo>
                  <a:pt x="24" y="818"/>
                  <a:pt x="0" y="842"/>
                  <a:pt x="0" y="871"/>
                </a:cubicBezTo>
                <a:cubicBezTo>
                  <a:pt x="0" y="900"/>
                  <a:pt x="24" y="924"/>
                  <a:pt x="53" y="924"/>
                </a:cubicBezTo>
                <a:lnTo>
                  <a:pt x="621" y="924"/>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nvGrpSpPr>
          <p:cNvPr id="110" name="Groep 109">
            <a:extLst>
              <a:ext uri="{FF2B5EF4-FFF2-40B4-BE49-F238E27FC236}">
                <a16:creationId xmlns:a16="http://schemas.microsoft.com/office/drawing/2014/main" id="{FA795E00-4342-4001-B6E2-482CE39E551D}"/>
              </a:ext>
            </a:extLst>
          </p:cNvPr>
          <p:cNvGrpSpPr/>
          <p:nvPr/>
        </p:nvGrpSpPr>
        <p:grpSpPr>
          <a:xfrm>
            <a:off x="8195135" y="5275342"/>
            <a:ext cx="329184" cy="329184"/>
            <a:chOff x="2750554" y="409060"/>
            <a:chExt cx="329184" cy="329184"/>
          </a:xfrm>
        </p:grpSpPr>
        <p:sp>
          <p:nvSpPr>
            <p:cNvPr id="140" name="Oval 165">
              <a:extLst>
                <a:ext uri="{FF2B5EF4-FFF2-40B4-BE49-F238E27FC236}">
                  <a16:creationId xmlns:a16="http://schemas.microsoft.com/office/drawing/2014/main" id="{5F55EF17-81CF-4594-8FBA-E755712924F3}"/>
                </a:ext>
              </a:extLst>
            </p:cNvPr>
            <p:cNvSpPr/>
            <p:nvPr/>
          </p:nvSpPr>
          <p:spPr>
            <a:xfrm>
              <a:off x="2750554" y="409060"/>
              <a:ext cx="329184" cy="329184"/>
            </a:xfrm>
            <a:prstGeom prst="ellipse">
              <a:avLst/>
            </a:prstGeom>
            <a:solidFill>
              <a:schemeClr val="accen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1" name="Tag2" descr="{&quot;Key&quot;:&quot;POWER_USER_SHAPE_ICON&quot;,&quot;Value&quot;:&quot;POWER_USER_SHAPE_ICON_STYLE_1&quot;}">
              <a:extLst>
                <a:ext uri="{FF2B5EF4-FFF2-40B4-BE49-F238E27FC236}">
                  <a16:creationId xmlns:a16="http://schemas.microsoft.com/office/drawing/2014/main" id="{8D3B0857-16B8-4F7E-8052-38F1D31B7B4A}"/>
                </a:ext>
              </a:extLst>
            </p:cNvPr>
            <p:cNvSpPr>
              <a:spLocks noChangeAspect="1" noEditPoints="1"/>
            </p:cNvSpPr>
            <p:nvPr>
              <p:custDataLst>
                <p:tags r:id="rId7"/>
              </p:custDataLst>
            </p:nvPr>
          </p:nvSpPr>
          <p:spPr bwMode="auto">
            <a:xfrm>
              <a:off x="2771278" y="477528"/>
              <a:ext cx="135298" cy="134693"/>
            </a:xfrm>
            <a:custGeom>
              <a:avLst/>
              <a:gdLst>
                <a:gd name="T0" fmla="*/ 537 w 621"/>
                <a:gd name="T1" fmla="*/ 117 h 617"/>
                <a:gd name="T2" fmla="*/ 504 w 621"/>
                <a:gd name="T3" fmla="*/ 83 h 617"/>
                <a:gd name="T4" fmla="*/ 537 w 621"/>
                <a:gd name="T5" fmla="*/ 50 h 617"/>
                <a:gd name="T6" fmla="*/ 571 w 621"/>
                <a:gd name="T7" fmla="*/ 83 h 617"/>
                <a:gd name="T8" fmla="*/ 537 w 621"/>
                <a:gd name="T9" fmla="*/ 117 h 617"/>
                <a:gd name="T10" fmla="*/ 601 w 621"/>
                <a:gd name="T11" fmla="*/ 0 h 617"/>
                <a:gd name="T12" fmla="*/ 600 w 621"/>
                <a:gd name="T13" fmla="*/ 0 h 617"/>
                <a:gd name="T14" fmla="*/ 599 w 621"/>
                <a:gd name="T15" fmla="*/ 0 h 617"/>
                <a:gd name="T16" fmla="*/ 341 w 621"/>
                <a:gd name="T17" fmla="*/ 0 h 617"/>
                <a:gd name="T18" fmla="*/ 318 w 621"/>
                <a:gd name="T19" fmla="*/ 12 h 617"/>
                <a:gd name="T20" fmla="*/ 16 w 621"/>
                <a:gd name="T21" fmla="*/ 314 h 617"/>
                <a:gd name="T22" fmla="*/ 16 w 621"/>
                <a:gd name="T23" fmla="*/ 372 h 617"/>
                <a:gd name="T24" fmla="*/ 248 w 621"/>
                <a:gd name="T25" fmla="*/ 605 h 617"/>
                <a:gd name="T26" fmla="*/ 277 w 621"/>
                <a:gd name="T27" fmla="*/ 617 h 617"/>
                <a:gd name="T28" fmla="*/ 306 w 621"/>
                <a:gd name="T29" fmla="*/ 605 h 617"/>
                <a:gd name="T30" fmla="*/ 608 w 621"/>
                <a:gd name="T31" fmla="*/ 302 h 617"/>
                <a:gd name="T32" fmla="*/ 621 w 621"/>
                <a:gd name="T33" fmla="*/ 280 h 617"/>
                <a:gd name="T34" fmla="*/ 621 w 621"/>
                <a:gd name="T35" fmla="*/ 20 h 617"/>
                <a:gd name="T36" fmla="*/ 601 w 621"/>
                <a:gd name="T37" fmla="*/ 0 h 6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21" h="617">
                  <a:moveTo>
                    <a:pt x="537" y="117"/>
                  </a:moveTo>
                  <a:cubicBezTo>
                    <a:pt x="519" y="117"/>
                    <a:pt x="504" y="102"/>
                    <a:pt x="504" y="83"/>
                  </a:cubicBezTo>
                  <a:cubicBezTo>
                    <a:pt x="504" y="65"/>
                    <a:pt x="519" y="50"/>
                    <a:pt x="537" y="50"/>
                  </a:cubicBezTo>
                  <a:cubicBezTo>
                    <a:pt x="556" y="50"/>
                    <a:pt x="571" y="65"/>
                    <a:pt x="571" y="83"/>
                  </a:cubicBezTo>
                  <a:cubicBezTo>
                    <a:pt x="571" y="102"/>
                    <a:pt x="556" y="117"/>
                    <a:pt x="537" y="117"/>
                  </a:cubicBezTo>
                  <a:close/>
                  <a:moveTo>
                    <a:pt x="601" y="0"/>
                  </a:moveTo>
                  <a:lnTo>
                    <a:pt x="600" y="0"/>
                  </a:lnTo>
                  <a:cubicBezTo>
                    <a:pt x="600" y="0"/>
                    <a:pt x="600" y="0"/>
                    <a:pt x="599" y="0"/>
                  </a:cubicBezTo>
                  <a:lnTo>
                    <a:pt x="341" y="0"/>
                  </a:lnTo>
                  <a:cubicBezTo>
                    <a:pt x="334" y="0"/>
                    <a:pt x="320" y="10"/>
                    <a:pt x="318" y="12"/>
                  </a:cubicBezTo>
                  <a:lnTo>
                    <a:pt x="16" y="314"/>
                  </a:lnTo>
                  <a:cubicBezTo>
                    <a:pt x="0" y="330"/>
                    <a:pt x="0" y="356"/>
                    <a:pt x="16" y="372"/>
                  </a:cubicBezTo>
                  <a:lnTo>
                    <a:pt x="248" y="605"/>
                  </a:lnTo>
                  <a:cubicBezTo>
                    <a:pt x="256" y="613"/>
                    <a:pt x="267" y="617"/>
                    <a:pt x="277" y="617"/>
                  </a:cubicBezTo>
                  <a:cubicBezTo>
                    <a:pt x="288" y="617"/>
                    <a:pt x="298" y="613"/>
                    <a:pt x="306" y="605"/>
                  </a:cubicBezTo>
                  <a:lnTo>
                    <a:pt x="608" y="302"/>
                  </a:lnTo>
                  <a:cubicBezTo>
                    <a:pt x="610" y="300"/>
                    <a:pt x="621" y="288"/>
                    <a:pt x="621" y="280"/>
                  </a:cubicBezTo>
                  <a:lnTo>
                    <a:pt x="621" y="20"/>
                  </a:lnTo>
                  <a:cubicBezTo>
                    <a:pt x="621" y="9"/>
                    <a:pt x="613" y="0"/>
                    <a:pt x="601"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2" name="Shopping_Basket2" descr="{&quot;Key&quot;:&quot;POWER_USER_SHAPE_ICON&quot;,&quot;Value&quot;:&quot;POWER_USER_SHAPE_ICON_STYLE_1&quot;}">
              <a:extLst>
                <a:ext uri="{FF2B5EF4-FFF2-40B4-BE49-F238E27FC236}">
                  <a16:creationId xmlns:a16="http://schemas.microsoft.com/office/drawing/2014/main" id="{BF8E66EB-3813-4DE3-83A0-EC4E181C4BD1}"/>
                </a:ext>
              </a:extLst>
            </p:cNvPr>
            <p:cNvSpPr>
              <a:spLocks noChangeAspect="1" noChangeArrowheads="1"/>
            </p:cNvSpPr>
            <p:nvPr>
              <p:custDataLst>
                <p:tags r:id="rId8"/>
              </p:custDataLst>
            </p:nvPr>
          </p:nvSpPr>
          <p:spPr bwMode="auto">
            <a:xfrm>
              <a:off x="2889956" y="506183"/>
              <a:ext cx="146089" cy="128381"/>
            </a:xfrm>
            <a:custGeom>
              <a:avLst/>
              <a:gdLst>
                <a:gd name="T0" fmla="*/ 429 w 583"/>
                <a:gd name="T1" fmla="*/ 183 h 512"/>
                <a:gd name="T2" fmla="*/ 312 w 583"/>
                <a:gd name="T3" fmla="*/ 10 h 512"/>
                <a:gd name="T4" fmla="*/ 291 w 583"/>
                <a:gd name="T5" fmla="*/ 0 h 512"/>
                <a:gd name="T6" fmla="*/ 271 w 583"/>
                <a:gd name="T7" fmla="*/ 10 h 512"/>
                <a:gd name="T8" fmla="*/ 153 w 583"/>
                <a:gd name="T9" fmla="*/ 183 h 512"/>
                <a:gd name="T10" fmla="*/ 26 w 583"/>
                <a:gd name="T11" fmla="*/ 183 h 512"/>
                <a:gd name="T12" fmla="*/ 0 w 583"/>
                <a:gd name="T13" fmla="*/ 214 h 512"/>
                <a:gd name="T14" fmla="*/ 0 w 583"/>
                <a:gd name="T15" fmla="*/ 219 h 512"/>
                <a:gd name="T16" fmla="*/ 66 w 583"/>
                <a:gd name="T17" fmla="*/ 470 h 512"/>
                <a:gd name="T18" fmla="*/ 117 w 583"/>
                <a:gd name="T19" fmla="*/ 511 h 512"/>
                <a:gd name="T20" fmla="*/ 465 w 583"/>
                <a:gd name="T21" fmla="*/ 511 h 512"/>
                <a:gd name="T22" fmla="*/ 516 w 583"/>
                <a:gd name="T23" fmla="*/ 470 h 512"/>
                <a:gd name="T24" fmla="*/ 582 w 583"/>
                <a:gd name="T25" fmla="*/ 219 h 512"/>
                <a:gd name="T26" fmla="*/ 582 w 583"/>
                <a:gd name="T27" fmla="*/ 214 h 512"/>
                <a:gd name="T28" fmla="*/ 552 w 583"/>
                <a:gd name="T29" fmla="*/ 183 h 512"/>
                <a:gd name="T30" fmla="*/ 429 w 583"/>
                <a:gd name="T31" fmla="*/ 183 h 512"/>
                <a:gd name="T32" fmla="*/ 209 w 583"/>
                <a:gd name="T33" fmla="*/ 183 h 512"/>
                <a:gd name="T34" fmla="*/ 291 w 583"/>
                <a:gd name="T35" fmla="*/ 66 h 512"/>
                <a:gd name="T36" fmla="*/ 373 w 583"/>
                <a:gd name="T37" fmla="*/ 183 h 512"/>
                <a:gd name="T38" fmla="*/ 209 w 583"/>
                <a:gd name="T39" fmla="*/ 183 h 512"/>
                <a:gd name="T40" fmla="*/ 291 w 583"/>
                <a:gd name="T41" fmla="*/ 398 h 512"/>
                <a:gd name="T42" fmla="*/ 240 w 583"/>
                <a:gd name="T43" fmla="*/ 347 h 512"/>
                <a:gd name="T44" fmla="*/ 291 w 583"/>
                <a:gd name="T45" fmla="*/ 291 h 512"/>
                <a:gd name="T46" fmla="*/ 347 w 583"/>
                <a:gd name="T47" fmla="*/ 347 h 512"/>
                <a:gd name="T48" fmla="*/ 291 w 583"/>
                <a:gd name="T49" fmla="*/ 39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83" h="512">
                  <a:moveTo>
                    <a:pt x="429" y="183"/>
                  </a:moveTo>
                  <a:lnTo>
                    <a:pt x="312" y="10"/>
                  </a:lnTo>
                  <a:cubicBezTo>
                    <a:pt x="307" y="5"/>
                    <a:pt x="299" y="0"/>
                    <a:pt x="291" y="0"/>
                  </a:cubicBezTo>
                  <a:cubicBezTo>
                    <a:pt x="284" y="0"/>
                    <a:pt x="276" y="0"/>
                    <a:pt x="271" y="10"/>
                  </a:cubicBezTo>
                  <a:lnTo>
                    <a:pt x="153" y="183"/>
                  </a:lnTo>
                  <a:lnTo>
                    <a:pt x="26" y="183"/>
                  </a:lnTo>
                  <a:cubicBezTo>
                    <a:pt x="10" y="183"/>
                    <a:pt x="0" y="194"/>
                    <a:pt x="0" y="214"/>
                  </a:cubicBezTo>
                  <a:lnTo>
                    <a:pt x="0" y="219"/>
                  </a:lnTo>
                  <a:lnTo>
                    <a:pt x="66" y="470"/>
                  </a:lnTo>
                  <a:cubicBezTo>
                    <a:pt x="72" y="490"/>
                    <a:pt x="92" y="511"/>
                    <a:pt x="117" y="511"/>
                  </a:cubicBezTo>
                  <a:lnTo>
                    <a:pt x="465" y="511"/>
                  </a:lnTo>
                  <a:cubicBezTo>
                    <a:pt x="485" y="511"/>
                    <a:pt x="506" y="490"/>
                    <a:pt x="516" y="470"/>
                  </a:cubicBezTo>
                  <a:lnTo>
                    <a:pt x="582" y="219"/>
                  </a:lnTo>
                  <a:lnTo>
                    <a:pt x="582" y="214"/>
                  </a:lnTo>
                  <a:cubicBezTo>
                    <a:pt x="582" y="194"/>
                    <a:pt x="572" y="183"/>
                    <a:pt x="552" y="183"/>
                  </a:cubicBezTo>
                  <a:lnTo>
                    <a:pt x="429" y="183"/>
                  </a:lnTo>
                  <a:close/>
                  <a:moveTo>
                    <a:pt x="209" y="183"/>
                  </a:moveTo>
                  <a:lnTo>
                    <a:pt x="291" y="66"/>
                  </a:lnTo>
                  <a:lnTo>
                    <a:pt x="373" y="183"/>
                  </a:lnTo>
                  <a:lnTo>
                    <a:pt x="209" y="183"/>
                  </a:lnTo>
                  <a:close/>
                  <a:moveTo>
                    <a:pt x="291" y="398"/>
                  </a:moveTo>
                  <a:cubicBezTo>
                    <a:pt x="261" y="398"/>
                    <a:pt x="240" y="375"/>
                    <a:pt x="240" y="347"/>
                  </a:cubicBezTo>
                  <a:cubicBezTo>
                    <a:pt x="240" y="319"/>
                    <a:pt x="261" y="291"/>
                    <a:pt x="291" y="291"/>
                  </a:cubicBezTo>
                  <a:cubicBezTo>
                    <a:pt x="322" y="291"/>
                    <a:pt x="347" y="319"/>
                    <a:pt x="347" y="347"/>
                  </a:cubicBezTo>
                  <a:cubicBezTo>
                    <a:pt x="347" y="375"/>
                    <a:pt x="322" y="398"/>
                    <a:pt x="291" y="398"/>
                  </a:cubicBezTo>
                  <a:close/>
                </a:path>
              </a:pathLst>
            </a:custGeom>
            <a:solidFill>
              <a:schemeClr val="bg1"/>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117" name="Rechthoek 63">
            <a:extLst>
              <a:ext uri="{FF2B5EF4-FFF2-40B4-BE49-F238E27FC236}">
                <a16:creationId xmlns:a16="http://schemas.microsoft.com/office/drawing/2014/main" id="{A98EB129-717F-47F5-BFDD-FE13B4F212B5}"/>
              </a:ext>
            </a:extLst>
          </p:cNvPr>
          <p:cNvSpPr/>
          <p:nvPr/>
        </p:nvSpPr>
        <p:spPr>
          <a:xfrm>
            <a:off x="9899289" y="5367095"/>
            <a:ext cx="137160" cy="182880"/>
          </a:xfrm>
          <a:prstGeom prst="rect">
            <a:avLst/>
          </a:prstGeom>
          <a:ln/>
        </p:spPr>
        <p:style>
          <a:lnRef idx="0">
            <a:schemeClr val="accent2"/>
          </a:lnRef>
          <a:fillRef idx="3">
            <a:schemeClr val="accent2"/>
          </a:fillRef>
          <a:effectRef idx="3">
            <a:schemeClr val="accent2"/>
          </a:effectRef>
          <a:fontRef idx="minor">
            <a:schemeClr val="lt1"/>
          </a:fontRef>
        </p:style>
        <p:txBody>
          <a:bodyPr rtlCol="0" anchor="ctr"/>
          <a:lstStyle/>
          <a:p>
            <a:pPr algn="ctr"/>
            <a:r>
              <a:rPr lang="nl-NL" sz="1200" b="1"/>
              <a:t>P</a:t>
            </a:r>
          </a:p>
        </p:txBody>
      </p:sp>
      <p:sp>
        <p:nvSpPr>
          <p:cNvPr id="123" name="Rechthoek 63">
            <a:extLst>
              <a:ext uri="{FF2B5EF4-FFF2-40B4-BE49-F238E27FC236}">
                <a16:creationId xmlns:a16="http://schemas.microsoft.com/office/drawing/2014/main" id="{89C74BD1-BA4B-4ABD-B4EA-9B2A82E1B039}"/>
              </a:ext>
            </a:extLst>
          </p:cNvPr>
          <p:cNvSpPr/>
          <p:nvPr/>
        </p:nvSpPr>
        <p:spPr>
          <a:xfrm>
            <a:off x="8045415" y="6322831"/>
            <a:ext cx="137160" cy="182880"/>
          </a:xfrm>
          <a:prstGeom prst="rect">
            <a:avLst/>
          </a:prstGeom>
          <a:ln/>
        </p:spPr>
        <p:style>
          <a:lnRef idx="0">
            <a:schemeClr val="accent2"/>
          </a:lnRef>
          <a:fillRef idx="3">
            <a:schemeClr val="accent2"/>
          </a:fillRef>
          <a:effectRef idx="3">
            <a:schemeClr val="accent2"/>
          </a:effectRef>
          <a:fontRef idx="minor">
            <a:schemeClr val="lt1"/>
          </a:fontRef>
        </p:style>
        <p:txBody>
          <a:bodyPr rtlCol="0" anchor="ctr"/>
          <a:lstStyle/>
          <a:p>
            <a:pPr algn="ctr"/>
            <a:r>
              <a:rPr lang="nl-NL" sz="1200" b="1"/>
              <a:t>P</a:t>
            </a:r>
          </a:p>
        </p:txBody>
      </p:sp>
      <p:sp>
        <p:nvSpPr>
          <p:cNvPr id="47" name="Ovaal 10">
            <a:extLst>
              <a:ext uri="{FF2B5EF4-FFF2-40B4-BE49-F238E27FC236}">
                <a16:creationId xmlns:a16="http://schemas.microsoft.com/office/drawing/2014/main" id="{E91AEE75-1106-42D3-951E-9FEF790E26BE}"/>
              </a:ext>
            </a:extLst>
          </p:cNvPr>
          <p:cNvSpPr/>
          <p:nvPr/>
        </p:nvSpPr>
        <p:spPr>
          <a:xfrm rot="606373">
            <a:off x="8236020" y="1729030"/>
            <a:ext cx="1005378" cy="3587738"/>
          </a:xfrm>
          <a:custGeom>
            <a:avLst/>
            <a:gdLst>
              <a:gd name="connsiteX0" fmla="*/ 0 w 946926"/>
              <a:gd name="connsiteY0" fmla="*/ 1669257 h 3338513"/>
              <a:gd name="connsiteX1" fmla="*/ 473463 w 946926"/>
              <a:gd name="connsiteY1" fmla="*/ 0 h 3338513"/>
              <a:gd name="connsiteX2" fmla="*/ 946926 w 946926"/>
              <a:gd name="connsiteY2" fmla="*/ 1669257 h 3338513"/>
              <a:gd name="connsiteX3" fmla="*/ 473463 w 946926"/>
              <a:gd name="connsiteY3" fmla="*/ 3338514 h 3338513"/>
              <a:gd name="connsiteX4" fmla="*/ 0 w 946926"/>
              <a:gd name="connsiteY4" fmla="*/ 1669257 h 3338513"/>
              <a:gd name="connsiteX0" fmla="*/ 104949 w 1051875"/>
              <a:gd name="connsiteY0" fmla="*/ 1669257 h 3498566"/>
              <a:gd name="connsiteX1" fmla="*/ 578412 w 1051875"/>
              <a:gd name="connsiteY1" fmla="*/ 0 h 3498566"/>
              <a:gd name="connsiteX2" fmla="*/ 1051875 w 1051875"/>
              <a:gd name="connsiteY2" fmla="*/ 1669257 h 3498566"/>
              <a:gd name="connsiteX3" fmla="*/ 578412 w 1051875"/>
              <a:gd name="connsiteY3" fmla="*/ 3338514 h 3498566"/>
              <a:gd name="connsiteX4" fmla="*/ 37651 w 1051875"/>
              <a:gd name="connsiteY4" fmla="*/ 3242728 h 3498566"/>
              <a:gd name="connsiteX5" fmla="*/ 104949 w 1051875"/>
              <a:gd name="connsiteY5" fmla="*/ 1669257 h 3498566"/>
              <a:gd name="connsiteX0" fmla="*/ 232888 w 1032014"/>
              <a:gd name="connsiteY0" fmla="*/ 1307467 h 3501749"/>
              <a:gd name="connsiteX1" fmla="*/ 558551 w 1032014"/>
              <a:gd name="connsiteY1" fmla="*/ 3183 h 3501749"/>
              <a:gd name="connsiteX2" fmla="*/ 1032014 w 1032014"/>
              <a:gd name="connsiteY2" fmla="*/ 1672440 h 3501749"/>
              <a:gd name="connsiteX3" fmla="*/ 558551 w 1032014"/>
              <a:gd name="connsiteY3" fmla="*/ 3341697 h 3501749"/>
              <a:gd name="connsiteX4" fmla="*/ 17790 w 1032014"/>
              <a:gd name="connsiteY4" fmla="*/ 3245911 h 3501749"/>
              <a:gd name="connsiteX5" fmla="*/ 232888 w 1032014"/>
              <a:gd name="connsiteY5" fmla="*/ 1307467 h 3501749"/>
              <a:gd name="connsiteX0" fmla="*/ 232888 w 1036057"/>
              <a:gd name="connsiteY0" fmla="*/ 1412927 h 3607209"/>
              <a:gd name="connsiteX1" fmla="*/ 558551 w 1036057"/>
              <a:gd name="connsiteY1" fmla="*/ 108643 h 3607209"/>
              <a:gd name="connsiteX2" fmla="*/ 841253 w 1036057"/>
              <a:gd name="connsiteY2" fmla="*/ 263362 h 3607209"/>
              <a:gd name="connsiteX3" fmla="*/ 1032014 w 1036057"/>
              <a:gd name="connsiteY3" fmla="*/ 1777900 h 3607209"/>
              <a:gd name="connsiteX4" fmla="*/ 558551 w 1036057"/>
              <a:gd name="connsiteY4" fmla="*/ 3447157 h 3607209"/>
              <a:gd name="connsiteX5" fmla="*/ 17790 w 1036057"/>
              <a:gd name="connsiteY5" fmla="*/ 3351371 h 3607209"/>
              <a:gd name="connsiteX6" fmla="*/ 232888 w 1036057"/>
              <a:gd name="connsiteY6" fmla="*/ 1412927 h 3607209"/>
              <a:gd name="connsiteX0" fmla="*/ 230669 w 1033838"/>
              <a:gd name="connsiteY0" fmla="*/ 1341761 h 3536043"/>
              <a:gd name="connsiteX1" fmla="*/ 314560 w 1033838"/>
              <a:gd name="connsiteY1" fmla="*/ 343728 h 3536043"/>
              <a:gd name="connsiteX2" fmla="*/ 556332 w 1033838"/>
              <a:gd name="connsiteY2" fmla="*/ 37477 h 3536043"/>
              <a:gd name="connsiteX3" fmla="*/ 839034 w 1033838"/>
              <a:gd name="connsiteY3" fmla="*/ 192196 h 3536043"/>
              <a:gd name="connsiteX4" fmla="*/ 1029795 w 1033838"/>
              <a:gd name="connsiteY4" fmla="*/ 1706734 h 3536043"/>
              <a:gd name="connsiteX5" fmla="*/ 556332 w 1033838"/>
              <a:gd name="connsiteY5" fmla="*/ 3375991 h 3536043"/>
              <a:gd name="connsiteX6" fmla="*/ 15571 w 1033838"/>
              <a:gd name="connsiteY6" fmla="*/ 3280205 h 3536043"/>
              <a:gd name="connsiteX7" fmla="*/ 230669 w 1033838"/>
              <a:gd name="connsiteY7" fmla="*/ 1341761 h 3536043"/>
              <a:gd name="connsiteX0" fmla="*/ 230669 w 1033838"/>
              <a:gd name="connsiteY0" fmla="*/ 1306773 h 3501055"/>
              <a:gd name="connsiteX1" fmla="*/ 314560 w 1033838"/>
              <a:gd name="connsiteY1" fmla="*/ 308740 h 3501055"/>
              <a:gd name="connsiteX2" fmla="*/ 530523 w 1033838"/>
              <a:gd name="connsiteY2" fmla="*/ 74815 h 3501055"/>
              <a:gd name="connsiteX3" fmla="*/ 839034 w 1033838"/>
              <a:gd name="connsiteY3" fmla="*/ 157208 h 3501055"/>
              <a:gd name="connsiteX4" fmla="*/ 1029795 w 1033838"/>
              <a:gd name="connsiteY4" fmla="*/ 1671746 h 3501055"/>
              <a:gd name="connsiteX5" fmla="*/ 556332 w 1033838"/>
              <a:gd name="connsiteY5" fmla="*/ 3341003 h 3501055"/>
              <a:gd name="connsiteX6" fmla="*/ 15571 w 1033838"/>
              <a:gd name="connsiteY6" fmla="*/ 3245217 h 3501055"/>
              <a:gd name="connsiteX7" fmla="*/ 230669 w 1033838"/>
              <a:gd name="connsiteY7" fmla="*/ 1306773 h 3501055"/>
              <a:gd name="connsiteX0" fmla="*/ 230669 w 1033548"/>
              <a:gd name="connsiteY0" fmla="*/ 1306773 h 3404596"/>
              <a:gd name="connsiteX1" fmla="*/ 314560 w 1033548"/>
              <a:gd name="connsiteY1" fmla="*/ 308740 h 3404596"/>
              <a:gd name="connsiteX2" fmla="*/ 530523 w 1033548"/>
              <a:gd name="connsiteY2" fmla="*/ 74815 h 3404596"/>
              <a:gd name="connsiteX3" fmla="*/ 839034 w 1033548"/>
              <a:gd name="connsiteY3" fmla="*/ 157208 h 3404596"/>
              <a:gd name="connsiteX4" fmla="*/ 1029795 w 1033548"/>
              <a:gd name="connsiteY4" fmla="*/ 1671746 h 3404596"/>
              <a:gd name="connsiteX5" fmla="*/ 760965 w 1033548"/>
              <a:gd name="connsiteY5" fmla="*/ 3155086 h 3404596"/>
              <a:gd name="connsiteX6" fmla="*/ 556332 w 1033548"/>
              <a:gd name="connsiteY6" fmla="*/ 3341003 h 3404596"/>
              <a:gd name="connsiteX7" fmla="*/ 15571 w 1033548"/>
              <a:gd name="connsiteY7" fmla="*/ 3245217 h 3404596"/>
              <a:gd name="connsiteX8" fmla="*/ 230669 w 1033548"/>
              <a:gd name="connsiteY8" fmla="*/ 1306773 h 3404596"/>
              <a:gd name="connsiteX0" fmla="*/ 229374 w 1032253"/>
              <a:gd name="connsiteY0" fmla="*/ 1306773 h 3372214"/>
              <a:gd name="connsiteX1" fmla="*/ 313265 w 1032253"/>
              <a:gd name="connsiteY1" fmla="*/ 308740 h 3372214"/>
              <a:gd name="connsiteX2" fmla="*/ 529228 w 1032253"/>
              <a:gd name="connsiteY2" fmla="*/ 74815 h 3372214"/>
              <a:gd name="connsiteX3" fmla="*/ 837739 w 1032253"/>
              <a:gd name="connsiteY3" fmla="*/ 157208 h 3372214"/>
              <a:gd name="connsiteX4" fmla="*/ 1028500 w 1032253"/>
              <a:gd name="connsiteY4" fmla="*/ 1671746 h 3372214"/>
              <a:gd name="connsiteX5" fmla="*/ 759670 w 1032253"/>
              <a:gd name="connsiteY5" fmla="*/ 3155086 h 3372214"/>
              <a:gd name="connsiteX6" fmla="*/ 555037 w 1032253"/>
              <a:gd name="connsiteY6" fmla="*/ 3341003 h 3372214"/>
              <a:gd name="connsiteX7" fmla="*/ 14276 w 1032253"/>
              <a:gd name="connsiteY7" fmla="*/ 3245217 h 3372214"/>
              <a:gd name="connsiteX8" fmla="*/ 204072 w 1032253"/>
              <a:gd name="connsiteY8" fmla="*/ 2209203 h 3372214"/>
              <a:gd name="connsiteX9" fmla="*/ 229374 w 1032253"/>
              <a:gd name="connsiteY9" fmla="*/ 1306773 h 3372214"/>
              <a:gd name="connsiteX0" fmla="*/ 231939 w 1034818"/>
              <a:gd name="connsiteY0" fmla="*/ 1306773 h 3349218"/>
              <a:gd name="connsiteX1" fmla="*/ 315830 w 1034818"/>
              <a:gd name="connsiteY1" fmla="*/ 308740 h 3349218"/>
              <a:gd name="connsiteX2" fmla="*/ 531793 w 1034818"/>
              <a:gd name="connsiteY2" fmla="*/ 74815 h 3349218"/>
              <a:gd name="connsiteX3" fmla="*/ 840304 w 1034818"/>
              <a:gd name="connsiteY3" fmla="*/ 157208 h 3349218"/>
              <a:gd name="connsiteX4" fmla="*/ 1031065 w 1034818"/>
              <a:gd name="connsiteY4" fmla="*/ 1671746 h 3349218"/>
              <a:gd name="connsiteX5" fmla="*/ 762235 w 1034818"/>
              <a:gd name="connsiteY5" fmla="*/ 3155086 h 3349218"/>
              <a:gd name="connsiteX6" fmla="*/ 557602 w 1034818"/>
              <a:gd name="connsiteY6" fmla="*/ 3341003 h 3349218"/>
              <a:gd name="connsiteX7" fmla="*/ 16841 w 1034818"/>
              <a:gd name="connsiteY7" fmla="*/ 3245217 h 3349218"/>
              <a:gd name="connsiteX8" fmla="*/ 173317 w 1034818"/>
              <a:gd name="connsiteY8" fmla="*/ 2727923 h 3349218"/>
              <a:gd name="connsiteX9" fmla="*/ 206637 w 1034818"/>
              <a:gd name="connsiteY9" fmla="*/ 2209203 h 3349218"/>
              <a:gd name="connsiteX10" fmla="*/ 231939 w 1034818"/>
              <a:gd name="connsiteY10" fmla="*/ 1306773 h 3349218"/>
              <a:gd name="connsiteX0" fmla="*/ 231939 w 1034818"/>
              <a:gd name="connsiteY0" fmla="*/ 1306773 h 3460498"/>
              <a:gd name="connsiteX1" fmla="*/ 315830 w 1034818"/>
              <a:gd name="connsiteY1" fmla="*/ 308740 h 3460498"/>
              <a:gd name="connsiteX2" fmla="*/ 531793 w 1034818"/>
              <a:gd name="connsiteY2" fmla="*/ 74815 h 3460498"/>
              <a:gd name="connsiteX3" fmla="*/ 840304 w 1034818"/>
              <a:gd name="connsiteY3" fmla="*/ 157208 h 3460498"/>
              <a:gd name="connsiteX4" fmla="*/ 1031065 w 1034818"/>
              <a:gd name="connsiteY4" fmla="*/ 1671746 h 3460498"/>
              <a:gd name="connsiteX5" fmla="*/ 762235 w 1034818"/>
              <a:gd name="connsiteY5" fmla="*/ 3155086 h 3460498"/>
              <a:gd name="connsiteX6" fmla="*/ 491592 w 1034818"/>
              <a:gd name="connsiteY6" fmla="*/ 3459195 h 3460498"/>
              <a:gd name="connsiteX7" fmla="*/ 16841 w 1034818"/>
              <a:gd name="connsiteY7" fmla="*/ 3245217 h 3460498"/>
              <a:gd name="connsiteX8" fmla="*/ 173317 w 1034818"/>
              <a:gd name="connsiteY8" fmla="*/ 2727923 h 3460498"/>
              <a:gd name="connsiteX9" fmla="*/ 206637 w 1034818"/>
              <a:gd name="connsiteY9" fmla="*/ 2209203 h 3460498"/>
              <a:gd name="connsiteX10" fmla="*/ 231939 w 1034818"/>
              <a:gd name="connsiteY10" fmla="*/ 1306773 h 3460498"/>
              <a:gd name="connsiteX0" fmla="*/ 231939 w 1034818"/>
              <a:gd name="connsiteY0" fmla="*/ 1306773 h 3461993"/>
              <a:gd name="connsiteX1" fmla="*/ 315830 w 1034818"/>
              <a:gd name="connsiteY1" fmla="*/ 308740 h 3461993"/>
              <a:gd name="connsiteX2" fmla="*/ 531793 w 1034818"/>
              <a:gd name="connsiteY2" fmla="*/ 74815 h 3461993"/>
              <a:gd name="connsiteX3" fmla="*/ 840304 w 1034818"/>
              <a:gd name="connsiteY3" fmla="*/ 157208 h 3461993"/>
              <a:gd name="connsiteX4" fmla="*/ 1031065 w 1034818"/>
              <a:gd name="connsiteY4" fmla="*/ 1671746 h 3461993"/>
              <a:gd name="connsiteX5" fmla="*/ 762235 w 1034818"/>
              <a:gd name="connsiteY5" fmla="*/ 3155086 h 3461993"/>
              <a:gd name="connsiteX6" fmla="*/ 491592 w 1034818"/>
              <a:gd name="connsiteY6" fmla="*/ 3459195 h 3461993"/>
              <a:gd name="connsiteX7" fmla="*/ 16841 w 1034818"/>
              <a:gd name="connsiteY7" fmla="*/ 3245217 h 3461993"/>
              <a:gd name="connsiteX8" fmla="*/ 173317 w 1034818"/>
              <a:gd name="connsiteY8" fmla="*/ 2727923 h 3461993"/>
              <a:gd name="connsiteX9" fmla="*/ 206637 w 1034818"/>
              <a:gd name="connsiteY9" fmla="*/ 2209203 h 3461993"/>
              <a:gd name="connsiteX10" fmla="*/ 231939 w 1034818"/>
              <a:gd name="connsiteY10" fmla="*/ 1306773 h 3461993"/>
              <a:gd name="connsiteX0" fmla="*/ 231939 w 1034818"/>
              <a:gd name="connsiteY0" fmla="*/ 1306773 h 3587738"/>
              <a:gd name="connsiteX1" fmla="*/ 315830 w 1034818"/>
              <a:gd name="connsiteY1" fmla="*/ 308740 h 3587738"/>
              <a:gd name="connsiteX2" fmla="*/ 531793 w 1034818"/>
              <a:gd name="connsiteY2" fmla="*/ 74815 h 3587738"/>
              <a:gd name="connsiteX3" fmla="*/ 840304 w 1034818"/>
              <a:gd name="connsiteY3" fmla="*/ 157208 h 3587738"/>
              <a:gd name="connsiteX4" fmla="*/ 1031065 w 1034818"/>
              <a:gd name="connsiteY4" fmla="*/ 1671746 h 3587738"/>
              <a:gd name="connsiteX5" fmla="*/ 762235 w 1034818"/>
              <a:gd name="connsiteY5" fmla="*/ 3155086 h 3587738"/>
              <a:gd name="connsiteX6" fmla="*/ 427254 w 1034818"/>
              <a:gd name="connsiteY6" fmla="*/ 3586764 h 3587738"/>
              <a:gd name="connsiteX7" fmla="*/ 16841 w 1034818"/>
              <a:gd name="connsiteY7" fmla="*/ 3245217 h 3587738"/>
              <a:gd name="connsiteX8" fmla="*/ 173317 w 1034818"/>
              <a:gd name="connsiteY8" fmla="*/ 2727923 h 3587738"/>
              <a:gd name="connsiteX9" fmla="*/ 206637 w 1034818"/>
              <a:gd name="connsiteY9" fmla="*/ 2209203 h 3587738"/>
              <a:gd name="connsiteX10" fmla="*/ 231939 w 1034818"/>
              <a:gd name="connsiteY10" fmla="*/ 1306773 h 3587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34818" h="3587738">
                <a:moveTo>
                  <a:pt x="231939" y="1306773"/>
                </a:moveTo>
                <a:cubicBezTo>
                  <a:pt x="250138" y="990029"/>
                  <a:pt x="261553" y="526121"/>
                  <a:pt x="315830" y="308740"/>
                </a:cubicBezTo>
                <a:cubicBezTo>
                  <a:pt x="370107" y="91359"/>
                  <a:pt x="444381" y="100070"/>
                  <a:pt x="531793" y="74815"/>
                </a:cubicBezTo>
                <a:cubicBezTo>
                  <a:pt x="619205" y="49560"/>
                  <a:pt x="761394" y="-121002"/>
                  <a:pt x="840304" y="157208"/>
                </a:cubicBezTo>
                <a:cubicBezTo>
                  <a:pt x="919215" y="435418"/>
                  <a:pt x="1059535" y="1177407"/>
                  <a:pt x="1031065" y="1671746"/>
                </a:cubicBezTo>
                <a:cubicBezTo>
                  <a:pt x="1002595" y="2166085"/>
                  <a:pt x="841146" y="2876877"/>
                  <a:pt x="762235" y="3155086"/>
                </a:cubicBezTo>
                <a:cubicBezTo>
                  <a:pt x="683325" y="3433296"/>
                  <a:pt x="489188" y="3602197"/>
                  <a:pt x="427254" y="3586764"/>
                </a:cubicBezTo>
                <a:cubicBezTo>
                  <a:pt x="365320" y="3571331"/>
                  <a:pt x="92216" y="3356666"/>
                  <a:pt x="16841" y="3245217"/>
                </a:cubicBezTo>
                <a:cubicBezTo>
                  <a:pt x="-58534" y="3133768"/>
                  <a:pt x="141684" y="2900592"/>
                  <a:pt x="173317" y="2727923"/>
                </a:cubicBezTo>
                <a:cubicBezTo>
                  <a:pt x="204950" y="2555254"/>
                  <a:pt x="185540" y="2436793"/>
                  <a:pt x="206637" y="2209203"/>
                </a:cubicBezTo>
                <a:cubicBezTo>
                  <a:pt x="242487" y="1886129"/>
                  <a:pt x="213740" y="1623517"/>
                  <a:pt x="231939" y="1306773"/>
                </a:cubicBezTo>
                <a:close/>
              </a:path>
            </a:pathLst>
          </a:custGeom>
          <a:solidFill>
            <a:schemeClr val="accent4">
              <a:lumMod val="60000"/>
              <a:lumOff val="40000"/>
              <a:alpha val="50000"/>
            </a:schemeClr>
          </a:solidFill>
          <a:ln w="19050">
            <a:solidFill>
              <a:schemeClr val="accent4">
                <a:lumMod val="50000"/>
              </a:schemeClr>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grpSp>
        <p:nvGrpSpPr>
          <p:cNvPr id="77" name="Groep 76">
            <a:extLst>
              <a:ext uri="{FF2B5EF4-FFF2-40B4-BE49-F238E27FC236}">
                <a16:creationId xmlns:a16="http://schemas.microsoft.com/office/drawing/2014/main" id="{7B0953E1-C589-41B4-BADF-07FD9DB5AAAF}"/>
              </a:ext>
            </a:extLst>
          </p:cNvPr>
          <p:cNvGrpSpPr/>
          <p:nvPr/>
        </p:nvGrpSpPr>
        <p:grpSpPr>
          <a:xfrm>
            <a:off x="10184717" y="2463099"/>
            <a:ext cx="288000" cy="288000"/>
            <a:chOff x="9659317" y="2318319"/>
            <a:chExt cx="329184" cy="329184"/>
          </a:xfrm>
        </p:grpSpPr>
        <p:sp>
          <p:nvSpPr>
            <p:cNvPr id="152" name="Oval 165">
              <a:extLst>
                <a:ext uri="{FF2B5EF4-FFF2-40B4-BE49-F238E27FC236}">
                  <a16:creationId xmlns:a16="http://schemas.microsoft.com/office/drawing/2014/main" id="{DC6ACC16-5A27-4FAF-91C5-A79A98465740}"/>
                </a:ext>
              </a:extLst>
            </p:cNvPr>
            <p:cNvSpPr/>
            <p:nvPr/>
          </p:nvSpPr>
          <p:spPr>
            <a:xfrm>
              <a:off x="9659317" y="2318319"/>
              <a:ext cx="329184" cy="329184"/>
            </a:xfrm>
            <a:prstGeom prst="ellipse">
              <a:avLst/>
            </a:prstGeom>
            <a:solidFill>
              <a:schemeClr val="accen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3" name="Fast_food2" descr="{&quot;Key&quot;:&quot;POWER_USER_SHAPE_ICON&quot;,&quot;Value&quot;:&quot;POWER_USER_SHAPE_ICON_STYLE_1&quot;}">
              <a:extLst>
                <a:ext uri="{FF2B5EF4-FFF2-40B4-BE49-F238E27FC236}">
                  <a16:creationId xmlns:a16="http://schemas.microsoft.com/office/drawing/2014/main" id="{23BC0C5E-8EE2-4FBA-8291-EBCAF2B9E7C1}"/>
                </a:ext>
              </a:extLst>
            </p:cNvPr>
            <p:cNvSpPr>
              <a:spLocks noChangeAspect="1" noEditPoints="1"/>
            </p:cNvSpPr>
            <p:nvPr/>
          </p:nvSpPr>
          <p:spPr bwMode="auto">
            <a:xfrm>
              <a:off x="9730597" y="2330158"/>
              <a:ext cx="180926" cy="251669"/>
            </a:xfrm>
            <a:custGeom>
              <a:avLst/>
              <a:gdLst>
                <a:gd name="T0" fmla="*/ 1247 w 1250"/>
                <a:gd name="T1" fmla="*/ 292 h 1099"/>
                <a:gd name="T2" fmla="*/ 1145 w 1250"/>
                <a:gd name="T3" fmla="*/ 1099 h 1099"/>
                <a:gd name="T4" fmla="*/ 799 w 1250"/>
                <a:gd name="T5" fmla="*/ 1099 h 1099"/>
                <a:gd name="T6" fmla="*/ 697 w 1250"/>
                <a:gd name="T7" fmla="*/ 292 h 1099"/>
                <a:gd name="T8" fmla="*/ 1119 w 1250"/>
                <a:gd name="T9" fmla="*/ 292 h 1099"/>
                <a:gd name="T10" fmla="*/ 1203 w 1250"/>
                <a:gd name="T11" fmla="*/ 0 h 1099"/>
                <a:gd name="T12" fmla="*/ 1250 w 1250"/>
                <a:gd name="T13" fmla="*/ 13 h 1099"/>
                <a:gd name="T14" fmla="*/ 1170 w 1250"/>
                <a:gd name="T15" fmla="*/ 292 h 1099"/>
                <a:gd name="T16" fmla="*/ 1247 w 1250"/>
                <a:gd name="T17" fmla="*/ 292 h 1099"/>
                <a:gd name="T18" fmla="*/ 648 w 1250"/>
                <a:gd name="T19" fmla="*/ 762 h 1099"/>
                <a:gd name="T20" fmla="*/ 481 w 1250"/>
                <a:gd name="T21" fmla="*/ 644 h 1099"/>
                <a:gd name="T22" fmla="*/ 195 w 1250"/>
                <a:gd name="T23" fmla="*/ 644 h 1099"/>
                <a:gd name="T24" fmla="*/ 29 w 1250"/>
                <a:gd name="T25" fmla="*/ 762 h 1099"/>
                <a:gd name="T26" fmla="*/ 648 w 1250"/>
                <a:gd name="T27" fmla="*/ 762 h 1099"/>
                <a:gd name="T28" fmla="*/ 29 w 1250"/>
                <a:gd name="T29" fmla="*/ 981 h 1099"/>
                <a:gd name="T30" fmla="*/ 195 w 1250"/>
                <a:gd name="T31" fmla="*/ 1099 h 1099"/>
                <a:gd name="T32" fmla="*/ 481 w 1250"/>
                <a:gd name="T33" fmla="*/ 1099 h 1099"/>
                <a:gd name="T34" fmla="*/ 648 w 1250"/>
                <a:gd name="T35" fmla="*/ 981 h 1099"/>
                <a:gd name="T36" fmla="*/ 29 w 1250"/>
                <a:gd name="T37" fmla="*/ 981 h 1099"/>
                <a:gd name="T38" fmla="*/ 621 w 1250"/>
                <a:gd name="T39" fmla="*/ 924 h 1099"/>
                <a:gd name="T40" fmla="*/ 674 w 1250"/>
                <a:gd name="T41" fmla="*/ 871 h 1099"/>
                <a:gd name="T42" fmla="*/ 621 w 1250"/>
                <a:gd name="T43" fmla="*/ 818 h 1099"/>
                <a:gd name="T44" fmla="*/ 53 w 1250"/>
                <a:gd name="T45" fmla="*/ 818 h 1099"/>
                <a:gd name="T46" fmla="*/ 0 w 1250"/>
                <a:gd name="T47" fmla="*/ 871 h 1099"/>
                <a:gd name="T48" fmla="*/ 53 w 1250"/>
                <a:gd name="T49" fmla="*/ 924 h 1099"/>
                <a:gd name="T50" fmla="*/ 621 w 1250"/>
                <a:gd name="T51" fmla="*/ 924 h 10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50" h="1099">
                  <a:moveTo>
                    <a:pt x="1247" y="292"/>
                  </a:moveTo>
                  <a:lnTo>
                    <a:pt x="1145" y="1099"/>
                  </a:lnTo>
                  <a:lnTo>
                    <a:pt x="799" y="1099"/>
                  </a:lnTo>
                  <a:lnTo>
                    <a:pt x="697" y="292"/>
                  </a:lnTo>
                  <a:lnTo>
                    <a:pt x="1119" y="292"/>
                  </a:lnTo>
                  <a:lnTo>
                    <a:pt x="1203" y="0"/>
                  </a:lnTo>
                  <a:lnTo>
                    <a:pt x="1250" y="13"/>
                  </a:lnTo>
                  <a:lnTo>
                    <a:pt x="1170" y="292"/>
                  </a:lnTo>
                  <a:lnTo>
                    <a:pt x="1247" y="292"/>
                  </a:lnTo>
                  <a:close/>
                  <a:moveTo>
                    <a:pt x="648" y="762"/>
                  </a:moveTo>
                  <a:cubicBezTo>
                    <a:pt x="648" y="762"/>
                    <a:pt x="661" y="644"/>
                    <a:pt x="481" y="644"/>
                  </a:cubicBezTo>
                  <a:lnTo>
                    <a:pt x="195" y="644"/>
                  </a:lnTo>
                  <a:cubicBezTo>
                    <a:pt x="16" y="644"/>
                    <a:pt x="29" y="762"/>
                    <a:pt x="29" y="762"/>
                  </a:cubicBezTo>
                  <a:lnTo>
                    <a:pt x="648" y="762"/>
                  </a:lnTo>
                  <a:close/>
                  <a:moveTo>
                    <a:pt x="29" y="981"/>
                  </a:moveTo>
                  <a:cubicBezTo>
                    <a:pt x="29" y="981"/>
                    <a:pt x="16" y="1099"/>
                    <a:pt x="195" y="1099"/>
                  </a:cubicBezTo>
                  <a:lnTo>
                    <a:pt x="481" y="1099"/>
                  </a:lnTo>
                  <a:cubicBezTo>
                    <a:pt x="661" y="1099"/>
                    <a:pt x="648" y="981"/>
                    <a:pt x="648" y="981"/>
                  </a:cubicBezTo>
                  <a:lnTo>
                    <a:pt x="29" y="981"/>
                  </a:lnTo>
                  <a:close/>
                  <a:moveTo>
                    <a:pt x="621" y="924"/>
                  </a:moveTo>
                  <a:cubicBezTo>
                    <a:pt x="650" y="924"/>
                    <a:pt x="674" y="900"/>
                    <a:pt x="674" y="871"/>
                  </a:cubicBezTo>
                  <a:cubicBezTo>
                    <a:pt x="674" y="842"/>
                    <a:pt x="650" y="818"/>
                    <a:pt x="621" y="818"/>
                  </a:cubicBezTo>
                  <a:lnTo>
                    <a:pt x="53" y="818"/>
                  </a:lnTo>
                  <a:cubicBezTo>
                    <a:pt x="24" y="818"/>
                    <a:pt x="0" y="842"/>
                    <a:pt x="0" y="871"/>
                  </a:cubicBezTo>
                  <a:cubicBezTo>
                    <a:pt x="0" y="900"/>
                    <a:pt x="24" y="924"/>
                    <a:pt x="53" y="924"/>
                  </a:cubicBezTo>
                  <a:lnTo>
                    <a:pt x="621" y="924"/>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78" name="Groep 77">
            <a:extLst>
              <a:ext uri="{FF2B5EF4-FFF2-40B4-BE49-F238E27FC236}">
                <a16:creationId xmlns:a16="http://schemas.microsoft.com/office/drawing/2014/main" id="{94E46690-B2C9-4220-BBE0-05C529A4F88A}"/>
              </a:ext>
            </a:extLst>
          </p:cNvPr>
          <p:cNvGrpSpPr/>
          <p:nvPr/>
        </p:nvGrpSpPr>
        <p:grpSpPr>
          <a:xfrm>
            <a:off x="10312077" y="2034520"/>
            <a:ext cx="288000" cy="288000"/>
            <a:chOff x="2750554" y="409060"/>
            <a:chExt cx="329184" cy="329184"/>
          </a:xfrm>
        </p:grpSpPr>
        <p:sp>
          <p:nvSpPr>
            <p:cNvPr id="149" name="Oval 165">
              <a:extLst>
                <a:ext uri="{FF2B5EF4-FFF2-40B4-BE49-F238E27FC236}">
                  <a16:creationId xmlns:a16="http://schemas.microsoft.com/office/drawing/2014/main" id="{6F6DE90E-9A10-47E2-8BF8-E58F85F5F61A}"/>
                </a:ext>
              </a:extLst>
            </p:cNvPr>
            <p:cNvSpPr/>
            <p:nvPr/>
          </p:nvSpPr>
          <p:spPr>
            <a:xfrm>
              <a:off x="2750554" y="409060"/>
              <a:ext cx="329184" cy="329184"/>
            </a:xfrm>
            <a:prstGeom prst="ellipse">
              <a:avLst/>
            </a:prstGeom>
            <a:solidFill>
              <a:schemeClr val="accen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0" name="Tag2" descr="{&quot;Key&quot;:&quot;POWER_USER_SHAPE_ICON&quot;,&quot;Value&quot;:&quot;POWER_USER_SHAPE_ICON_STYLE_1&quot;}">
              <a:extLst>
                <a:ext uri="{FF2B5EF4-FFF2-40B4-BE49-F238E27FC236}">
                  <a16:creationId xmlns:a16="http://schemas.microsoft.com/office/drawing/2014/main" id="{8C1FFC49-06E6-48C3-83B1-90E941B416CC}"/>
                </a:ext>
              </a:extLst>
            </p:cNvPr>
            <p:cNvSpPr>
              <a:spLocks noChangeAspect="1" noEditPoints="1"/>
            </p:cNvSpPr>
            <p:nvPr>
              <p:custDataLst>
                <p:tags r:id="rId5"/>
              </p:custDataLst>
            </p:nvPr>
          </p:nvSpPr>
          <p:spPr bwMode="auto">
            <a:xfrm>
              <a:off x="2771278" y="477528"/>
              <a:ext cx="135298" cy="134693"/>
            </a:xfrm>
            <a:custGeom>
              <a:avLst/>
              <a:gdLst>
                <a:gd name="T0" fmla="*/ 537 w 621"/>
                <a:gd name="T1" fmla="*/ 117 h 617"/>
                <a:gd name="T2" fmla="*/ 504 w 621"/>
                <a:gd name="T3" fmla="*/ 83 h 617"/>
                <a:gd name="T4" fmla="*/ 537 w 621"/>
                <a:gd name="T5" fmla="*/ 50 h 617"/>
                <a:gd name="T6" fmla="*/ 571 w 621"/>
                <a:gd name="T7" fmla="*/ 83 h 617"/>
                <a:gd name="T8" fmla="*/ 537 w 621"/>
                <a:gd name="T9" fmla="*/ 117 h 617"/>
                <a:gd name="T10" fmla="*/ 601 w 621"/>
                <a:gd name="T11" fmla="*/ 0 h 617"/>
                <a:gd name="T12" fmla="*/ 600 w 621"/>
                <a:gd name="T13" fmla="*/ 0 h 617"/>
                <a:gd name="T14" fmla="*/ 599 w 621"/>
                <a:gd name="T15" fmla="*/ 0 h 617"/>
                <a:gd name="T16" fmla="*/ 341 w 621"/>
                <a:gd name="T17" fmla="*/ 0 h 617"/>
                <a:gd name="T18" fmla="*/ 318 w 621"/>
                <a:gd name="T19" fmla="*/ 12 h 617"/>
                <a:gd name="T20" fmla="*/ 16 w 621"/>
                <a:gd name="T21" fmla="*/ 314 h 617"/>
                <a:gd name="T22" fmla="*/ 16 w 621"/>
                <a:gd name="T23" fmla="*/ 372 h 617"/>
                <a:gd name="T24" fmla="*/ 248 w 621"/>
                <a:gd name="T25" fmla="*/ 605 h 617"/>
                <a:gd name="T26" fmla="*/ 277 w 621"/>
                <a:gd name="T27" fmla="*/ 617 h 617"/>
                <a:gd name="T28" fmla="*/ 306 w 621"/>
                <a:gd name="T29" fmla="*/ 605 h 617"/>
                <a:gd name="T30" fmla="*/ 608 w 621"/>
                <a:gd name="T31" fmla="*/ 302 h 617"/>
                <a:gd name="T32" fmla="*/ 621 w 621"/>
                <a:gd name="T33" fmla="*/ 280 h 617"/>
                <a:gd name="T34" fmla="*/ 621 w 621"/>
                <a:gd name="T35" fmla="*/ 20 h 617"/>
                <a:gd name="T36" fmla="*/ 601 w 621"/>
                <a:gd name="T37" fmla="*/ 0 h 6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21" h="617">
                  <a:moveTo>
                    <a:pt x="537" y="117"/>
                  </a:moveTo>
                  <a:cubicBezTo>
                    <a:pt x="519" y="117"/>
                    <a:pt x="504" y="102"/>
                    <a:pt x="504" y="83"/>
                  </a:cubicBezTo>
                  <a:cubicBezTo>
                    <a:pt x="504" y="65"/>
                    <a:pt x="519" y="50"/>
                    <a:pt x="537" y="50"/>
                  </a:cubicBezTo>
                  <a:cubicBezTo>
                    <a:pt x="556" y="50"/>
                    <a:pt x="571" y="65"/>
                    <a:pt x="571" y="83"/>
                  </a:cubicBezTo>
                  <a:cubicBezTo>
                    <a:pt x="571" y="102"/>
                    <a:pt x="556" y="117"/>
                    <a:pt x="537" y="117"/>
                  </a:cubicBezTo>
                  <a:close/>
                  <a:moveTo>
                    <a:pt x="601" y="0"/>
                  </a:moveTo>
                  <a:lnTo>
                    <a:pt x="600" y="0"/>
                  </a:lnTo>
                  <a:cubicBezTo>
                    <a:pt x="600" y="0"/>
                    <a:pt x="600" y="0"/>
                    <a:pt x="599" y="0"/>
                  </a:cubicBezTo>
                  <a:lnTo>
                    <a:pt x="341" y="0"/>
                  </a:lnTo>
                  <a:cubicBezTo>
                    <a:pt x="334" y="0"/>
                    <a:pt x="320" y="10"/>
                    <a:pt x="318" y="12"/>
                  </a:cubicBezTo>
                  <a:lnTo>
                    <a:pt x="16" y="314"/>
                  </a:lnTo>
                  <a:cubicBezTo>
                    <a:pt x="0" y="330"/>
                    <a:pt x="0" y="356"/>
                    <a:pt x="16" y="372"/>
                  </a:cubicBezTo>
                  <a:lnTo>
                    <a:pt x="248" y="605"/>
                  </a:lnTo>
                  <a:cubicBezTo>
                    <a:pt x="256" y="613"/>
                    <a:pt x="267" y="617"/>
                    <a:pt x="277" y="617"/>
                  </a:cubicBezTo>
                  <a:cubicBezTo>
                    <a:pt x="288" y="617"/>
                    <a:pt x="298" y="613"/>
                    <a:pt x="306" y="605"/>
                  </a:cubicBezTo>
                  <a:lnTo>
                    <a:pt x="608" y="302"/>
                  </a:lnTo>
                  <a:cubicBezTo>
                    <a:pt x="610" y="300"/>
                    <a:pt x="621" y="288"/>
                    <a:pt x="621" y="280"/>
                  </a:cubicBezTo>
                  <a:lnTo>
                    <a:pt x="621" y="20"/>
                  </a:lnTo>
                  <a:cubicBezTo>
                    <a:pt x="621" y="9"/>
                    <a:pt x="613" y="0"/>
                    <a:pt x="601"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1" name="Shopping_Basket2" descr="{&quot;Key&quot;:&quot;POWER_USER_SHAPE_ICON&quot;,&quot;Value&quot;:&quot;POWER_USER_SHAPE_ICON_STYLE_1&quot;}">
              <a:extLst>
                <a:ext uri="{FF2B5EF4-FFF2-40B4-BE49-F238E27FC236}">
                  <a16:creationId xmlns:a16="http://schemas.microsoft.com/office/drawing/2014/main" id="{60DECFEB-4737-4A44-966E-56167986FD8B}"/>
                </a:ext>
              </a:extLst>
            </p:cNvPr>
            <p:cNvSpPr>
              <a:spLocks noChangeAspect="1" noChangeArrowheads="1"/>
            </p:cNvSpPr>
            <p:nvPr>
              <p:custDataLst>
                <p:tags r:id="rId6"/>
              </p:custDataLst>
            </p:nvPr>
          </p:nvSpPr>
          <p:spPr bwMode="auto">
            <a:xfrm>
              <a:off x="2889956" y="506183"/>
              <a:ext cx="146089" cy="128381"/>
            </a:xfrm>
            <a:custGeom>
              <a:avLst/>
              <a:gdLst>
                <a:gd name="T0" fmla="*/ 429 w 583"/>
                <a:gd name="T1" fmla="*/ 183 h 512"/>
                <a:gd name="T2" fmla="*/ 312 w 583"/>
                <a:gd name="T3" fmla="*/ 10 h 512"/>
                <a:gd name="T4" fmla="*/ 291 w 583"/>
                <a:gd name="T5" fmla="*/ 0 h 512"/>
                <a:gd name="T6" fmla="*/ 271 w 583"/>
                <a:gd name="T7" fmla="*/ 10 h 512"/>
                <a:gd name="T8" fmla="*/ 153 w 583"/>
                <a:gd name="T9" fmla="*/ 183 h 512"/>
                <a:gd name="T10" fmla="*/ 26 w 583"/>
                <a:gd name="T11" fmla="*/ 183 h 512"/>
                <a:gd name="T12" fmla="*/ 0 w 583"/>
                <a:gd name="T13" fmla="*/ 214 h 512"/>
                <a:gd name="T14" fmla="*/ 0 w 583"/>
                <a:gd name="T15" fmla="*/ 219 h 512"/>
                <a:gd name="T16" fmla="*/ 66 w 583"/>
                <a:gd name="T17" fmla="*/ 470 h 512"/>
                <a:gd name="T18" fmla="*/ 117 w 583"/>
                <a:gd name="T19" fmla="*/ 511 h 512"/>
                <a:gd name="T20" fmla="*/ 465 w 583"/>
                <a:gd name="T21" fmla="*/ 511 h 512"/>
                <a:gd name="T22" fmla="*/ 516 w 583"/>
                <a:gd name="T23" fmla="*/ 470 h 512"/>
                <a:gd name="T24" fmla="*/ 582 w 583"/>
                <a:gd name="T25" fmla="*/ 219 h 512"/>
                <a:gd name="T26" fmla="*/ 582 w 583"/>
                <a:gd name="T27" fmla="*/ 214 h 512"/>
                <a:gd name="T28" fmla="*/ 552 w 583"/>
                <a:gd name="T29" fmla="*/ 183 h 512"/>
                <a:gd name="T30" fmla="*/ 429 w 583"/>
                <a:gd name="T31" fmla="*/ 183 h 512"/>
                <a:gd name="T32" fmla="*/ 209 w 583"/>
                <a:gd name="T33" fmla="*/ 183 h 512"/>
                <a:gd name="T34" fmla="*/ 291 w 583"/>
                <a:gd name="T35" fmla="*/ 66 h 512"/>
                <a:gd name="T36" fmla="*/ 373 w 583"/>
                <a:gd name="T37" fmla="*/ 183 h 512"/>
                <a:gd name="T38" fmla="*/ 209 w 583"/>
                <a:gd name="T39" fmla="*/ 183 h 512"/>
                <a:gd name="T40" fmla="*/ 291 w 583"/>
                <a:gd name="T41" fmla="*/ 398 h 512"/>
                <a:gd name="T42" fmla="*/ 240 w 583"/>
                <a:gd name="T43" fmla="*/ 347 h 512"/>
                <a:gd name="T44" fmla="*/ 291 w 583"/>
                <a:gd name="T45" fmla="*/ 291 h 512"/>
                <a:gd name="T46" fmla="*/ 347 w 583"/>
                <a:gd name="T47" fmla="*/ 347 h 512"/>
                <a:gd name="T48" fmla="*/ 291 w 583"/>
                <a:gd name="T49" fmla="*/ 39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83" h="512">
                  <a:moveTo>
                    <a:pt x="429" y="183"/>
                  </a:moveTo>
                  <a:lnTo>
                    <a:pt x="312" y="10"/>
                  </a:lnTo>
                  <a:cubicBezTo>
                    <a:pt x="307" y="5"/>
                    <a:pt x="299" y="0"/>
                    <a:pt x="291" y="0"/>
                  </a:cubicBezTo>
                  <a:cubicBezTo>
                    <a:pt x="284" y="0"/>
                    <a:pt x="276" y="0"/>
                    <a:pt x="271" y="10"/>
                  </a:cubicBezTo>
                  <a:lnTo>
                    <a:pt x="153" y="183"/>
                  </a:lnTo>
                  <a:lnTo>
                    <a:pt x="26" y="183"/>
                  </a:lnTo>
                  <a:cubicBezTo>
                    <a:pt x="10" y="183"/>
                    <a:pt x="0" y="194"/>
                    <a:pt x="0" y="214"/>
                  </a:cubicBezTo>
                  <a:lnTo>
                    <a:pt x="0" y="219"/>
                  </a:lnTo>
                  <a:lnTo>
                    <a:pt x="66" y="470"/>
                  </a:lnTo>
                  <a:cubicBezTo>
                    <a:pt x="72" y="490"/>
                    <a:pt x="92" y="511"/>
                    <a:pt x="117" y="511"/>
                  </a:cubicBezTo>
                  <a:lnTo>
                    <a:pt x="465" y="511"/>
                  </a:lnTo>
                  <a:cubicBezTo>
                    <a:pt x="485" y="511"/>
                    <a:pt x="506" y="490"/>
                    <a:pt x="516" y="470"/>
                  </a:cubicBezTo>
                  <a:lnTo>
                    <a:pt x="582" y="219"/>
                  </a:lnTo>
                  <a:lnTo>
                    <a:pt x="582" y="214"/>
                  </a:lnTo>
                  <a:cubicBezTo>
                    <a:pt x="582" y="194"/>
                    <a:pt x="572" y="183"/>
                    <a:pt x="552" y="183"/>
                  </a:cubicBezTo>
                  <a:lnTo>
                    <a:pt x="429" y="183"/>
                  </a:lnTo>
                  <a:close/>
                  <a:moveTo>
                    <a:pt x="209" y="183"/>
                  </a:moveTo>
                  <a:lnTo>
                    <a:pt x="291" y="66"/>
                  </a:lnTo>
                  <a:lnTo>
                    <a:pt x="373" y="183"/>
                  </a:lnTo>
                  <a:lnTo>
                    <a:pt x="209" y="183"/>
                  </a:lnTo>
                  <a:close/>
                  <a:moveTo>
                    <a:pt x="291" y="398"/>
                  </a:moveTo>
                  <a:cubicBezTo>
                    <a:pt x="261" y="398"/>
                    <a:pt x="240" y="375"/>
                    <a:pt x="240" y="347"/>
                  </a:cubicBezTo>
                  <a:cubicBezTo>
                    <a:pt x="240" y="319"/>
                    <a:pt x="261" y="291"/>
                    <a:pt x="291" y="291"/>
                  </a:cubicBezTo>
                  <a:cubicBezTo>
                    <a:pt x="322" y="291"/>
                    <a:pt x="347" y="319"/>
                    <a:pt x="347" y="347"/>
                  </a:cubicBezTo>
                  <a:cubicBezTo>
                    <a:pt x="347" y="375"/>
                    <a:pt x="322" y="398"/>
                    <a:pt x="291" y="398"/>
                  </a:cubicBezTo>
                  <a:close/>
                </a:path>
              </a:pathLst>
            </a:custGeom>
            <a:solidFill>
              <a:schemeClr val="bg1"/>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113" name="Rechthoek 63">
            <a:extLst>
              <a:ext uri="{FF2B5EF4-FFF2-40B4-BE49-F238E27FC236}">
                <a16:creationId xmlns:a16="http://schemas.microsoft.com/office/drawing/2014/main" id="{C4AF415C-FE9F-4556-B299-1F54039C04A1}"/>
              </a:ext>
            </a:extLst>
          </p:cNvPr>
          <p:cNvSpPr/>
          <p:nvPr/>
        </p:nvSpPr>
        <p:spPr>
          <a:xfrm>
            <a:off x="8209482" y="2758432"/>
            <a:ext cx="137160" cy="182880"/>
          </a:xfrm>
          <a:prstGeom prst="rect">
            <a:avLst/>
          </a:prstGeom>
          <a:ln/>
        </p:spPr>
        <p:style>
          <a:lnRef idx="0">
            <a:schemeClr val="accent2"/>
          </a:lnRef>
          <a:fillRef idx="3">
            <a:schemeClr val="accent2"/>
          </a:fillRef>
          <a:effectRef idx="3">
            <a:schemeClr val="accent2"/>
          </a:effectRef>
          <a:fontRef idx="minor">
            <a:schemeClr val="lt1"/>
          </a:fontRef>
        </p:style>
        <p:txBody>
          <a:bodyPr rtlCol="0" anchor="ctr"/>
          <a:lstStyle/>
          <a:p>
            <a:pPr algn="ctr"/>
            <a:r>
              <a:rPr lang="nl-NL" sz="1200" b="1"/>
              <a:t>P</a:t>
            </a:r>
          </a:p>
        </p:txBody>
      </p:sp>
      <p:sp>
        <p:nvSpPr>
          <p:cNvPr id="115" name="Rechthoek 63">
            <a:extLst>
              <a:ext uri="{FF2B5EF4-FFF2-40B4-BE49-F238E27FC236}">
                <a16:creationId xmlns:a16="http://schemas.microsoft.com/office/drawing/2014/main" id="{D5EEC42A-308D-4C6D-A8D7-DFF37FCE5493}"/>
              </a:ext>
            </a:extLst>
          </p:cNvPr>
          <p:cNvSpPr/>
          <p:nvPr/>
        </p:nvSpPr>
        <p:spPr>
          <a:xfrm>
            <a:off x="9512197" y="3023801"/>
            <a:ext cx="137160" cy="182880"/>
          </a:xfrm>
          <a:prstGeom prst="rect">
            <a:avLst/>
          </a:prstGeom>
          <a:ln/>
        </p:spPr>
        <p:style>
          <a:lnRef idx="0">
            <a:schemeClr val="accent2"/>
          </a:lnRef>
          <a:fillRef idx="3">
            <a:schemeClr val="accent2"/>
          </a:fillRef>
          <a:effectRef idx="3">
            <a:schemeClr val="accent2"/>
          </a:effectRef>
          <a:fontRef idx="minor">
            <a:schemeClr val="lt1"/>
          </a:fontRef>
        </p:style>
        <p:txBody>
          <a:bodyPr rtlCol="0" anchor="ctr"/>
          <a:lstStyle/>
          <a:p>
            <a:pPr algn="ctr"/>
            <a:r>
              <a:rPr lang="nl-NL" sz="1200" b="1"/>
              <a:t>P</a:t>
            </a:r>
          </a:p>
        </p:txBody>
      </p:sp>
      <p:sp>
        <p:nvSpPr>
          <p:cNvPr id="48" name="Ovaal 47">
            <a:extLst>
              <a:ext uri="{FF2B5EF4-FFF2-40B4-BE49-F238E27FC236}">
                <a16:creationId xmlns:a16="http://schemas.microsoft.com/office/drawing/2014/main" id="{694EAB21-9479-4885-873D-042E3B86D7A8}"/>
              </a:ext>
            </a:extLst>
          </p:cNvPr>
          <p:cNvSpPr/>
          <p:nvPr/>
        </p:nvSpPr>
        <p:spPr>
          <a:xfrm rot="651834">
            <a:off x="8866683" y="2326657"/>
            <a:ext cx="404813" cy="638587"/>
          </a:xfrm>
          <a:custGeom>
            <a:avLst/>
            <a:gdLst>
              <a:gd name="connsiteX0" fmla="*/ 0 w 404813"/>
              <a:gd name="connsiteY0" fmla="*/ 319294 h 638587"/>
              <a:gd name="connsiteX1" fmla="*/ 202407 w 404813"/>
              <a:gd name="connsiteY1" fmla="*/ 0 h 638587"/>
              <a:gd name="connsiteX2" fmla="*/ 404814 w 404813"/>
              <a:gd name="connsiteY2" fmla="*/ 319294 h 638587"/>
              <a:gd name="connsiteX3" fmla="*/ 202407 w 404813"/>
              <a:gd name="connsiteY3" fmla="*/ 638588 h 638587"/>
              <a:gd name="connsiteX4" fmla="*/ 0 w 404813"/>
              <a:gd name="connsiteY4" fmla="*/ 319294 h 6385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4813" h="638587" fill="none" extrusionOk="0">
                <a:moveTo>
                  <a:pt x="0" y="319294"/>
                </a:moveTo>
                <a:cubicBezTo>
                  <a:pt x="5587" y="145475"/>
                  <a:pt x="82698" y="-11820"/>
                  <a:pt x="202407" y="0"/>
                </a:cubicBezTo>
                <a:cubicBezTo>
                  <a:pt x="325096" y="31346"/>
                  <a:pt x="367070" y="127993"/>
                  <a:pt x="404814" y="319294"/>
                </a:cubicBezTo>
                <a:cubicBezTo>
                  <a:pt x="412177" y="492111"/>
                  <a:pt x="320552" y="647823"/>
                  <a:pt x="202407" y="638588"/>
                </a:cubicBezTo>
                <a:cubicBezTo>
                  <a:pt x="101140" y="598697"/>
                  <a:pt x="2982" y="470959"/>
                  <a:pt x="0" y="319294"/>
                </a:cubicBezTo>
                <a:close/>
              </a:path>
              <a:path w="404813" h="638587" stroke="0" extrusionOk="0">
                <a:moveTo>
                  <a:pt x="0" y="319294"/>
                </a:moveTo>
                <a:cubicBezTo>
                  <a:pt x="7359" y="138006"/>
                  <a:pt x="83062" y="810"/>
                  <a:pt x="202407" y="0"/>
                </a:cubicBezTo>
                <a:cubicBezTo>
                  <a:pt x="326641" y="-22425"/>
                  <a:pt x="395708" y="166190"/>
                  <a:pt x="404814" y="319294"/>
                </a:cubicBezTo>
                <a:cubicBezTo>
                  <a:pt x="389144" y="510403"/>
                  <a:pt x="294049" y="644166"/>
                  <a:pt x="202407" y="638588"/>
                </a:cubicBezTo>
                <a:cubicBezTo>
                  <a:pt x="93781" y="602158"/>
                  <a:pt x="-13212" y="507303"/>
                  <a:pt x="0" y="319294"/>
                </a:cubicBezTo>
                <a:close/>
              </a:path>
            </a:pathLst>
          </a:custGeom>
          <a:solidFill>
            <a:srgbClr val="62366E">
              <a:alpha val="50196"/>
            </a:srgbClr>
          </a:solidFill>
          <a:ln w="19050">
            <a:solidFill>
              <a:schemeClr val="accent1"/>
            </a:solidFill>
            <a:prstDash val="lgDash"/>
            <a:extLst>
              <a:ext uri="{C807C97D-BFC1-408E-A445-0C87EB9F89A2}">
                <ask:lineSketchStyleProps xmlns:ask="http://schemas.microsoft.com/office/drawing/2018/sketchyshapes" sd="1935646484">
                  <a:prstGeom prst="ellipse">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12" name="Rechthoek 63">
            <a:extLst>
              <a:ext uri="{FF2B5EF4-FFF2-40B4-BE49-F238E27FC236}">
                <a16:creationId xmlns:a16="http://schemas.microsoft.com/office/drawing/2014/main" id="{2D5B0B27-FCEF-478F-85F2-41BFCE9CC098}"/>
              </a:ext>
            </a:extLst>
          </p:cNvPr>
          <p:cNvSpPr/>
          <p:nvPr/>
        </p:nvSpPr>
        <p:spPr>
          <a:xfrm>
            <a:off x="9097855" y="823480"/>
            <a:ext cx="137160" cy="182880"/>
          </a:xfrm>
          <a:prstGeom prst="rect">
            <a:avLst/>
          </a:prstGeom>
          <a:ln/>
        </p:spPr>
        <p:style>
          <a:lnRef idx="0">
            <a:schemeClr val="accent2"/>
          </a:lnRef>
          <a:fillRef idx="3">
            <a:schemeClr val="accent2"/>
          </a:fillRef>
          <a:effectRef idx="3">
            <a:schemeClr val="accent2"/>
          </a:effectRef>
          <a:fontRef idx="minor">
            <a:schemeClr val="lt1"/>
          </a:fontRef>
        </p:style>
        <p:txBody>
          <a:bodyPr rtlCol="0" anchor="ctr"/>
          <a:lstStyle/>
          <a:p>
            <a:pPr algn="ctr"/>
            <a:r>
              <a:rPr lang="nl-NL" sz="1200" b="1"/>
              <a:t>P</a:t>
            </a:r>
          </a:p>
        </p:txBody>
      </p:sp>
      <p:grpSp>
        <p:nvGrpSpPr>
          <p:cNvPr id="75" name="Groep 74">
            <a:extLst>
              <a:ext uri="{FF2B5EF4-FFF2-40B4-BE49-F238E27FC236}">
                <a16:creationId xmlns:a16="http://schemas.microsoft.com/office/drawing/2014/main" id="{D448CF23-042B-440B-A9DD-FF9EBE551AE1}"/>
              </a:ext>
            </a:extLst>
          </p:cNvPr>
          <p:cNvGrpSpPr/>
          <p:nvPr/>
        </p:nvGrpSpPr>
        <p:grpSpPr>
          <a:xfrm>
            <a:off x="8845855" y="2247640"/>
            <a:ext cx="252000" cy="252000"/>
            <a:chOff x="8342489" y="1970656"/>
            <a:chExt cx="329184" cy="329184"/>
          </a:xfrm>
        </p:grpSpPr>
        <p:sp>
          <p:nvSpPr>
            <p:cNvPr id="159" name="Oval 53">
              <a:extLst>
                <a:ext uri="{FF2B5EF4-FFF2-40B4-BE49-F238E27FC236}">
                  <a16:creationId xmlns:a16="http://schemas.microsoft.com/office/drawing/2014/main" id="{FBD0DC11-3CD1-4253-8A15-84F8DB95FF2B}"/>
                </a:ext>
              </a:extLst>
            </p:cNvPr>
            <p:cNvSpPr/>
            <p:nvPr/>
          </p:nvSpPr>
          <p:spPr>
            <a:xfrm>
              <a:off x="8342489" y="1970656"/>
              <a:ext cx="329184" cy="329184"/>
            </a:xfrm>
            <a:prstGeom prst="ellipse">
              <a:avLst/>
            </a:prstGeom>
            <a:solidFill>
              <a:srgbClr val="62366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60" name="Shopping_cart" descr="{&quot;Key&quot;:&quot;POWER_USER_SHAPE_ICON&quot;,&quot;Value&quot;:&quot;POWER_USER_SHAPE_ICON_STYLE_1&quot;}">
              <a:extLst>
                <a:ext uri="{FF2B5EF4-FFF2-40B4-BE49-F238E27FC236}">
                  <a16:creationId xmlns:a16="http://schemas.microsoft.com/office/drawing/2014/main" id="{D74498AC-CEF9-4E20-8A30-5D2B36499BCF}"/>
                </a:ext>
              </a:extLst>
            </p:cNvPr>
            <p:cNvGrpSpPr>
              <a:grpSpLocks noChangeAspect="1"/>
            </p:cNvGrpSpPr>
            <p:nvPr>
              <p:custDataLst>
                <p:tags r:id="rId4"/>
              </p:custDataLst>
            </p:nvPr>
          </p:nvGrpSpPr>
          <p:grpSpPr>
            <a:xfrm>
              <a:off x="8380012" y="2028686"/>
              <a:ext cx="235088" cy="232174"/>
              <a:chOff x="4646614" y="2062164"/>
              <a:chExt cx="384175" cy="379413"/>
            </a:xfrm>
            <a:solidFill>
              <a:schemeClr val="bg1"/>
            </a:solidFill>
          </p:grpSpPr>
          <p:sp>
            <p:nvSpPr>
              <p:cNvPr id="161" name="Freeform 198">
                <a:extLst>
                  <a:ext uri="{FF2B5EF4-FFF2-40B4-BE49-F238E27FC236}">
                    <a16:creationId xmlns:a16="http://schemas.microsoft.com/office/drawing/2014/main" id="{F45E0F05-8135-4AA1-B70C-42DD1BF22315}"/>
                  </a:ext>
                </a:extLst>
              </p:cNvPr>
              <p:cNvSpPr>
                <a:spLocks noEditPoints="1"/>
              </p:cNvSpPr>
              <p:nvPr/>
            </p:nvSpPr>
            <p:spPr bwMode="auto">
              <a:xfrm>
                <a:off x="4773614" y="2386014"/>
                <a:ext cx="55563" cy="55563"/>
              </a:xfrm>
              <a:custGeom>
                <a:avLst/>
                <a:gdLst>
                  <a:gd name="T0" fmla="*/ 40 w 80"/>
                  <a:gd name="T1" fmla="*/ 55 h 80"/>
                  <a:gd name="T2" fmla="*/ 25 w 80"/>
                  <a:gd name="T3" fmla="*/ 40 h 80"/>
                  <a:gd name="T4" fmla="*/ 40 w 80"/>
                  <a:gd name="T5" fmla="*/ 25 h 80"/>
                  <a:gd name="T6" fmla="*/ 55 w 80"/>
                  <a:gd name="T7" fmla="*/ 40 h 80"/>
                  <a:gd name="T8" fmla="*/ 40 w 80"/>
                  <a:gd name="T9" fmla="*/ 55 h 80"/>
                  <a:gd name="T10" fmla="*/ 40 w 80"/>
                  <a:gd name="T11" fmla="*/ 0 h 80"/>
                  <a:gd name="T12" fmla="*/ 0 w 80"/>
                  <a:gd name="T13" fmla="*/ 40 h 80"/>
                  <a:gd name="T14" fmla="*/ 40 w 80"/>
                  <a:gd name="T15" fmla="*/ 80 h 80"/>
                  <a:gd name="T16" fmla="*/ 80 w 80"/>
                  <a:gd name="T17" fmla="*/ 40 h 80"/>
                  <a:gd name="T18" fmla="*/ 40 w 80"/>
                  <a:gd name="T19"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0" h="80">
                    <a:moveTo>
                      <a:pt x="40" y="55"/>
                    </a:moveTo>
                    <a:cubicBezTo>
                      <a:pt x="32" y="55"/>
                      <a:pt x="25" y="48"/>
                      <a:pt x="25" y="40"/>
                    </a:cubicBezTo>
                    <a:cubicBezTo>
                      <a:pt x="25" y="32"/>
                      <a:pt x="32" y="25"/>
                      <a:pt x="40" y="25"/>
                    </a:cubicBezTo>
                    <a:cubicBezTo>
                      <a:pt x="48" y="25"/>
                      <a:pt x="55" y="32"/>
                      <a:pt x="55" y="40"/>
                    </a:cubicBezTo>
                    <a:cubicBezTo>
                      <a:pt x="55" y="48"/>
                      <a:pt x="48" y="55"/>
                      <a:pt x="40" y="55"/>
                    </a:cubicBezTo>
                    <a:close/>
                    <a:moveTo>
                      <a:pt x="40" y="0"/>
                    </a:moveTo>
                    <a:cubicBezTo>
                      <a:pt x="18" y="0"/>
                      <a:pt x="0" y="18"/>
                      <a:pt x="0" y="40"/>
                    </a:cubicBezTo>
                    <a:cubicBezTo>
                      <a:pt x="0" y="62"/>
                      <a:pt x="18" y="80"/>
                      <a:pt x="40" y="80"/>
                    </a:cubicBezTo>
                    <a:cubicBezTo>
                      <a:pt x="62" y="80"/>
                      <a:pt x="80" y="62"/>
                      <a:pt x="80" y="40"/>
                    </a:cubicBezTo>
                    <a:cubicBezTo>
                      <a:pt x="80" y="18"/>
                      <a:pt x="62" y="0"/>
                      <a:pt x="40"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2" name="Freeform 199">
                <a:extLst>
                  <a:ext uri="{FF2B5EF4-FFF2-40B4-BE49-F238E27FC236}">
                    <a16:creationId xmlns:a16="http://schemas.microsoft.com/office/drawing/2014/main" id="{0F0A2D5B-4C58-4EC3-9F7E-F7E57B5B7F18}"/>
                  </a:ext>
                </a:extLst>
              </p:cNvPr>
              <p:cNvSpPr>
                <a:spLocks noEditPoints="1"/>
              </p:cNvSpPr>
              <p:nvPr/>
            </p:nvSpPr>
            <p:spPr bwMode="auto">
              <a:xfrm>
                <a:off x="4929189" y="2386014"/>
                <a:ext cx="55563" cy="55563"/>
              </a:xfrm>
              <a:custGeom>
                <a:avLst/>
                <a:gdLst>
                  <a:gd name="T0" fmla="*/ 40 w 80"/>
                  <a:gd name="T1" fmla="*/ 55 h 80"/>
                  <a:gd name="T2" fmla="*/ 25 w 80"/>
                  <a:gd name="T3" fmla="*/ 40 h 80"/>
                  <a:gd name="T4" fmla="*/ 40 w 80"/>
                  <a:gd name="T5" fmla="*/ 25 h 80"/>
                  <a:gd name="T6" fmla="*/ 55 w 80"/>
                  <a:gd name="T7" fmla="*/ 40 h 80"/>
                  <a:gd name="T8" fmla="*/ 40 w 80"/>
                  <a:gd name="T9" fmla="*/ 55 h 80"/>
                  <a:gd name="T10" fmla="*/ 40 w 80"/>
                  <a:gd name="T11" fmla="*/ 0 h 80"/>
                  <a:gd name="T12" fmla="*/ 0 w 80"/>
                  <a:gd name="T13" fmla="*/ 40 h 80"/>
                  <a:gd name="T14" fmla="*/ 40 w 80"/>
                  <a:gd name="T15" fmla="*/ 80 h 80"/>
                  <a:gd name="T16" fmla="*/ 80 w 80"/>
                  <a:gd name="T17" fmla="*/ 40 h 80"/>
                  <a:gd name="T18" fmla="*/ 40 w 80"/>
                  <a:gd name="T19"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0" h="80">
                    <a:moveTo>
                      <a:pt x="40" y="55"/>
                    </a:moveTo>
                    <a:cubicBezTo>
                      <a:pt x="32" y="55"/>
                      <a:pt x="25" y="48"/>
                      <a:pt x="25" y="40"/>
                    </a:cubicBezTo>
                    <a:cubicBezTo>
                      <a:pt x="25" y="32"/>
                      <a:pt x="32" y="25"/>
                      <a:pt x="40" y="25"/>
                    </a:cubicBezTo>
                    <a:cubicBezTo>
                      <a:pt x="48" y="25"/>
                      <a:pt x="55" y="32"/>
                      <a:pt x="55" y="40"/>
                    </a:cubicBezTo>
                    <a:cubicBezTo>
                      <a:pt x="55" y="48"/>
                      <a:pt x="48" y="55"/>
                      <a:pt x="40" y="55"/>
                    </a:cubicBezTo>
                    <a:close/>
                    <a:moveTo>
                      <a:pt x="40" y="0"/>
                    </a:moveTo>
                    <a:cubicBezTo>
                      <a:pt x="18" y="0"/>
                      <a:pt x="0" y="18"/>
                      <a:pt x="0" y="40"/>
                    </a:cubicBezTo>
                    <a:cubicBezTo>
                      <a:pt x="0" y="62"/>
                      <a:pt x="18" y="80"/>
                      <a:pt x="40" y="80"/>
                    </a:cubicBezTo>
                    <a:cubicBezTo>
                      <a:pt x="62" y="80"/>
                      <a:pt x="80" y="62"/>
                      <a:pt x="80" y="40"/>
                    </a:cubicBezTo>
                    <a:cubicBezTo>
                      <a:pt x="80" y="18"/>
                      <a:pt x="62" y="0"/>
                      <a:pt x="40"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3" name="Freeform 200">
                <a:extLst>
                  <a:ext uri="{FF2B5EF4-FFF2-40B4-BE49-F238E27FC236}">
                    <a16:creationId xmlns:a16="http://schemas.microsoft.com/office/drawing/2014/main" id="{AC026C2F-C404-4711-A430-A97C0D4351AA}"/>
                  </a:ext>
                </a:extLst>
              </p:cNvPr>
              <p:cNvSpPr>
                <a:spLocks noEditPoints="1"/>
              </p:cNvSpPr>
              <p:nvPr/>
            </p:nvSpPr>
            <p:spPr bwMode="auto">
              <a:xfrm>
                <a:off x="4646614" y="2062164"/>
                <a:ext cx="384175" cy="311150"/>
              </a:xfrm>
              <a:custGeom>
                <a:avLst/>
                <a:gdLst>
                  <a:gd name="T0" fmla="*/ 465 w 554"/>
                  <a:gd name="T1" fmla="*/ 168 h 450"/>
                  <a:gd name="T2" fmla="*/ 530 w 554"/>
                  <a:gd name="T3" fmla="*/ 88 h 450"/>
                  <a:gd name="T4" fmla="*/ 483 w 554"/>
                  <a:gd name="T5" fmla="*/ 257 h 450"/>
                  <a:gd name="T6" fmla="*/ 447 w 554"/>
                  <a:gd name="T7" fmla="*/ 273 h 450"/>
                  <a:gd name="T8" fmla="*/ 505 w 554"/>
                  <a:gd name="T9" fmla="*/ 177 h 450"/>
                  <a:gd name="T10" fmla="*/ 432 w 554"/>
                  <a:gd name="T11" fmla="*/ 273 h 450"/>
                  <a:gd name="T12" fmla="*/ 407 w 554"/>
                  <a:gd name="T13" fmla="*/ 177 h 450"/>
                  <a:gd name="T14" fmla="*/ 432 w 554"/>
                  <a:gd name="T15" fmla="*/ 273 h 450"/>
                  <a:gd name="T16" fmla="*/ 352 w 554"/>
                  <a:gd name="T17" fmla="*/ 88 h 450"/>
                  <a:gd name="T18" fmla="*/ 393 w 554"/>
                  <a:gd name="T19" fmla="*/ 168 h 450"/>
                  <a:gd name="T20" fmla="*/ 383 w 554"/>
                  <a:gd name="T21" fmla="*/ 273 h 450"/>
                  <a:gd name="T22" fmla="*/ 352 w 554"/>
                  <a:gd name="T23" fmla="*/ 177 h 450"/>
                  <a:gd name="T24" fmla="*/ 383 w 554"/>
                  <a:gd name="T25" fmla="*/ 273 h 450"/>
                  <a:gd name="T26" fmla="*/ 297 w 554"/>
                  <a:gd name="T27" fmla="*/ 168 h 450"/>
                  <a:gd name="T28" fmla="*/ 337 w 554"/>
                  <a:gd name="T29" fmla="*/ 88 h 450"/>
                  <a:gd name="T30" fmla="*/ 337 w 554"/>
                  <a:gd name="T31" fmla="*/ 273 h 450"/>
                  <a:gd name="T32" fmla="*/ 298 w 554"/>
                  <a:gd name="T33" fmla="*/ 177 h 450"/>
                  <a:gd name="T34" fmla="*/ 337 w 554"/>
                  <a:gd name="T35" fmla="*/ 273 h 450"/>
                  <a:gd name="T36" fmla="*/ 242 w 554"/>
                  <a:gd name="T37" fmla="*/ 177 h 450"/>
                  <a:gd name="T38" fmla="*/ 292 w 554"/>
                  <a:gd name="T39" fmla="*/ 273 h 450"/>
                  <a:gd name="T40" fmla="*/ 210 w 554"/>
                  <a:gd name="T41" fmla="*/ 273 h 450"/>
                  <a:gd name="T42" fmla="*/ 227 w 554"/>
                  <a:gd name="T43" fmla="*/ 177 h 450"/>
                  <a:gd name="T44" fmla="*/ 210 w 554"/>
                  <a:gd name="T45" fmla="*/ 273 h 450"/>
                  <a:gd name="T46" fmla="*/ 157 w 554"/>
                  <a:gd name="T47" fmla="*/ 268 h 450"/>
                  <a:gd name="T48" fmla="*/ 173 w 554"/>
                  <a:gd name="T49" fmla="*/ 177 h 450"/>
                  <a:gd name="T50" fmla="*/ 170 w 554"/>
                  <a:gd name="T51" fmla="*/ 273 h 450"/>
                  <a:gd name="T52" fmla="*/ 106 w 554"/>
                  <a:gd name="T53" fmla="*/ 88 h 450"/>
                  <a:gd name="T54" fmla="*/ 171 w 554"/>
                  <a:gd name="T55" fmla="*/ 168 h 450"/>
                  <a:gd name="T56" fmla="*/ 126 w 554"/>
                  <a:gd name="T57" fmla="*/ 156 h 450"/>
                  <a:gd name="T58" fmla="*/ 225 w 554"/>
                  <a:gd name="T59" fmla="*/ 168 h 450"/>
                  <a:gd name="T60" fmla="*/ 168 w 554"/>
                  <a:gd name="T61" fmla="*/ 88 h 450"/>
                  <a:gd name="T62" fmla="*/ 274 w 554"/>
                  <a:gd name="T63" fmla="*/ 88 h 450"/>
                  <a:gd name="T64" fmla="*/ 241 w 554"/>
                  <a:gd name="T65" fmla="*/ 168 h 450"/>
                  <a:gd name="T66" fmla="*/ 274 w 554"/>
                  <a:gd name="T67" fmla="*/ 88 h 450"/>
                  <a:gd name="T68" fmla="*/ 462 w 554"/>
                  <a:gd name="T69" fmla="*/ 88 h 450"/>
                  <a:gd name="T70" fmla="*/ 408 w 554"/>
                  <a:gd name="T71" fmla="*/ 168 h 450"/>
                  <a:gd name="T72" fmla="*/ 24 w 554"/>
                  <a:gd name="T73" fmla="*/ 29 h 450"/>
                  <a:gd name="T74" fmla="*/ 19 w 554"/>
                  <a:gd name="T75" fmla="*/ 13 h 450"/>
                  <a:gd name="T76" fmla="*/ 24 w 554"/>
                  <a:gd name="T77" fmla="*/ 29 h 450"/>
                  <a:gd name="T78" fmla="*/ 110 w 554"/>
                  <a:gd name="T79" fmla="*/ 63 h 450"/>
                  <a:gd name="T80" fmla="*/ 91 w 554"/>
                  <a:gd name="T81" fmla="*/ 34 h 450"/>
                  <a:gd name="T82" fmla="*/ 39 w 554"/>
                  <a:gd name="T83" fmla="*/ 12 h 450"/>
                  <a:gd name="T84" fmla="*/ 3 w 554"/>
                  <a:gd name="T85" fmla="*/ 27 h 450"/>
                  <a:gd name="T86" fmla="*/ 38 w 554"/>
                  <a:gd name="T87" fmla="*/ 31 h 450"/>
                  <a:gd name="T88" fmla="*/ 67 w 554"/>
                  <a:gd name="T89" fmla="*/ 40 h 450"/>
                  <a:gd name="T90" fmla="*/ 209 w 554"/>
                  <a:gd name="T91" fmla="*/ 450 h 450"/>
                  <a:gd name="T92" fmla="*/ 496 w 554"/>
                  <a:gd name="T93" fmla="*/ 437 h 450"/>
                  <a:gd name="T94" fmla="*/ 212 w 554"/>
                  <a:gd name="T95" fmla="*/ 420 h 450"/>
                  <a:gd name="T96" fmla="*/ 168 w 554"/>
                  <a:gd name="T97" fmla="*/ 309 h 450"/>
                  <a:gd name="T98" fmla="*/ 451 w 554"/>
                  <a:gd name="T99" fmla="*/ 314 h 450"/>
                  <a:gd name="T100" fmla="*/ 552 w 554"/>
                  <a:gd name="T101" fmla="*/ 88 h 4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54" h="450">
                    <a:moveTo>
                      <a:pt x="508" y="168"/>
                    </a:moveTo>
                    <a:lnTo>
                      <a:pt x="465" y="168"/>
                    </a:lnTo>
                    <a:lnTo>
                      <a:pt x="478" y="88"/>
                    </a:lnTo>
                    <a:lnTo>
                      <a:pt x="530" y="88"/>
                    </a:lnTo>
                    <a:lnTo>
                      <a:pt x="508" y="168"/>
                    </a:lnTo>
                    <a:close/>
                    <a:moveTo>
                      <a:pt x="483" y="257"/>
                    </a:moveTo>
                    <a:cubicBezTo>
                      <a:pt x="480" y="265"/>
                      <a:pt x="471" y="273"/>
                      <a:pt x="462" y="273"/>
                    </a:cubicBezTo>
                    <a:lnTo>
                      <a:pt x="447" y="273"/>
                    </a:lnTo>
                    <a:lnTo>
                      <a:pt x="463" y="177"/>
                    </a:lnTo>
                    <a:lnTo>
                      <a:pt x="505" y="177"/>
                    </a:lnTo>
                    <a:lnTo>
                      <a:pt x="483" y="257"/>
                    </a:lnTo>
                    <a:close/>
                    <a:moveTo>
                      <a:pt x="432" y="273"/>
                    </a:moveTo>
                    <a:lnTo>
                      <a:pt x="398" y="273"/>
                    </a:lnTo>
                    <a:lnTo>
                      <a:pt x="407" y="177"/>
                    </a:lnTo>
                    <a:lnTo>
                      <a:pt x="447" y="177"/>
                    </a:lnTo>
                    <a:lnTo>
                      <a:pt x="432" y="273"/>
                    </a:lnTo>
                    <a:close/>
                    <a:moveTo>
                      <a:pt x="352" y="168"/>
                    </a:moveTo>
                    <a:lnTo>
                      <a:pt x="352" y="88"/>
                    </a:lnTo>
                    <a:lnTo>
                      <a:pt x="401" y="88"/>
                    </a:lnTo>
                    <a:lnTo>
                      <a:pt x="393" y="168"/>
                    </a:lnTo>
                    <a:lnTo>
                      <a:pt x="352" y="168"/>
                    </a:lnTo>
                    <a:close/>
                    <a:moveTo>
                      <a:pt x="383" y="273"/>
                    </a:moveTo>
                    <a:lnTo>
                      <a:pt x="352" y="273"/>
                    </a:lnTo>
                    <a:lnTo>
                      <a:pt x="352" y="177"/>
                    </a:lnTo>
                    <a:lnTo>
                      <a:pt x="392" y="177"/>
                    </a:lnTo>
                    <a:lnTo>
                      <a:pt x="383" y="273"/>
                    </a:lnTo>
                    <a:close/>
                    <a:moveTo>
                      <a:pt x="337" y="168"/>
                    </a:moveTo>
                    <a:lnTo>
                      <a:pt x="297" y="168"/>
                    </a:lnTo>
                    <a:lnTo>
                      <a:pt x="289" y="88"/>
                    </a:lnTo>
                    <a:lnTo>
                      <a:pt x="337" y="88"/>
                    </a:lnTo>
                    <a:lnTo>
                      <a:pt x="337" y="168"/>
                    </a:lnTo>
                    <a:close/>
                    <a:moveTo>
                      <a:pt x="337" y="273"/>
                    </a:moveTo>
                    <a:lnTo>
                      <a:pt x="307" y="273"/>
                    </a:lnTo>
                    <a:lnTo>
                      <a:pt x="298" y="177"/>
                    </a:lnTo>
                    <a:lnTo>
                      <a:pt x="337" y="177"/>
                    </a:lnTo>
                    <a:lnTo>
                      <a:pt x="337" y="273"/>
                    </a:lnTo>
                    <a:close/>
                    <a:moveTo>
                      <a:pt x="258" y="273"/>
                    </a:moveTo>
                    <a:lnTo>
                      <a:pt x="242" y="177"/>
                    </a:lnTo>
                    <a:lnTo>
                      <a:pt x="282" y="177"/>
                    </a:lnTo>
                    <a:lnTo>
                      <a:pt x="292" y="273"/>
                    </a:lnTo>
                    <a:lnTo>
                      <a:pt x="258" y="273"/>
                    </a:lnTo>
                    <a:close/>
                    <a:moveTo>
                      <a:pt x="210" y="273"/>
                    </a:moveTo>
                    <a:lnTo>
                      <a:pt x="188" y="177"/>
                    </a:lnTo>
                    <a:lnTo>
                      <a:pt x="227" y="177"/>
                    </a:lnTo>
                    <a:lnTo>
                      <a:pt x="242" y="273"/>
                    </a:lnTo>
                    <a:lnTo>
                      <a:pt x="210" y="273"/>
                    </a:lnTo>
                    <a:close/>
                    <a:moveTo>
                      <a:pt x="170" y="273"/>
                    </a:moveTo>
                    <a:cubicBezTo>
                      <a:pt x="165" y="273"/>
                      <a:pt x="161" y="271"/>
                      <a:pt x="157" y="268"/>
                    </a:cubicBezTo>
                    <a:cubicBezTo>
                      <a:pt x="150" y="244"/>
                      <a:pt x="141" y="211"/>
                      <a:pt x="131" y="177"/>
                    </a:cubicBezTo>
                    <a:lnTo>
                      <a:pt x="173" y="177"/>
                    </a:lnTo>
                    <a:lnTo>
                      <a:pt x="194" y="273"/>
                    </a:lnTo>
                    <a:lnTo>
                      <a:pt x="170" y="273"/>
                    </a:lnTo>
                    <a:close/>
                    <a:moveTo>
                      <a:pt x="126" y="156"/>
                    </a:moveTo>
                    <a:cubicBezTo>
                      <a:pt x="119" y="133"/>
                      <a:pt x="112" y="109"/>
                      <a:pt x="106" y="88"/>
                    </a:cubicBezTo>
                    <a:lnTo>
                      <a:pt x="153" y="88"/>
                    </a:lnTo>
                    <a:lnTo>
                      <a:pt x="171" y="168"/>
                    </a:lnTo>
                    <a:lnTo>
                      <a:pt x="129" y="168"/>
                    </a:lnTo>
                    <a:cubicBezTo>
                      <a:pt x="128" y="164"/>
                      <a:pt x="127" y="160"/>
                      <a:pt x="126" y="156"/>
                    </a:cubicBezTo>
                    <a:close/>
                    <a:moveTo>
                      <a:pt x="212" y="88"/>
                    </a:moveTo>
                    <a:lnTo>
                      <a:pt x="225" y="168"/>
                    </a:lnTo>
                    <a:lnTo>
                      <a:pt x="186" y="168"/>
                    </a:lnTo>
                    <a:lnTo>
                      <a:pt x="168" y="88"/>
                    </a:lnTo>
                    <a:lnTo>
                      <a:pt x="212" y="88"/>
                    </a:lnTo>
                    <a:close/>
                    <a:moveTo>
                      <a:pt x="274" y="88"/>
                    </a:moveTo>
                    <a:lnTo>
                      <a:pt x="281" y="168"/>
                    </a:lnTo>
                    <a:lnTo>
                      <a:pt x="241" y="168"/>
                    </a:lnTo>
                    <a:lnTo>
                      <a:pt x="228" y="88"/>
                    </a:lnTo>
                    <a:lnTo>
                      <a:pt x="274" y="88"/>
                    </a:lnTo>
                    <a:close/>
                    <a:moveTo>
                      <a:pt x="416" y="88"/>
                    </a:moveTo>
                    <a:lnTo>
                      <a:pt x="462" y="88"/>
                    </a:lnTo>
                    <a:lnTo>
                      <a:pt x="449" y="168"/>
                    </a:lnTo>
                    <a:lnTo>
                      <a:pt x="408" y="168"/>
                    </a:lnTo>
                    <a:lnTo>
                      <a:pt x="416" y="88"/>
                    </a:lnTo>
                    <a:close/>
                    <a:moveTo>
                      <a:pt x="24" y="29"/>
                    </a:moveTo>
                    <a:cubicBezTo>
                      <a:pt x="19" y="31"/>
                      <a:pt x="15" y="28"/>
                      <a:pt x="13" y="24"/>
                    </a:cubicBezTo>
                    <a:cubicBezTo>
                      <a:pt x="12" y="19"/>
                      <a:pt x="14" y="14"/>
                      <a:pt x="19" y="13"/>
                    </a:cubicBezTo>
                    <a:cubicBezTo>
                      <a:pt x="24" y="12"/>
                      <a:pt x="28" y="14"/>
                      <a:pt x="30" y="19"/>
                    </a:cubicBezTo>
                    <a:cubicBezTo>
                      <a:pt x="31" y="23"/>
                      <a:pt x="29" y="28"/>
                      <a:pt x="24" y="29"/>
                    </a:cubicBezTo>
                    <a:close/>
                    <a:moveTo>
                      <a:pt x="533" y="63"/>
                    </a:moveTo>
                    <a:lnTo>
                      <a:pt x="110" y="63"/>
                    </a:lnTo>
                    <a:cubicBezTo>
                      <a:pt x="106" y="63"/>
                      <a:pt x="103" y="63"/>
                      <a:pt x="100" y="65"/>
                    </a:cubicBezTo>
                    <a:cubicBezTo>
                      <a:pt x="99" y="61"/>
                      <a:pt x="94" y="44"/>
                      <a:pt x="91" y="34"/>
                    </a:cubicBezTo>
                    <a:cubicBezTo>
                      <a:pt x="88" y="22"/>
                      <a:pt x="79" y="12"/>
                      <a:pt x="64" y="12"/>
                    </a:cubicBezTo>
                    <a:cubicBezTo>
                      <a:pt x="61" y="12"/>
                      <a:pt x="40" y="12"/>
                      <a:pt x="39" y="12"/>
                    </a:cubicBezTo>
                    <a:cubicBezTo>
                      <a:pt x="34" y="4"/>
                      <a:pt x="25" y="0"/>
                      <a:pt x="16" y="2"/>
                    </a:cubicBezTo>
                    <a:cubicBezTo>
                      <a:pt x="5" y="6"/>
                      <a:pt x="0" y="16"/>
                      <a:pt x="3" y="27"/>
                    </a:cubicBezTo>
                    <a:cubicBezTo>
                      <a:pt x="6" y="37"/>
                      <a:pt x="17" y="43"/>
                      <a:pt x="27" y="40"/>
                    </a:cubicBezTo>
                    <a:cubicBezTo>
                      <a:pt x="32" y="39"/>
                      <a:pt x="36" y="35"/>
                      <a:pt x="38" y="31"/>
                    </a:cubicBezTo>
                    <a:cubicBezTo>
                      <a:pt x="40" y="31"/>
                      <a:pt x="52" y="31"/>
                      <a:pt x="54" y="31"/>
                    </a:cubicBezTo>
                    <a:cubicBezTo>
                      <a:pt x="63" y="31"/>
                      <a:pt x="65" y="33"/>
                      <a:pt x="67" y="40"/>
                    </a:cubicBezTo>
                    <a:cubicBezTo>
                      <a:pt x="73" y="61"/>
                      <a:pt x="165" y="388"/>
                      <a:pt x="171" y="409"/>
                    </a:cubicBezTo>
                    <a:cubicBezTo>
                      <a:pt x="180" y="439"/>
                      <a:pt x="194" y="450"/>
                      <a:pt x="209" y="450"/>
                    </a:cubicBezTo>
                    <a:lnTo>
                      <a:pt x="483" y="450"/>
                    </a:lnTo>
                    <a:cubicBezTo>
                      <a:pt x="492" y="450"/>
                      <a:pt x="496" y="441"/>
                      <a:pt x="496" y="437"/>
                    </a:cubicBezTo>
                    <a:cubicBezTo>
                      <a:pt x="498" y="423"/>
                      <a:pt x="486" y="420"/>
                      <a:pt x="480" y="420"/>
                    </a:cubicBezTo>
                    <a:lnTo>
                      <a:pt x="212" y="420"/>
                    </a:lnTo>
                    <a:cubicBezTo>
                      <a:pt x="205" y="420"/>
                      <a:pt x="198" y="415"/>
                      <a:pt x="196" y="408"/>
                    </a:cubicBezTo>
                    <a:cubicBezTo>
                      <a:pt x="195" y="404"/>
                      <a:pt x="170" y="315"/>
                      <a:pt x="168" y="309"/>
                    </a:cubicBezTo>
                    <a:cubicBezTo>
                      <a:pt x="174" y="315"/>
                      <a:pt x="179" y="314"/>
                      <a:pt x="182" y="314"/>
                    </a:cubicBezTo>
                    <a:lnTo>
                      <a:pt x="451" y="314"/>
                    </a:lnTo>
                    <a:cubicBezTo>
                      <a:pt x="486" y="314"/>
                      <a:pt x="500" y="272"/>
                      <a:pt x="503" y="259"/>
                    </a:cubicBezTo>
                    <a:lnTo>
                      <a:pt x="552" y="88"/>
                    </a:lnTo>
                    <a:cubicBezTo>
                      <a:pt x="554" y="81"/>
                      <a:pt x="552" y="63"/>
                      <a:pt x="533" y="63"/>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
        <p:nvSpPr>
          <p:cNvPr id="7" name="Paginanummer Seinpost">
            <a:extLst>
              <a:ext uri="{FF2B5EF4-FFF2-40B4-BE49-F238E27FC236}">
                <a16:creationId xmlns:a16="http://schemas.microsoft.com/office/drawing/2014/main" id="{51EEED3B-BBBB-4F78-B14F-C2E8FF09C406}"/>
              </a:ext>
            </a:extLst>
          </p:cNvPr>
          <p:cNvSpPr txBox="1">
            <a:spLocks/>
          </p:cNvSpPr>
          <p:nvPr>
            <p:custDataLst>
              <p:tags r:id="rId1"/>
            </p:custDataLst>
          </p:nvPr>
        </p:nvSpPr>
        <p:spPr>
          <a:xfrm>
            <a:off x="11628018" y="252000"/>
            <a:ext cx="381601" cy="244800"/>
          </a:xfrm>
          <a:prstGeom prst="rect">
            <a:avLst/>
          </a:prstGeom>
          <a:noFill/>
        </p:spPr>
        <p:txBody>
          <a:bodyPr vert="horz" lIns="0" tIns="0" rIns="0" bIns="0" rtlCol="0" anchor="t">
            <a:noAutofit/>
          </a:bodyPr>
          <a:lstStyle/>
          <a:p>
            <a:pPr algn="ctr"/>
            <a:r>
              <a:rPr lang="nl-NL" sz="1000" b="1">
                <a:solidFill>
                  <a:srgbClr val="62366E"/>
                </a:solidFill>
                <a:latin typeface="Open Sans" panose="020B0606030504020204" pitchFamily="34" charset="0"/>
              </a:rPr>
              <a:t>17</a:t>
            </a:r>
          </a:p>
        </p:txBody>
      </p:sp>
      <p:pic>
        <p:nvPicPr>
          <p:cNvPr id="9" name="Paginanummer Seinpost">
            <a:extLst>
              <a:ext uri="{FF2B5EF4-FFF2-40B4-BE49-F238E27FC236}">
                <a16:creationId xmlns:a16="http://schemas.microsoft.com/office/drawing/2014/main" id="{D5655FF8-5848-4288-AF28-08FE48C3819F}"/>
              </a:ext>
            </a:extLst>
          </p:cNvPr>
          <p:cNvPicPr>
            <a:picLocks noChangeAspect="1"/>
          </p:cNvPicPr>
          <p:nvPr>
            <p:custDataLst>
              <p:tags r:id="rId2"/>
            </p:custDataLst>
          </p:nvPr>
        </p:nvPicPr>
        <p:blipFill>
          <a:blip r:embed="rId19">
            <a:extLst>
              <a:ext uri="{28A0092B-C50C-407E-A947-70E740481C1C}">
                <a14:useLocalDpi xmlns:a14="http://schemas.microsoft.com/office/drawing/2010/main" val="0"/>
              </a:ext>
            </a:extLst>
          </a:blip>
          <a:stretch>
            <a:fillRect/>
          </a:stretch>
        </p:blipFill>
        <p:spPr>
          <a:xfrm>
            <a:off x="11674818" y="172800"/>
            <a:ext cx="298705" cy="289561"/>
          </a:xfrm>
          <a:prstGeom prst="rect">
            <a:avLst/>
          </a:prstGeom>
        </p:spPr>
      </p:pic>
      <p:sp>
        <p:nvSpPr>
          <p:cNvPr id="10" name="Paginanummer Seinpost">
            <a:extLst>
              <a:ext uri="{FF2B5EF4-FFF2-40B4-BE49-F238E27FC236}">
                <a16:creationId xmlns:a16="http://schemas.microsoft.com/office/drawing/2014/main" id="{11D0582B-30E8-4D7C-BDDF-CD34EC6D977E}"/>
              </a:ext>
            </a:extLst>
          </p:cNvPr>
          <p:cNvSpPr txBox="1">
            <a:spLocks/>
          </p:cNvSpPr>
          <p:nvPr>
            <p:custDataLst>
              <p:tags r:id="rId3"/>
            </p:custDataLst>
          </p:nvPr>
        </p:nvSpPr>
        <p:spPr>
          <a:xfrm>
            <a:off x="11628018" y="252000"/>
            <a:ext cx="381601" cy="244800"/>
          </a:xfrm>
          <a:prstGeom prst="rect">
            <a:avLst/>
          </a:prstGeom>
          <a:noFill/>
        </p:spPr>
        <p:txBody>
          <a:bodyPr vert="horz" lIns="0" tIns="0" rIns="0" bIns="0" rtlCol="0" anchor="t">
            <a:noAutofit/>
          </a:bodyPr>
          <a:lstStyle/>
          <a:p>
            <a:pPr algn="ctr"/>
            <a:r>
              <a:rPr lang="nl-NL" sz="1000" b="1">
                <a:solidFill>
                  <a:srgbClr val="62366E"/>
                </a:solidFill>
                <a:latin typeface="Open Sans" panose="020B0606030504020204" pitchFamily="34" charset="0"/>
              </a:rPr>
              <a:t>16</a:t>
            </a:r>
          </a:p>
        </p:txBody>
      </p:sp>
    </p:spTree>
    <p:extLst>
      <p:ext uri="{BB962C8B-B14F-4D97-AF65-F5344CB8AC3E}">
        <p14:creationId xmlns:p14="http://schemas.microsoft.com/office/powerpoint/2010/main" val="76890290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73">
                                            <p:txEl>
                                              <p:pRg st="1" end="1"/>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73">
                                            <p:txEl>
                                              <p:pRg st="3" end="3"/>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173">
                                            <p:txEl>
                                              <p:pRg st="4" end="4"/>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73">
                                            <p:txEl>
                                              <p:pRg st="6" end="6"/>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173">
                                            <p:txEl>
                                              <p:pRg st="7" end="7"/>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173">
                                            <p:txEl>
                                              <p:pRg st="9" end="9"/>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8" name="Tekstvak 237">
            <a:extLst>
              <a:ext uri="{FF2B5EF4-FFF2-40B4-BE49-F238E27FC236}">
                <a16:creationId xmlns:a16="http://schemas.microsoft.com/office/drawing/2014/main" id="{48AA6942-0BEF-4711-A23A-163813153208}"/>
              </a:ext>
            </a:extLst>
          </p:cNvPr>
          <p:cNvSpPr txBox="1"/>
          <p:nvPr/>
        </p:nvSpPr>
        <p:spPr>
          <a:xfrm>
            <a:off x="372606" y="810297"/>
            <a:ext cx="5560558" cy="5878532"/>
          </a:xfrm>
          <a:prstGeom prst="rect">
            <a:avLst/>
          </a:prstGeom>
          <a:noFill/>
        </p:spPr>
        <p:txBody>
          <a:bodyPr wrap="square" rtlCol="0">
            <a:spAutoFit/>
          </a:bodyPr>
          <a:lstStyle/>
          <a:p>
            <a:pPr marL="285750" indent="-285750">
              <a:buFont typeface="Arial" panose="020B0604020202020204" pitchFamily="34" charset="0"/>
              <a:buChar char="•"/>
            </a:pPr>
            <a:endParaRPr lang="nl-NL" sz="1600" dirty="0">
              <a:latin typeface="+mj-lt"/>
            </a:endParaRPr>
          </a:p>
          <a:p>
            <a:pPr>
              <a:lnSpc>
                <a:spcPts val="1600"/>
              </a:lnSpc>
            </a:pPr>
            <a:endParaRPr lang="nl-NL" sz="1600" b="1" dirty="0">
              <a:latin typeface="+mj-lt"/>
            </a:endParaRPr>
          </a:p>
          <a:p>
            <a:pPr>
              <a:lnSpc>
                <a:spcPts val="1600"/>
              </a:lnSpc>
            </a:pPr>
            <a:r>
              <a:rPr lang="nl-NL" sz="1600" b="1" dirty="0">
                <a:latin typeface="+mj-lt"/>
              </a:rPr>
              <a:t>Ontwikkelrichting</a:t>
            </a:r>
          </a:p>
          <a:p>
            <a:pPr marL="285750" indent="-285750">
              <a:lnSpc>
                <a:spcPts val="1600"/>
              </a:lnSpc>
              <a:buFont typeface="Arial" panose="020B0604020202020204" pitchFamily="34" charset="0"/>
              <a:buChar char="•"/>
            </a:pPr>
            <a:r>
              <a:rPr lang="nl-NL" sz="1600" dirty="0">
                <a:latin typeface="+mj-lt"/>
              </a:rPr>
              <a:t>Voorheen veel leegstand, recent is dit opgevuld met verschillende functies (kookstudio, tandarts, fietsenwinkel, kantoren etc.).</a:t>
            </a:r>
          </a:p>
          <a:p>
            <a:pPr marL="285750" indent="-285750">
              <a:lnSpc>
                <a:spcPts val="1600"/>
              </a:lnSpc>
              <a:buFont typeface="Arial" panose="020B0604020202020204" pitchFamily="34" charset="0"/>
              <a:buChar char="•"/>
            </a:pPr>
            <a:endParaRPr lang="nl-NL" sz="1600" dirty="0">
              <a:latin typeface="+mj-lt"/>
            </a:endParaRPr>
          </a:p>
          <a:p>
            <a:pPr marL="285750" indent="-285750">
              <a:lnSpc>
                <a:spcPts val="1600"/>
              </a:lnSpc>
              <a:buFont typeface="Arial" panose="020B0604020202020204" pitchFamily="34" charset="0"/>
              <a:buChar char="•"/>
            </a:pPr>
            <a:endParaRPr lang="nl-NL" sz="1600" dirty="0">
              <a:latin typeface="+mj-lt"/>
            </a:endParaRPr>
          </a:p>
          <a:p>
            <a:pPr marL="285750" indent="-285750">
              <a:lnSpc>
                <a:spcPts val="1600"/>
              </a:lnSpc>
              <a:buFont typeface="Arial" panose="020B0604020202020204" pitchFamily="34" charset="0"/>
              <a:buChar char="•"/>
            </a:pPr>
            <a:r>
              <a:rPr lang="nl-NL" sz="1600" dirty="0">
                <a:latin typeface="+mj-lt"/>
              </a:rPr>
              <a:t>Inzetten op het behoud van commerciële invulling.</a:t>
            </a:r>
          </a:p>
          <a:p>
            <a:pPr marL="285750" indent="-285750">
              <a:lnSpc>
                <a:spcPts val="1600"/>
              </a:lnSpc>
              <a:buFont typeface="Arial" panose="020B0604020202020204" pitchFamily="34" charset="0"/>
              <a:buChar char="•"/>
            </a:pPr>
            <a:endParaRPr lang="nl-NL" sz="1600" dirty="0">
              <a:latin typeface="+mj-lt"/>
              <a:ea typeface="+mn-lt"/>
              <a:cs typeface="+mn-lt"/>
            </a:endParaRPr>
          </a:p>
          <a:p>
            <a:pPr marL="285750" indent="-285750">
              <a:lnSpc>
                <a:spcPts val="1600"/>
              </a:lnSpc>
              <a:buFont typeface="Arial" panose="020B0604020202020204" pitchFamily="34" charset="0"/>
              <a:buChar char="•"/>
            </a:pPr>
            <a:endParaRPr lang="nl-NL" sz="1600" dirty="0">
              <a:latin typeface="+mj-lt"/>
              <a:ea typeface="+mn-lt"/>
              <a:cs typeface="+mn-lt"/>
            </a:endParaRPr>
          </a:p>
          <a:p>
            <a:pPr marL="285750" indent="-285750">
              <a:lnSpc>
                <a:spcPts val="1600"/>
              </a:lnSpc>
              <a:buFont typeface="Arial" panose="020B0604020202020204" pitchFamily="34" charset="0"/>
              <a:buChar char="•"/>
            </a:pPr>
            <a:r>
              <a:rPr lang="nl-NL" sz="1600" dirty="0">
                <a:latin typeface="+mj-lt"/>
                <a:ea typeface="+mn-lt"/>
                <a:cs typeface="+mn-lt"/>
              </a:rPr>
              <a:t>Wonen of verblijfsfuncties (zoals B&amp;B) zijn niet gewenst.</a:t>
            </a:r>
            <a:endParaRPr lang="nl-NL" sz="1600" dirty="0">
              <a:latin typeface="+mj-lt"/>
            </a:endParaRPr>
          </a:p>
          <a:p>
            <a:pPr>
              <a:lnSpc>
                <a:spcPts val="1600"/>
              </a:lnSpc>
            </a:pPr>
            <a:endParaRPr lang="nl-NL" sz="1600" dirty="0">
              <a:latin typeface="+mj-lt"/>
              <a:sym typeface="Wingdings" panose="05000000000000000000" pitchFamily="2" charset="2"/>
            </a:endParaRPr>
          </a:p>
          <a:p>
            <a:pPr>
              <a:lnSpc>
                <a:spcPts val="1600"/>
              </a:lnSpc>
            </a:pPr>
            <a:endParaRPr lang="nl-NL" sz="1600" dirty="0">
              <a:latin typeface="+mj-lt"/>
              <a:sym typeface="Wingdings" panose="05000000000000000000" pitchFamily="2" charset="2"/>
            </a:endParaRPr>
          </a:p>
          <a:p>
            <a:r>
              <a:rPr lang="nl-NL" sz="1600" b="1" dirty="0">
                <a:latin typeface="+mj-lt"/>
              </a:rPr>
              <a:t>Aan welke functies denken we?  </a:t>
            </a:r>
            <a:r>
              <a:rPr lang="nl-NL" sz="1600" dirty="0">
                <a:latin typeface="+mj-lt"/>
              </a:rPr>
              <a:t> </a:t>
            </a:r>
          </a:p>
          <a:p>
            <a:pPr marL="285750" indent="-285750">
              <a:buFont typeface="Arial" panose="020B0604020202020204" pitchFamily="34" charset="0"/>
              <a:buChar char="•"/>
            </a:pPr>
            <a:r>
              <a:rPr lang="nl-NL" sz="1600" dirty="0">
                <a:solidFill>
                  <a:srgbClr val="000000"/>
                </a:solidFill>
                <a:latin typeface="+mj-lt"/>
                <a:sym typeface="Wingdings" panose="05000000000000000000" pitchFamily="2" charset="2"/>
              </a:rPr>
              <a:t>Geschikt voor doelgericht bezochte functies zoals een fietsenwinkel, ambacht, dienstverleners, zorgfuncties etc. </a:t>
            </a:r>
            <a:endParaRPr lang="nl-NL" sz="1600" dirty="0">
              <a:solidFill>
                <a:srgbClr val="000000"/>
              </a:solidFill>
              <a:latin typeface="+mj-lt"/>
            </a:endParaRPr>
          </a:p>
          <a:p>
            <a:endParaRPr lang="nl-NL" sz="1600" b="0" dirty="0">
              <a:latin typeface="+mj-lt"/>
            </a:endParaRPr>
          </a:p>
          <a:p>
            <a:pPr marL="285750" indent="-285750">
              <a:buFont typeface="Arial" panose="020B0604020202020204" pitchFamily="34" charset="0"/>
              <a:buChar char="•"/>
            </a:pPr>
            <a:endParaRPr lang="nl-NL" sz="1600" dirty="0">
              <a:latin typeface="+mj-lt"/>
            </a:endParaRPr>
          </a:p>
          <a:p>
            <a:endParaRPr lang="nl-NL" sz="1600" dirty="0">
              <a:latin typeface="+mj-lt"/>
            </a:endParaRPr>
          </a:p>
          <a:p>
            <a:pPr marL="285750" indent="-285750">
              <a:buFont typeface="Arial" panose="020B0604020202020204" pitchFamily="34" charset="0"/>
              <a:buChar char="•"/>
            </a:pPr>
            <a:endParaRPr lang="nl-NL" sz="1600" b="0" dirty="0">
              <a:latin typeface="+mj-lt"/>
            </a:endParaRPr>
          </a:p>
          <a:p>
            <a:pPr marL="285750" indent="-285750">
              <a:buFont typeface="Arial" panose="020B0604020202020204" pitchFamily="34" charset="0"/>
              <a:buChar char="•"/>
            </a:pPr>
            <a:endParaRPr lang="nl-NL" sz="1600" b="0" dirty="0">
              <a:latin typeface="+mj-lt"/>
            </a:endParaRPr>
          </a:p>
          <a:p>
            <a:pPr marL="285750" indent="-285750">
              <a:buFont typeface="Arial" panose="020B0604020202020204" pitchFamily="34" charset="0"/>
              <a:buChar char="•"/>
            </a:pPr>
            <a:endParaRPr lang="nl-NL" sz="1600" b="0" dirty="0">
              <a:latin typeface="+mj-lt"/>
            </a:endParaRPr>
          </a:p>
        </p:txBody>
      </p:sp>
      <p:pic>
        <p:nvPicPr>
          <p:cNvPr id="94" name="Picture 111" descr="Diagram, engineering drawing&#10;&#10;Description automatically generated">
            <a:extLst>
              <a:ext uri="{FF2B5EF4-FFF2-40B4-BE49-F238E27FC236}">
                <a16:creationId xmlns:a16="http://schemas.microsoft.com/office/drawing/2014/main" id="{0135DD06-C58C-46E0-9D09-3382233743A1}"/>
              </a:ext>
            </a:extLst>
          </p:cNvPr>
          <p:cNvPicPr>
            <a:picLocks noChangeAspect="1"/>
          </p:cNvPicPr>
          <p:nvPr/>
        </p:nvPicPr>
        <p:blipFill rotWithShape="1">
          <a:blip r:embed="rId55">
            <a:extLst>
              <a:ext uri="{28A0092B-C50C-407E-A947-70E740481C1C}">
                <a14:useLocalDpi xmlns:a14="http://schemas.microsoft.com/office/drawing/2010/main" val="0"/>
              </a:ext>
            </a:extLst>
          </a:blip>
          <a:srcRect l="12282" r="16581"/>
          <a:stretch/>
        </p:blipFill>
        <p:spPr>
          <a:xfrm>
            <a:off x="6437769" y="316375"/>
            <a:ext cx="5381625" cy="6418903"/>
          </a:xfrm>
          <a:prstGeom prst="rect">
            <a:avLst/>
          </a:prstGeom>
          <a:ln>
            <a:solidFill>
              <a:schemeClr val="tx1"/>
            </a:solidFill>
          </a:ln>
        </p:spPr>
      </p:pic>
      <p:sp>
        <p:nvSpPr>
          <p:cNvPr id="96" name="Ovaal 95">
            <a:extLst>
              <a:ext uri="{FF2B5EF4-FFF2-40B4-BE49-F238E27FC236}">
                <a16:creationId xmlns:a16="http://schemas.microsoft.com/office/drawing/2014/main" id="{FAB06122-5C75-4FA2-BD2E-930EC1929B58}"/>
              </a:ext>
            </a:extLst>
          </p:cNvPr>
          <p:cNvSpPr/>
          <p:nvPr/>
        </p:nvSpPr>
        <p:spPr>
          <a:xfrm rot="19787095">
            <a:off x="8221751" y="4846251"/>
            <a:ext cx="962025" cy="571088"/>
          </a:xfrm>
          <a:custGeom>
            <a:avLst/>
            <a:gdLst>
              <a:gd name="connsiteX0" fmla="*/ 0 w 962025"/>
              <a:gd name="connsiteY0" fmla="*/ 285544 h 571088"/>
              <a:gd name="connsiteX1" fmla="*/ 481013 w 962025"/>
              <a:gd name="connsiteY1" fmla="*/ 0 h 571088"/>
              <a:gd name="connsiteX2" fmla="*/ 962026 w 962025"/>
              <a:gd name="connsiteY2" fmla="*/ 285544 h 571088"/>
              <a:gd name="connsiteX3" fmla="*/ 481013 w 962025"/>
              <a:gd name="connsiteY3" fmla="*/ 571088 h 571088"/>
              <a:gd name="connsiteX4" fmla="*/ 0 w 962025"/>
              <a:gd name="connsiteY4" fmla="*/ 285544 h 5710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62025" h="571088" fill="none" extrusionOk="0">
                <a:moveTo>
                  <a:pt x="0" y="285544"/>
                </a:moveTo>
                <a:cubicBezTo>
                  <a:pt x="13892" y="147464"/>
                  <a:pt x="162099" y="-6482"/>
                  <a:pt x="481013" y="0"/>
                </a:cubicBezTo>
                <a:cubicBezTo>
                  <a:pt x="764061" y="27883"/>
                  <a:pt x="975469" y="114686"/>
                  <a:pt x="962026" y="285544"/>
                </a:cubicBezTo>
                <a:cubicBezTo>
                  <a:pt x="952825" y="430623"/>
                  <a:pt x="800915" y="575181"/>
                  <a:pt x="481013" y="571088"/>
                </a:cubicBezTo>
                <a:cubicBezTo>
                  <a:pt x="188208" y="601951"/>
                  <a:pt x="-21382" y="432845"/>
                  <a:pt x="0" y="285544"/>
                </a:cubicBezTo>
                <a:close/>
              </a:path>
              <a:path w="962025" h="571088" stroke="0" extrusionOk="0">
                <a:moveTo>
                  <a:pt x="0" y="285544"/>
                </a:moveTo>
                <a:cubicBezTo>
                  <a:pt x="-5438" y="130323"/>
                  <a:pt x="267944" y="2167"/>
                  <a:pt x="481013" y="0"/>
                </a:cubicBezTo>
                <a:cubicBezTo>
                  <a:pt x="744467" y="11007"/>
                  <a:pt x="975934" y="86133"/>
                  <a:pt x="962026" y="285544"/>
                </a:cubicBezTo>
                <a:cubicBezTo>
                  <a:pt x="907139" y="433650"/>
                  <a:pt x="764095" y="567672"/>
                  <a:pt x="481013" y="571088"/>
                </a:cubicBezTo>
                <a:cubicBezTo>
                  <a:pt x="217662" y="537004"/>
                  <a:pt x="-16090" y="408565"/>
                  <a:pt x="0" y="285544"/>
                </a:cubicBezTo>
                <a:close/>
              </a:path>
            </a:pathLst>
          </a:custGeom>
          <a:solidFill>
            <a:srgbClr val="67B2E8">
              <a:alpha val="50196"/>
            </a:srgbClr>
          </a:solidFill>
          <a:ln w="19050">
            <a:solidFill>
              <a:schemeClr val="accent2">
                <a:lumMod val="50000"/>
              </a:schemeClr>
            </a:solidFill>
            <a:prstDash val="lgDash"/>
            <a:extLst>
              <a:ext uri="{C807C97D-BFC1-408E-A445-0C87EB9F89A2}">
                <ask:lineSketchStyleProps xmlns:ask="http://schemas.microsoft.com/office/drawing/2018/sketchyshapes" sd="378522932">
                  <a:prstGeom prst="ellipse">
                    <a:avLst/>
                  </a:prstGeom>
                  <ask:type>
                    <ask:lineSketchScribble/>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97" name="Ovaal 10">
            <a:extLst>
              <a:ext uri="{FF2B5EF4-FFF2-40B4-BE49-F238E27FC236}">
                <a16:creationId xmlns:a16="http://schemas.microsoft.com/office/drawing/2014/main" id="{0D9FAE43-7193-4250-A646-E3B246EB4FCB}"/>
              </a:ext>
            </a:extLst>
          </p:cNvPr>
          <p:cNvSpPr/>
          <p:nvPr/>
        </p:nvSpPr>
        <p:spPr>
          <a:xfrm rot="606373">
            <a:off x="8170098" y="1727825"/>
            <a:ext cx="1005378" cy="3587738"/>
          </a:xfrm>
          <a:custGeom>
            <a:avLst/>
            <a:gdLst>
              <a:gd name="connsiteX0" fmla="*/ 0 w 946926"/>
              <a:gd name="connsiteY0" fmla="*/ 1669257 h 3338513"/>
              <a:gd name="connsiteX1" fmla="*/ 473463 w 946926"/>
              <a:gd name="connsiteY1" fmla="*/ 0 h 3338513"/>
              <a:gd name="connsiteX2" fmla="*/ 946926 w 946926"/>
              <a:gd name="connsiteY2" fmla="*/ 1669257 h 3338513"/>
              <a:gd name="connsiteX3" fmla="*/ 473463 w 946926"/>
              <a:gd name="connsiteY3" fmla="*/ 3338514 h 3338513"/>
              <a:gd name="connsiteX4" fmla="*/ 0 w 946926"/>
              <a:gd name="connsiteY4" fmla="*/ 1669257 h 3338513"/>
              <a:gd name="connsiteX0" fmla="*/ 104949 w 1051875"/>
              <a:gd name="connsiteY0" fmla="*/ 1669257 h 3498566"/>
              <a:gd name="connsiteX1" fmla="*/ 578412 w 1051875"/>
              <a:gd name="connsiteY1" fmla="*/ 0 h 3498566"/>
              <a:gd name="connsiteX2" fmla="*/ 1051875 w 1051875"/>
              <a:gd name="connsiteY2" fmla="*/ 1669257 h 3498566"/>
              <a:gd name="connsiteX3" fmla="*/ 578412 w 1051875"/>
              <a:gd name="connsiteY3" fmla="*/ 3338514 h 3498566"/>
              <a:gd name="connsiteX4" fmla="*/ 37651 w 1051875"/>
              <a:gd name="connsiteY4" fmla="*/ 3242728 h 3498566"/>
              <a:gd name="connsiteX5" fmla="*/ 104949 w 1051875"/>
              <a:gd name="connsiteY5" fmla="*/ 1669257 h 3498566"/>
              <a:gd name="connsiteX0" fmla="*/ 232888 w 1032014"/>
              <a:gd name="connsiteY0" fmla="*/ 1307467 h 3501749"/>
              <a:gd name="connsiteX1" fmla="*/ 558551 w 1032014"/>
              <a:gd name="connsiteY1" fmla="*/ 3183 h 3501749"/>
              <a:gd name="connsiteX2" fmla="*/ 1032014 w 1032014"/>
              <a:gd name="connsiteY2" fmla="*/ 1672440 h 3501749"/>
              <a:gd name="connsiteX3" fmla="*/ 558551 w 1032014"/>
              <a:gd name="connsiteY3" fmla="*/ 3341697 h 3501749"/>
              <a:gd name="connsiteX4" fmla="*/ 17790 w 1032014"/>
              <a:gd name="connsiteY4" fmla="*/ 3245911 h 3501749"/>
              <a:gd name="connsiteX5" fmla="*/ 232888 w 1032014"/>
              <a:gd name="connsiteY5" fmla="*/ 1307467 h 3501749"/>
              <a:gd name="connsiteX0" fmla="*/ 232888 w 1036057"/>
              <a:gd name="connsiteY0" fmla="*/ 1412927 h 3607209"/>
              <a:gd name="connsiteX1" fmla="*/ 558551 w 1036057"/>
              <a:gd name="connsiteY1" fmla="*/ 108643 h 3607209"/>
              <a:gd name="connsiteX2" fmla="*/ 841253 w 1036057"/>
              <a:gd name="connsiteY2" fmla="*/ 263362 h 3607209"/>
              <a:gd name="connsiteX3" fmla="*/ 1032014 w 1036057"/>
              <a:gd name="connsiteY3" fmla="*/ 1777900 h 3607209"/>
              <a:gd name="connsiteX4" fmla="*/ 558551 w 1036057"/>
              <a:gd name="connsiteY4" fmla="*/ 3447157 h 3607209"/>
              <a:gd name="connsiteX5" fmla="*/ 17790 w 1036057"/>
              <a:gd name="connsiteY5" fmla="*/ 3351371 h 3607209"/>
              <a:gd name="connsiteX6" fmla="*/ 232888 w 1036057"/>
              <a:gd name="connsiteY6" fmla="*/ 1412927 h 3607209"/>
              <a:gd name="connsiteX0" fmla="*/ 230669 w 1033838"/>
              <a:gd name="connsiteY0" fmla="*/ 1341761 h 3536043"/>
              <a:gd name="connsiteX1" fmla="*/ 314560 w 1033838"/>
              <a:gd name="connsiteY1" fmla="*/ 343728 h 3536043"/>
              <a:gd name="connsiteX2" fmla="*/ 556332 w 1033838"/>
              <a:gd name="connsiteY2" fmla="*/ 37477 h 3536043"/>
              <a:gd name="connsiteX3" fmla="*/ 839034 w 1033838"/>
              <a:gd name="connsiteY3" fmla="*/ 192196 h 3536043"/>
              <a:gd name="connsiteX4" fmla="*/ 1029795 w 1033838"/>
              <a:gd name="connsiteY4" fmla="*/ 1706734 h 3536043"/>
              <a:gd name="connsiteX5" fmla="*/ 556332 w 1033838"/>
              <a:gd name="connsiteY5" fmla="*/ 3375991 h 3536043"/>
              <a:gd name="connsiteX6" fmla="*/ 15571 w 1033838"/>
              <a:gd name="connsiteY6" fmla="*/ 3280205 h 3536043"/>
              <a:gd name="connsiteX7" fmla="*/ 230669 w 1033838"/>
              <a:gd name="connsiteY7" fmla="*/ 1341761 h 3536043"/>
              <a:gd name="connsiteX0" fmla="*/ 230669 w 1033838"/>
              <a:gd name="connsiteY0" fmla="*/ 1306773 h 3501055"/>
              <a:gd name="connsiteX1" fmla="*/ 314560 w 1033838"/>
              <a:gd name="connsiteY1" fmla="*/ 308740 h 3501055"/>
              <a:gd name="connsiteX2" fmla="*/ 530523 w 1033838"/>
              <a:gd name="connsiteY2" fmla="*/ 74815 h 3501055"/>
              <a:gd name="connsiteX3" fmla="*/ 839034 w 1033838"/>
              <a:gd name="connsiteY3" fmla="*/ 157208 h 3501055"/>
              <a:gd name="connsiteX4" fmla="*/ 1029795 w 1033838"/>
              <a:gd name="connsiteY4" fmla="*/ 1671746 h 3501055"/>
              <a:gd name="connsiteX5" fmla="*/ 556332 w 1033838"/>
              <a:gd name="connsiteY5" fmla="*/ 3341003 h 3501055"/>
              <a:gd name="connsiteX6" fmla="*/ 15571 w 1033838"/>
              <a:gd name="connsiteY6" fmla="*/ 3245217 h 3501055"/>
              <a:gd name="connsiteX7" fmla="*/ 230669 w 1033838"/>
              <a:gd name="connsiteY7" fmla="*/ 1306773 h 3501055"/>
              <a:gd name="connsiteX0" fmla="*/ 230669 w 1033548"/>
              <a:gd name="connsiteY0" fmla="*/ 1306773 h 3404596"/>
              <a:gd name="connsiteX1" fmla="*/ 314560 w 1033548"/>
              <a:gd name="connsiteY1" fmla="*/ 308740 h 3404596"/>
              <a:gd name="connsiteX2" fmla="*/ 530523 w 1033548"/>
              <a:gd name="connsiteY2" fmla="*/ 74815 h 3404596"/>
              <a:gd name="connsiteX3" fmla="*/ 839034 w 1033548"/>
              <a:gd name="connsiteY3" fmla="*/ 157208 h 3404596"/>
              <a:gd name="connsiteX4" fmla="*/ 1029795 w 1033548"/>
              <a:gd name="connsiteY4" fmla="*/ 1671746 h 3404596"/>
              <a:gd name="connsiteX5" fmla="*/ 760965 w 1033548"/>
              <a:gd name="connsiteY5" fmla="*/ 3155086 h 3404596"/>
              <a:gd name="connsiteX6" fmla="*/ 556332 w 1033548"/>
              <a:gd name="connsiteY6" fmla="*/ 3341003 h 3404596"/>
              <a:gd name="connsiteX7" fmla="*/ 15571 w 1033548"/>
              <a:gd name="connsiteY7" fmla="*/ 3245217 h 3404596"/>
              <a:gd name="connsiteX8" fmla="*/ 230669 w 1033548"/>
              <a:gd name="connsiteY8" fmla="*/ 1306773 h 3404596"/>
              <a:gd name="connsiteX0" fmla="*/ 229374 w 1032253"/>
              <a:gd name="connsiteY0" fmla="*/ 1306773 h 3372214"/>
              <a:gd name="connsiteX1" fmla="*/ 313265 w 1032253"/>
              <a:gd name="connsiteY1" fmla="*/ 308740 h 3372214"/>
              <a:gd name="connsiteX2" fmla="*/ 529228 w 1032253"/>
              <a:gd name="connsiteY2" fmla="*/ 74815 h 3372214"/>
              <a:gd name="connsiteX3" fmla="*/ 837739 w 1032253"/>
              <a:gd name="connsiteY3" fmla="*/ 157208 h 3372214"/>
              <a:gd name="connsiteX4" fmla="*/ 1028500 w 1032253"/>
              <a:gd name="connsiteY4" fmla="*/ 1671746 h 3372214"/>
              <a:gd name="connsiteX5" fmla="*/ 759670 w 1032253"/>
              <a:gd name="connsiteY5" fmla="*/ 3155086 h 3372214"/>
              <a:gd name="connsiteX6" fmla="*/ 555037 w 1032253"/>
              <a:gd name="connsiteY6" fmla="*/ 3341003 h 3372214"/>
              <a:gd name="connsiteX7" fmla="*/ 14276 w 1032253"/>
              <a:gd name="connsiteY7" fmla="*/ 3245217 h 3372214"/>
              <a:gd name="connsiteX8" fmla="*/ 204072 w 1032253"/>
              <a:gd name="connsiteY8" fmla="*/ 2209203 h 3372214"/>
              <a:gd name="connsiteX9" fmla="*/ 229374 w 1032253"/>
              <a:gd name="connsiteY9" fmla="*/ 1306773 h 3372214"/>
              <a:gd name="connsiteX0" fmla="*/ 231939 w 1034818"/>
              <a:gd name="connsiteY0" fmla="*/ 1306773 h 3349218"/>
              <a:gd name="connsiteX1" fmla="*/ 315830 w 1034818"/>
              <a:gd name="connsiteY1" fmla="*/ 308740 h 3349218"/>
              <a:gd name="connsiteX2" fmla="*/ 531793 w 1034818"/>
              <a:gd name="connsiteY2" fmla="*/ 74815 h 3349218"/>
              <a:gd name="connsiteX3" fmla="*/ 840304 w 1034818"/>
              <a:gd name="connsiteY3" fmla="*/ 157208 h 3349218"/>
              <a:gd name="connsiteX4" fmla="*/ 1031065 w 1034818"/>
              <a:gd name="connsiteY4" fmla="*/ 1671746 h 3349218"/>
              <a:gd name="connsiteX5" fmla="*/ 762235 w 1034818"/>
              <a:gd name="connsiteY5" fmla="*/ 3155086 h 3349218"/>
              <a:gd name="connsiteX6" fmla="*/ 557602 w 1034818"/>
              <a:gd name="connsiteY6" fmla="*/ 3341003 h 3349218"/>
              <a:gd name="connsiteX7" fmla="*/ 16841 w 1034818"/>
              <a:gd name="connsiteY7" fmla="*/ 3245217 h 3349218"/>
              <a:gd name="connsiteX8" fmla="*/ 173317 w 1034818"/>
              <a:gd name="connsiteY8" fmla="*/ 2727923 h 3349218"/>
              <a:gd name="connsiteX9" fmla="*/ 206637 w 1034818"/>
              <a:gd name="connsiteY9" fmla="*/ 2209203 h 3349218"/>
              <a:gd name="connsiteX10" fmla="*/ 231939 w 1034818"/>
              <a:gd name="connsiteY10" fmla="*/ 1306773 h 3349218"/>
              <a:gd name="connsiteX0" fmla="*/ 231939 w 1034818"/>
              <a:gd name="connsiteY0" fmla="*/ 1306773 h 3460498"/>
              <a:gd name="connsiteX1" fmla="*/ 315830 w 1034818"/>
              <a:gd name="connsiteY1" fmla="*/ 308740 h 3460498"/>
              <a:gd name="connsiteX2" fmla="*/ 531793 w 1034818"/>
              <a:gd name="connsiteY2" fmla="*/ 74815 h 3460498"/>
              <a:gd name="connsiteX3" fmla="*/ 840304 w 1034818"/>
              <a:gd name="connsiteY3" fmla="*/ 157208 h 3460498"/>
              <a:gd name="connsiteX4" fmla="*/ 1031065 w 1034818"/>
              <a:gd name="connsiteY4" fmla="*/ 1671746 h 3460498"/>
              <a:gd name="connsiteX5" fmla="*/ 762235 w 1034818"/>
              <a:gd name="connsiteY5" fmla="*/ 3155086 h 3460498"/>
              <a:gd name="connsiteX6" fmla="*/ 491592 w 1034818"/>
              <a:gd name="connsiteY6" fmla="*/ 3459195 h 3460498"/>
              <a:gd name="connsiteX7" fmla="*/ 16841 w 1034818"/>
              <a:gd name="connsiteY7" fmla="*/ 3245217 h 3460498"/>
              <a:gd name="connsiteX8" fmla="*/ 173317 w 1034818"/>
              <a:gd name="connsiteY8" fmla="*/ 2727923 h 3460498"/>
              <a:gd name="connsiteX9" fmla="*/ 206637 w 1034818"/>
              <a:gd name="connsiteY9" fmla="*/ 2209203 h 3460498"/>
              <a:gd name="connsiteX10" fmla="*/ 231939 w 1034818"/>
              <a:gd name="connsiteY10" fmla="*/ 1306773 h 3460498"/>
              <a:gd name="connsiteX0" fmla="*/ 231939 w 1034818"/>
              <a:gd name="connsiteY0" fmla="*/ 1306773 h 3461993"/>
              <a:gd name="connsiteX1" fmla="*/ 315830 w 1034818"/>
              <a:gd name="connsiteY1" fmla="*/ 308740 h 3461993"/>
              <a:gd name="connsiteX2" fmla="*/ 531793 w 1034818"/>
              <a:gd name="connsiteY2" fmla="*/ 74815 h 3461993"/>
              <a:gd name="connsiteX3" fmla="*/ 840304 w 1034818"/>
              <a:gd name="connsiteY3" fmla="*/ 157208 h 3461993"/>
              <a:gd name="connsiteX4" fmla="*/ 1031065 w 1034818"/>
              <a:gd name="connsiteY4" fmla="*/ 1671746 h 3461993"/>
              <a:gd name="connsiteX5" fmla="*/ 762235 w 1034818"/>
              <a:gd name="connsiteY5" fmla="*/ 3155086 h 3461993"/>
              <a:gd name="connsiteX6" fmla="*/ 491592 w 1034818"/>
              <a:gd name="connsiteY6" fmla="*/ 3459195 h 3461993"/>
              <a:gd name="connsiteX7" fmla="*/ 16841 w 1034818"/>
              <a:gd name="connsiteY7" fmla="*/ 3245217 h 3461993"/>
              <a:gd name="connsiteX8" fmla="*/ 173317 w 1034818"/>
              <a:gd name="connsiteY8" fmla="*/ 2727923 h 3461993"/>
              <a:gd name="connsiteX9" fmla="*/ 206637 w 1034818"/>
              <a:gd name="connsiteY9" fmla="*/ 2209203 h 3461993"/>
              <a:gd name="connsiteX10" fmla="*/ 231939 w 1034818"/>
              <a:gd name="connsiteY10" fmla="*/ 1306773 h 3461993"/>
              <a:gd name="connsiteX0" fmla="*/ 231939 w 1034818"/>
              <a:gd name="connsiteY0" fmla="*/ 1306773 h 3587738"/>
              <a:gd name="connsiteX1" fmla="*/ 315830 w 1034818"/>
              <a:gd name="connsiteY1" fmla="*/ 308740 h 3587738"/>
              <a:gd name="connsiteX2" fmla="*/ 531793 w 1034818"/>
              <a:gd name="connsiteY2" fmla="*/ 74815 h 3587738"/>
              <a:gd name="connsiteX3" fmla="*/ 840304 w 1034818"/>
              <a:gd name="connsiteY3" fmla="*/ 157208 h 3587738"/>
              <a:gd name="connsiteX4" fmla="*/ 1031065 w 1034818"/>
              <a:gd name="connsiteY4" fmla="*/ 1671746 h 3587738"/>
              <a:gd name="connsiteX5" fmla="*/ 762235 w 1034818"/>
              <a:gd name="connsiteY5" fmla="*/ 3155086 h 3587738"/>
              <a:gd name="connsiteX6" fmla="*/ 427254 w 1034818"/>
              <a:gd name="connsiteY6" fmla="*/ 3586764 h 3587738"/>
              <a:gd name="connsiteX7" fmla="*/ 16841 w 1034818"/>
              <a:gd name="connsiteY7" fmla="*/ 3245217 h 3587738"/>
              <a:gd name="connsiteX8" fmla="*/ 173317 w 1034818"/>
              <a:gd name="connsiteY8" fmla="*/ 2727923 h 3587738"/>
              <a:gd name="connsiteX9" fmla="*/ 206637 w 1034818"/>
              <a:gd name="connsiteY9" fmla="*/ 2209203 h 3587738"/>
              <a:gd name="connsiteX10" fmla="*/ 231939 w 1034818"/>
              <a:gd name="connsiteY10" fmla="*/ 1306773 h 3587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34818" h="3587738">
                <a:moveTo>
                  <a:pt x="231939" y="1306773"/>
                </a:moveTo>
                <a:cubicBezTo>
                  <a:pt x="250138" y="990029"/>
                  <a:pt x="261553" y="526121"/>
                  <a:pt x="315830" y="308740"/>
                </a:cubicBezTo>
                <a:cubicBezTo>
                  <a:pt x="370107" y="91359"/>
                  <a:pt x="444381" y="100070"/>
                  <a:pt x="531793" y="74815"/>
                </a:cubicBezTo>
                <a:cubicBezTo>
                  <a:pt x="619205" y="49560"/>
                  <a:pt x="761394" y="-121002"/>
                  <a:pt x="840304" y="157208"/>
                </a:cubicBezTo>
                <a:cubicBezTo>
                  <a:pt x="919215" y="435418"/>
                  <a:pt x="1059535" y="1177407"/>
                  <a:pt x="1031065" y="1671746"/>
                </a:cubicBezTo>
                <a:cubicBezTo>
                  <a:pt x="1002595" y="2166085"/>
                  <a:pt x="841146" y="2876877"/>
                  <a:pt x="762235" y="3155086"/>
                </a:cubicBezTo>
                <a:cubicBezTo>
                  <a:pt x="683325" y="3433296"/>
                  <a:pt x="489188" y="3602197"/>
                  <a:pt x="427254" y="3586764"/>
                </a:cubicBezTo>
                <a:cubicBezTo>
                  <a:pt x="365320" y="3571331"/>
                  <a:pt x="92216" y="3356666"/>
                  <a:pt x="16841" y="3245217"/>
                </a:cubicBezTo>
                <a:cubicBezTo>
                  <a:pt x="-58534" y="3133768"/>
                  <a:pt x="141684" y="2900592"/>
                  <a:pt x="173317" y="2727923"/>
                </a:cubicBezTo>
                <a:cubicBezTo>
                  <a:pt x="204950" y="2555254"/>
                  <a:pt x="185540" y="2436793"/>
                  <a:pt x="206637" y="2209203"/>
                </a:cubicBezTo>
                <a:cubicBezTo>
                  <a:pt x="242487" y="1886129"/>
                  <a:pt x="213740" y="1623517"/>
                  <a:pt x="231939" y="1306773"/>
                </a:cubicBezTo>
                <a:close/>
              </a:path>
            </a:pathLst>
          </a:custGeom>
          <a:solidFill>
            <a:schemeClr val="accent4">
              <a:lumMod val="60000"/>
              <a:lumOff val="40000"/>
              <a:alpha val="50000"/>
            </a:schemeClr>
          </a:solidFill>
          <a:ln w="19050">
            <a:solidFill>
              <a:schemeClr val="accent4">
                <a:lumMod val="50000"/>
              </a:schemeClr>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98" name="Ovaal 97">
            <a:extLst>
              <a:ext uri="{FF2B5EF4-FFF2-40B4-BE49-F238E27FC236}">
                <a16:creationId xmlns:a16="http://schemas.microsoft.com/office/drawing/2014/main" id="{65E93B42-E0EC-4D47-9EFB-721C29BA0145}"/>
              </a:ext>
            </a:extLst>
          </p:cNvPr>
          <p:cNvSpPr/>
          <p:nvPr/>
        </p:nvSpPr>
        <p:spPr>
          <a:xfrm rot="651834">
            <a:off x="8800761" y="2325452"/>
            <a:ext cx="404813" cy="638587"/>
          </a:xfrm>
          <a:custGeom>
            <a:avLst/>
            <a:gdLst>
              <a:gd name="connsiteX0" fmla="*/ 0 w 404813"/>
              <a:gd name="connsiteY0" fmla="*/ 319294 h 638587"/>
              <a:gd name="connsiteX1" fmla="*/ 202407 w 404813"/>
              <a:gd name="connsiteY1" fmla="*/ 0 h 638587"/>
              <a:gd name="connsiteX2" fmla="*/ 404814 w 404813"/>
              <a:gd name="connsiteY2" fmla="*/ 319294 h 638587"/>
              <a:gd name="connsiteX3" fmla="*/ 202407 w 404813"/>
              <a:gd name="connsiteY3" fmla="*/ 638588 h 638587"/>
              <a:gd name="connsiteX4" fmla="*/ 0 w 404813"/>
              <a:gd name="connsiteY4" fmla="*/ 319294 h 6385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4813" h="638587" fill="none" extrusionOk="0">
                <a:moveTo>
                  <a:pt x="0" y="319294"/>
                </a:moveTo>
                <a:cubicBezTo>
                  <a:pt x="5587" y="145475"/>
                  <a:pt x="82698" y="-11820"/>
                  <a:pt x="202407" y="0"/>
                </a:cubicBezTo>
                <a:cubicBezTo>
                  <a:pt x="325096" y="31346"/>
                  <a:pt x="367070" y="127993"/>
                  <a:pt x="404814" y="319294"/>
                </a:cubicBezTo>
                <a:cubicBezTo>
                  <a:pt x="412177" y="492111"/>
                  <a:pt x="320552" y="647823"/>
                  <a:pt x="202407" y="638588"/>
                </a:cubicBezTo>
                <a:cubicBezTo>
                  <a:pt x="101140" y="598697"/>
                  <a:pt x="2982" y="470959"/>
                  <a:pt x="0" y="319294"/>
                </a:cubicBezTo>
                <a:close/>
              </a:path>
              <a:path w="404813" h="638587" stroke="0" extrusionOk="0">
                <a:moveTo>
                  <a:pt x="0" y="319294"/>
                </a:moveTo>
                <a:cubicBezTo>
                  <a:pt x="7359" y="138006"/>
                  <a:pt x="83062" y="810"/>
                  <a:pt x="202407" y="0"/>
                </a:cubicBezTo>
                <a:cubicBezTo>
                  <a:pt x="326641" y="-22425"/>
                  <a:pt x="395708" y="166190"/>
                  <a:pt x="404814" y="319294"/>
                </a:cubicBezTo>
                <a:cubicBezTo>
                  <a:pt x="389144" y="510403"/>
                  <a:pt x="294049" y="644166"/>
                  <a:pt x="202407" y="638588"/>
                </a:cubicBezTo>
                <a:cubicBezTo>
                  <a:pt x="93781" y="602158"/>
                  <a:pt x="-13212" y="507303"/>
                  <a:pt x="0" y="319294"/>
                </a:cubicBezTo>
                <a:close/>
              </a:path>
            </a:pathLst>
          </a:custGeom>
          <a:solidFill>
            <a:srgbClr val="62366E">
              <a:alpha val="50196"/>
            </a:srgbClr>
          </a:solidFill>
          <a:ln w="19050">
            <a:solidFill>
              <a:schemeClr val="accent1"/>
            </a:solidFill>
            <a:prstDash val="lgDash"/>
            <a:extLst>
              <a:ext uri="{C807C97D-BFC1-408E-A445-0C87EB9F89A2}">
                <ask:lineSketchStyleProps xmlns:ask="http://schemas.microsoft.com/office/drawing/2018/sketchyshapes" sd="1935646484">
                  <a:prstGeom prst="ellipse">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99" name="Ovaal 98">
            <a:extLst>
              <a:ext uri="{FF2B5EF4-FFF2-40B4-BE49-F238E27FC236}">
                <a16:creationId xmlns:a16="http://schemas.microsoft.com/office/drawing/2014/main" id="{3EBA92D1-F688-482D-B822-D46D95B7018A}"/>
              </a:ext>
            </a:extLst>
          </p:cNvPr>
          <p:cNvSpPr/>
          <p:nvPr/>
        </p:nvSpPr>
        <p:spPr>
          <a:xfrm rot="1177676">
            <a:off x="9248005" y="1845286"/>
            <a:ext cx="1120065" cy="824325"/>
          </a:xfrm>
          <a:custGeom>
            <a:avLst/>
            <a:gdLst>
              <a:gd name="connsiteX0" fmla="*/ 0 w 1120065"/>
              <a:gd name="connsiteY0" fmla="*/ 412163 h 824325"/>
              <a:gd name="connsiteX1" fmla="*/ 560033 w 1120065"/>
              <a:gd name="connsiteY1" fmla="*/ 0 h 824325"/>
              <a:gd name="connsiteX2" fmla="*/ 1120066 w 1120065"/>
              <a:gd name="connsiteY2" fmla="*/ 412163 h 824325"/>
              <a:gd name="connsiteX3" fmla="*/ 560033 w 1120065"/>
              <a:gd name="connsiteY3" fmla="*/ 824326 h 824325"/>
              <a:gd name="connsiteX4" fmla="*/ 0 w 1120065"/>
              <a:gd name="connsiteY4" fmla="*/ 412163 h 8243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20065" h="824325" fill="none" extrusionOk="0">
                <a:moveTo>
                  <a:pt x="0" y="412163"/>
                </a:moveTo>
                <a:cubicBezTo>
                  <a:pt x="-7979" y="251689"/>
                  <a:pt x="239423" y="-88093"/>
                  <a:pt x="560033" y="0"/>
                </a:cubicBezTo>
                <a:cubicBezTo>
                  <a:pt x="874259" y="-43109"/>
                  <a:pt x="1169754" y="155711"/>
                  <a:pt x="1120066" y="412163"/>
                </a:cubicBezTo>
                <a:cubicBezTo>
                  <a:pt x="1161638" y="712069"/>
                  <a:pt x="932795" y="875233"/>
                  <a:pt x="560033" y="824326"/>
                </a:cubicBezTo>
                <a:cubicBezTo>
                  <a:pt x="283216" y="846254"/>
                  <a:pt x="49399" y="654351"/>
                  <a:pt x="0" y="412163"/>
                </a:cubicBezTo>
                <a:close/>
              </a:path>
              <a:path w="1120065" h="824325" stroke="0" extrusionOk="0">
                <a:moveTo>
                  <a:pt x="0" y="412163"/>
                </a:moveTo>
                <a:cubicBezTo>
                  <a:pt x="15127" y="194124"/>
                  <a:pt x="310107" y="-39020"/>
                  <a:pt x="560033" y="0"/>
                </a:cubicBezTo>
                <a:cubicBezTo>
                  <a:pt x="845648" y="-24985"/>
                  <a:pt x="1103020" y="191431"/>
                  <a:pt x="1120066" y="412163"/>
                </a:cubicBezTo>
                <a:cubicBezTo>
                  <a:pt x="1116453" y="610666"/>
                  <a:pt x="819396" y="779863"/>
                  <a:pt x="560033" y="824326"/>
                </a:cubicBezTo>
                <a:cubicBezTo>
                  <a:pt x="262805" y="856935"/>
                  <a:pt x="4488" y="636861"/>
                  <a:pt x="0" y="412163"/>
                </a:cubicBezTo>
                <a:close/>
              </a:path>
            </a:pathLst>
          </a:custGeom>
          <a:solidFill>
            <a:srgbClr val="67B2E8">
              <a:alpha val="50196"/>
            </a:srgbClr>
          </a:solidFill>
          <a:ln w="19050">
            <a:solidFill>
              <a:schemeClr val="accent2">
                <a:lumMod val="50000"/>
              </a:schemeClr>
            </a:solidFill>
            <a:prstDash val="lgDash"/>
            <a:extLst>
              <a:ext uri="{C807C97D-BFC1-408E-A445-0C87EB9F89A2}">
                <ask:lineSketchStyleProps xmlns:ask="http://schemas.microsoft.com/office/drawing/2018/sketchyshapes" sd="3401541704">
                  <a:prstGeom prst="ellipse">
                    <a:avLst/>
                  </a:prstGeom>
                  <ask:type>
                    <ask:lineSketchScribble/>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02" name="Rechthoek: afgeronde hoeken 13">
            <a:extLst>
              <a:ext uri="{FF2B5EF4-FFF2-40B4-BE49-F238E27FC236}">
                <a16:creationId xmlns:a16="http://schemas.microsoft.com/office/drawing/2014/main" id="{197253EE-5E39-4139-9A72-1167999B97C4}"/>
              </a:ext>
            </a:extLst>
          </p:cNvPr>
          <p:cNvSpPr/>
          <p:nvPr/>
        </p:nvSpPr>
        <p:spPr>
          <a:xfrm rot="21153609">
            <a:off x="10095606" y="751526"/>
            <a:ext cx="290185" cy="979329"/>
          </a:xfrm>
          <a:custGeom>
            <a:avLst/>
            <a:gdLst>
              <a:gd name="connsiteX0" fmla="*/ 1438 w 290185"/>
              <a:gd name="connsiteY0" fmla="*/ 31103 h 979329"/>
              <a:gd name="connsiteX1" fmla="*/ 66934 w 290185"/>
              <a:gd name="connsiteY1" fmla="*/ 0 h 979329"/>
              <a:gd name="connsiteX2" fmla="*/ 167290 w 290185"/>
              <a:gd name="connsiteY2" fmla="*/ 40325 h 979329"/>
              <a:gd name="connsiteX3" fmla="*/ 216753 w 290185"/>
              <a:gd name="connsiteY3" fmla="*/ 96893 h 979329"/>
              <a:gd name="connsiteX4" fmla="*/ 250203 w 290185"/>
              <a:gd name="connsiteY4" fmla="*/ 186161 h 979329"/>
              <a:gd name="connsiteX5" fmla="*/ 289420 w 290185"/>
              <a:gd name="connsiteY5" fmla="*/ 429548 h 979329"/>
              <a:gd name="connsiteX6" fmla="*/ 280704 w 290185"/>
              <a:gd name="connsiteY6" fmla="*/ 513502 h 979329"/>
              <a:gd name="connsiteX7" fmla="*/ 272706 w 290185"/>
              <a:gd name="connsiteY7" fmla="*/ 672286 h 979329"/>
              <a:gd name="connsiteX8" fmla="*/ 244470 w 290185"/>
              <a:gd name="connsiteY8" fmla="*/ 882795 h 979329"/>
              <a:gd name="connsiteX9" fmla="*/ 187455 w 290185"/>
              <a:gd name="connsiteY9" fmla="*/ 979329 h 979329"/>
              <a:gd name="connsiteX10" fmla="*/ 45817 w 290185"/>
              <a:gd name="connsiteY10" fmla="*/ 977052 h 979329"/>
              <a:gd name="connsiteX11" fmla="*/ 18915 w 290185"/>
              <a:gd name="connsiteY11" fmla="*/ 915648 h 979329"/>
              <a:gd name="connsiteX12" fmla="*/ 38053 w 290185"/>
              <a:gd name="connsiteY12" fmla="*/ 497121 h 979329"/>
              <a:gd name="connsiteX13" fmla="*/ 1438 w 290185"/>
              <a:gd name="connsiteY13" fmla="*/ 31103 h 9793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90185" h="979329" fill="none" extrusionOk="0">
                <a:moveTo>
                  <a:pt x="1438" y="31103"/>
                </a:moveTo>
                <a:cubicBezTo>
                  <a:pt x="902" y="3999"/>
                  <a:pt x="44407" y="4121"/>
                  <a:pt x="66934" y="0"/>
                </a:cubicBezTo>
                <a:cubicBezTo>
                  <a:pt x="112426" y="14824"/>
                  <a:pt x="135867" y="23999"/>
                  <a:pt x="167290" y="40325"/>
                </a:cubicBezTo>
                <a:cubicBezTo>
                  <a:pt x="187727" y="35684"/>
                  <a:pt x="218113" y="70274"/>
                  <a:pt x="216753" y="96893"/>
                </a:cubicBezTo>
                <a:cubicBezTo>
                  <a:pt x="227384" y="123498"/>
                  <a:pt x="237826" y="129839"/>
                  <a:pt x="250203" y="186161"/>
                </a:cubicBezTo>
                <a:cubicBezTo>
                  <a:pt x="259832" y="253675"/>
                  <a:pt x="283304" y="373751"/>
                  <a:pt x="289420" y="429548"/>
                </a:cubicBezTo>
                <a:cubicBezTo>
                  <a:pt x="294717" y="490098"/>
                  <a:pt x="283368" y="477350"/>
                  <a:pt x="280704" y="513502"/>
                </a:cubicBezTo>
                <a:cubicBezTo>
                  <a:pt x="280873" y="549156"/>
                  <a:pt x="275284" y="622449"/>
                  <a:pt x="272706" y="672286"/>
                </a:cubicBezTo>
                <a:cubicBezTo>
                  <a:pt x="261657" y="732088"/>
                  <a:pt x="254769" y="787896"/>
                  <a:pt x="244470" y="882795"/>
                </a:cubicBezTo>
                <a:cubicBezTo>
                  <a:pt x="243253" y="908774"/>
                  <a:pt x="210878" y="978183"/>
                  <a:pt x="187455" y="979329"/>
                </a:cubicBezTo>
                <a:cubicBezTo>
                  <a:pt x="158928" y="983107"/>
                  <a:pt x="76093" y="970760"/>
                  <a:pt x="45817" y="977052"/>
                </a:cubicBezTo>
                <a:cubicBezTo>
                  <a:pt x="26233" y="975414"/>
                  <a:pt x="17153" y="942603"/>
                  <a:pt x="18915" y="915648"/>
                </a:cubicBezTo>
                <a:cubicBezTo>
                  <a:pt x="-20230" y="834110"/>
                  <a:pt x="26433" y="637344"/>
                  <a:pt x="38053" y="497121"/>
                </a:cubicBezTo>
                <a:cubicBezTo>
                  <a:pt x="20589" y="363776"/>
                  <a:pt x="3198" y="126485"/>
                  <a:pt x="1438" y="31103"/>
                </a:cubicBezTo>
                <a:close/>
              </a:path>
              <a:path w="290185" h="979329" stroke="0" extrusionOk="0">
                <a:moveTo>
                  <a:pt x="1438" y="31103"/>
                </a:moveTo>
                <a:cubicBezTo>
                  <a:pt x="3125" y="83"/>
                  <a:pt x="43795" y="-88"/>
                  <a:pt x="66934" y="0"/>
                </a:cubicBezTo>
                <a:cubicBezTo>
                  <a:pt x="106499" y="15137"/>
                  <a:pt x="116901" y="21496"/>
                  <a:pt x="167290" y="40325"/>
                </a:cubicBezTo>
                <a:cubicBezTo>
                  <a:pt x="187954" y="37261"/>
                  <a:pt x="211488" y="73431"/>
                  <a:pt x="216753" y="96893"/>
                </a:cubicBezTo>
                <a:cubicBezTo>
                  <a:pt x="227725" y="123261"/>
                  <a:pt x="241578" y="128636"/>
                  <a:pt x="250203" y="186161"/>
                </a:cubicBezTo>
                <a:cubicBezTo>
                  <a:pt x="262304" y="245359"/>
                  <a:pt x="288366" y="374695"/>
                  <a:pt x="289420" y="429548"/>
                </a:cubicBezTo>
                <a:cubicBezTo>
                  <a:pt x="291058" y="484804"/>
                  <a:pt x="281560" y="473814"/>
                  <a:pt x="280704" y="513502"/>
                </a:cubicBezTo>
                <a:cubicBezTo>
                  <a:pt x="280764" y="564544"/>
                  <a:pt x="279359" y="598440"/>
                  <a:pt x="272706" y="672286"/>
                </a:cubicBezTo>
                <a:cubicBezTo>
                  <a:pt x="256380" y="727517"/>
                  <a:pt x="258118" y="814419"/>
                  <a:pt x="244470" y="882795"/>
                </a:cubicBezTo>
                <a:cubicBezTo>
                  <a:pt x="240782" y="906256"/>
                  <a:pt x="206411" y="978424"/>
                  <a:pt x="187455" y="979329"/>
                </a:cubicBezTo>
                <a:cubicBezTo>
                  <a:pt x="132256" y="971481"/>
                  <a:pt x="114089" y="978126"/>
                  <a:pt x="45817" y="977052"/>
                </a:cubicBezTo>
                <a:cubicBezTo>
                  <a:pt x="23573" y="979271"/>
                  <a:pt x="15264" y="941794"/>
                  <a:pt x="18915" y="915648"/>
                </a:cubicBezTo>
                <a:cubicBezTo>
                  <a:pt x="-3186" y="830999"/>
                  <a:pt x="27244" y="638573"/>
                  <a:pt x="38053" y="497121"/>
                </a:cubicBezTo>
                <a:cubicBezTo>
                  <a:pt x="55531" y="348923"/>
                  <a:pt x="-4778" y="103397"/>
                  <a:pt x="1438" y="31103"/>
                </a:cubicBezTo>
                <a:close/>
              </a:path>
            </a:pathLst>
          </a:custGeom>
          <a:solidFill>
            <a:schemeClr val="accent3">
              <a:lumMod val="75000"/>
              <a:alpha val="50196"/>
            </a:schemeClr>
          </a:solidFill>
          <a:ln w="19050">
            <a:solidFill>
              <a:schemeClr val="accent3">
                <a:lumMod val="50000"/>
              </a:schemeClr>
            </a:solidFill>
            <a:prstDash val="lgDash"/>
            <a:extLst>
              <a:ext uri="{C807C97D-BFC1-408E-A445-0C87EB9F89A2}">
                <ask:lineSketchStyleProps xmlns:ask="http://schemas.microsoft.com/office/drawing/2018/sketchyshapes" sd="1270709264">
                  <a:custGeom>
                    <a:avLst/>
                    <a:gdLst>
                      <a:gd name="connsiteX0" fmla="*/ 0 w 290126"/>
                      <a:gd name="connsiteY0" fmla="*/ 48355 h 920750"/>
                      <a:gd name="connsiteX1" fmla="*/ 48355 w 290126"/>
                      <a:gd name="connsiteY1" fmla="*/ 0 h 920750"/>
                      <a:gd name="connsiteX2" fmla="*/ 241771 w 290126"/>
                      <a:gd name="connsiteY2" fmla="*/ 0 h 920750"/>
                      <a:gd name="connsiteX3" fmla="*/ 290126 w 290126"/>
                      <a:gd name="connsiteY3" fmla="*/ 48355 h 920750"/>
                      <a:gd name="connsiteX4" fmla="*/ 290126 w 290126"/>
                      <a:gd name="connsiteY4" fmla="*/ 872395 h 920750"/>
                      <a:gd name="connsiteX5" fmla="*/ 241771 w 290126"/>
                      <a:gd name="connsiteY5" fmla="*/ 920750 h 920750"/>
                      <a:gd name="connsiteX6" fmla="*/ 48355 w 290126"/>
                      <a:gd name="connsiteY6" fmla="*/ 920750 h 920750"/>
                      <a:gd name="connsiteX7" fmla="*/ 0 w 290126"/>
                      <a:gd name="connsiteY7" fmla="*/ 872395 h 920750"/>
                      <a:gd name="connsiteX8" fmla="*/ 0 w 290126"/>
                      <a:gd name="connsiteY8" fmla="*/ 48355 h 920750"/>
                      <a:gd name="connsiteX0" fmla="*/ 0 w 300252"/>
                      <a:gd name="connsiteY0" fmla="*/ 27821 h 920750"/>
                      <a:gd name="connsiteX1" fmla="*/ 58481 w 300252"/>
                      <a:gd name="connsiteY1" fmla="*/ 0 h 920750"/>
                      <a:gd name="connsiteX2" fmla="*/ 251897 w 300252"/>
                      <a:gd name="connsiteY2" fmla="*/ 0 h 920750"/>
                      <a:gd name="connsiteX3" fmla="*/ 300252 w 300252"/>
                      <a:gd name="connsiteY3" fmla="*/ 48355 h 920750"/>
                      <a:gd name="connsiteX4" fmla="*/ 300252 w 300252"/>
                      <a:gd name="connsiteY4" fmla="*/ 872395 h 920750"/>
                      <a:gd name="connsiteX5" fmla="*/ 251897 w 300252"/>
                      <a:gd name="connsiteY5" fmla="*/ 920750 h 920750"/>
                      <a:gd name="connsiteX6" fmla="*/ 58481 w 300252"/>
                      <a:gd name="connsiteY6" fmla="*/ 920750 h 920750"/>
                      <a:gd name="connsiteX7" fmla="*/ 10126 w 300252"/>
                      <a:gd name="connsiteY7" fmla="*/ 872395 h 920750"/>
                      <a:gd name="connsiteX8" fmla="*/ 0 w 300252"/>
                      <a:gd name="connsiteY8" fmla="*/ 27821 h 920750"/>
                      <a:gd name="connsiteX0" fmla="*/ 0 w 300252"/>
                      <a:gd name="connsiteY0" fmla="*/ 27821 h 920750"/>
                      <a:gd name="connsiteX1" fmla="*/ 58481 w 300252"/>
                      <a:gd name="connsiteY1" fmla="*/ 0 h 920750"/>
                      <a:gd name="connsiteX2" fmla="*/ 251897 w 300252"/>
                      <a:gd name="connsiteY2" fmla="*/ 0 h 920750"/>
                      <a:gd name="connsiteX3" fmla="*/ 300252 w 300252"/>
                      <a:gd name="connsiteY3" fmla="*/ 48355 h 920750"/>
                      <a:gd name="connsiteX4" fmla="*/ 265488 w 300252"/>
                      <a:gd name="connsiteY4" fmla="*/ 844374 h 920750"/>
                      <a:gd name="connsiteX5" fmla="*/ 251897 w 300252"/>
                      <a:gd name="connsiteY5" fmla="*/ 920750 h 920750"/>
                      <a:gd name="connsiteX6" fmla="*/ 58481 w 300252"/>
                      <a:gd name="connsiteY6" fmla="*/ 920750 h 920750"/>
                      <a:gd name="connsiteX7" fmla="*/ 10126 w 300252"/>
                      <a:gd name="connsiteY7" fmla="*/ 872395 h 920750"/>
                      <a:gd name="connsiteX8" fmla="*/ 0 w 300252"/>
                      <a:gd name="connsiteY8" fmla="*/ 27821 h 920750"/>
                      <a:gd name="connsiteX0" fmla="*/ 0 w 300252"/>
                      <a:gd name="connsiteY0" fmla="*/ 27821 h 940908"/>
                      <a:gd name="connsiteX1" fmla="*/ 58481 w 300252"/>
                      <a:gd name="connsiteY1" fmla="*/ 0 h 940908"/>
                      <a:gd name="connsiteX2" fmla="*/ 251897 w 300252"/>
                      <a:gd name="connsiteY2" fmla="*/ 0 h 940908"/>
                      <a:gd name="connsiteX3" fmla="*/ 300252 w 300252"/>
                      <a:gd name="connsiteY3" fmla="*/ 48355 h 940908"/>
                      <a:gd name="connsiteX4" fmla="*/ 265488 w 300252"/>
                      <a:gd name="connsiteY4" fmla="*/ 844374 h 940908"/>
                      <a:gd name="connsiteX5" fmla="*/ 193764 w 300252"/>
                      <a:gd name="connsiteY5" fmla="*/ 940908 h 940908"/>
                      <a:gd name="connsiteX6" fmla="*/ 58481 w 300252"/>
                      <a:gd name="connsiteY6" fmla="*/ 920750 h 940908"/>
                      <a:gd name="connsiteX7" fmla="*/ 10126 w 300252"/>
                      <a:gd name="connsiteY7" fmla="*/ 872395 h 940908"/>
                      <a:gd name="connsiteX8" fmla="*/ 0 w 300252"/>
                      <a:gd name="connsiteY8" fmla="*/ 27821 h 940908"/>
                      <a:gd name="connsiteX0" fmla="*/ 0 w 300252"/>
                      <a:gd name="connsiteY0" fmla="*/ 27821 h 940908"/>
                      <a:gd name="connsiteX1" fmla="*/ 58481 w 300252"/>
                      <a:gd name="connsiteY1" fmla="*/ 0 h 940908"/>
                      <a:gd name="connsiteX2" fmla="*/ 251897 w 300252"/>
                      <a:gd name="connsiteY2" fmla="*/ 0 h 940908"/>
                      <a:gd name="connsiteX3" fmla="*/ 300252 w 300252"/>
                      <a:gd name="connsiteY3" fmla="*/ 48355 h 940908"/>
                      <a:gd name="connsiteX4" fmla="*/ 265488 w 300252"/>
                      <a:gd name="connsiteY4" fmla="*/ 844374 h 940908"/>
                      <a:gd name="connsiteX5" fmla="*/ 193764 w 300252"/>
                      <a:gd name="connsiteY5" fmla="*/ 940908 h 940908"/>
                      <a:gd name="connsiteX6" fmla="*/ 15588 w 300252"/>
                      <a:gd name="connsiteY6" fmla="*/ 938631 h 940908"/>
                      <a:gd name="connsiteX7" fmla="*/ 10126 w 300252"/>
                      <a:gd name="connsiteY7" fmla="*/ 872395 h 940908"/>
                      <a:gd name="connsiteX8" fmla="*/ 0 w 300252"/>
                      <a:gd name="connsiteY8" fmla="*/ 27821 h 940908"/>
                      <a:gd name="connsiteX0" fmla="*/ 18254 w 318506"/>
                      <a:gd name="connsiteY0" fmla="*/ 27821 h 940908"/>
                      <a:gd name="connsiteX1" fmla="*/ 76735 w 318506"/>
                      <a:gd name="connsiteY1" fmla="*/ 0 h 940908"/>
                      <a:gd name="connsiteX2" fmla="*/ 270151 w 318506"/>
                      <a:gd name="connsiteY2" fmla="*/ 0 h 940908"/>
                      <a:gd name="connsiteX3" fmla="*/ 318506 w 318506"/>
                      <a:gd name="connsiteY3" fmla="*/ 48355 h 940908"/>
                      <a:gd name="connsiteX4" fmla="*/ 283742 w 318506"/>
                      <a:gd name="connsiteY4" fmla="*/ 844374 h 940908"/>
                      <a:gd name="connsiteX5" fmla="*/ 212018 w 318506"/>
                      <a:gd name="connsiteY5" fmla="*/ 940908 h 940908"/>
                      <a:gd name="connsiteX6" fmla="*/ 33842 w 318506"/>
                      <a:gd name="connsiteY6" fmla="*/ 938631 h 940908"/>
                      <a:gd name="connsiteX7" fmla="*/ 0 w 318506"/>
                      <a:gd name="connsiteY7" fmla="*/ 877227 h 940908"/>
                      <a:gd name="connsiteX8" fmla="*/ 18254 w 318506"/>
                      <a:gd name="connsiteY8" fmla="*/ 27821 h 940908"/>
                      <a:gd name="connsiteX0" fmla="*/ 0 w 340491"/>
                      <a:gd name="connsiteY0" fmla="*/ 10229 h 958455"/>
                      <a:gd name="connsiteX1" fmla="*/ 98720 w 340491"/>
                      <a:gd name="connsiteY1" fmla="*/ 17547 h 958455"/>
                      <a:gd name="connsiteX2" fmla="*/ 292136 w 340491"/>
                      <a:gd name="connsiteY2" fmla="*/ 17547 h 958455"/>
                      <a:gd name="connsiteX3" fmla="*/ 340491 w 340491"/>
                      <a:gd name="connsiteY3" fmla="*/ 65902 h 958455"/>
                      <a:gd name="connsiteX4" fmla="*/ 305727 w 340491"/>
                      <a:gd name="connsiteY4" fmla="*/ 861921 h 958455"/>
                      <a:gd name="connsiteX5" fmla="*/ 234003 w 340491"/>
                      <a:gd name="connsiteY5" fmla="*/ 958455 h 958455"/>
                      <a:gd name="connsiteX6" fmla="*/ 55827 w 340491"/>
                      <a:gd name="connsiteY6" fmla="*/ 956178 h 958455"/>
                      <a:gd name="connsiteX7" fmla="*/ 21985 w 340491"/>
                      <a:gd name="connsiteY7" fmla="*/ 894774 h 958455"/>
                      <a:gd name="connsiteX8" fmla="*/ 0 w 340491"/>
                      <a:gd name="connsiteY8" fmla="*/ 10229 h 958455"/>
                      <a:gd name="connsiteX0" fmla="*/ 0 w 340491"/>
                      <a:gd name="connsiteY0" fmla="*/ 31103 h 979329"/>
                      <a:gd name="connsiteX1" fmla="*/ 82391 w 340491"/>
                      <a:gd name="connsiteY1" fmla="*/ 0 h 979329"/>
                      <a:gd name="connsiteX2" fmla="*/ 292136 w 340491"/>
                      <a:gd name="connsiteY2" fmla="*/ 38421 h 979329"/>
                      <a:gd name="connsiteX3" fmla="*/ 340491 w 340491"/>
                      <a:gd name="connsiteY3" fmla="*/ 86776 h 979329"/>
                      <a:gd name="connsiteX4" fmla="*/ 305727 w 340491"/>
                      <a:gd name="connsiteY4" fmla="*/ 882795 h 979329"/>
                      <a:gd name="connsiteX5" fmla="*/ 234003 w 340491"/>
                      <a:gd name="connsiteY5" fmla="*/ 979329 h 979329"/>
                      <a:gd name="connsiteX6" fmla="*/ 55827 w 340491"/>
                      <a:gd name="connsiteY6" fmla="*/ 977052 h 979329"/>
                      <a:gd name="connsiteX7" fmla="*/ 21985 w 340491"/>
                      <a:gd name="connsiteY7" fmla="*/ 915648 h 979329"/>
                      <a:gd name="connsiteX8" fmla="*/ 0 w 340491"/>
                      <a:gd name="connsiteY8" fmla="*/ 31103 h 979329"/>
                      <a:gd name="connsiteX0" fmla="*/ 0 w 305727"/>
                      <a:gd name="connsiteY0" fmla="*/ 31103 h 979329"/>
                      <a:gd name="connsiteX1" fmla="*/ 82391 w 305727"/>
                      <a:gd name="connsiteY1" fmla="*/ 0 h 979329"/>
                      <a:gd name="connsiteX2" fmla="*/ 292136 w 305727"/>
                      <a:gd name="connsiteY2" fmla="*/ 38421 h 979329"/>
                      <a:gd name="connsiteX3" fmla="*/ 288748 w 305727"/>
                      <a:gd name="connsiteY3" fmla="*/ 90690 h 979329"/>
                      <a:gd name="connsiteX4" fmla="*/ 305727 w 305727"/>
                      <a:gd name="connsiteY4" fmla="*/ 882795 h 979329"/>
                      <a:gd name="connsiteX5" fmla="*/ 234003 w 305727"/>
                      <a:gd name="connsiteY5" fmla="*/ 979329 h 979329"/>
                      <a:gd name="connsiteX6" fmla="*/ 55827 w 305727"/>
                      <a:gd name="connsiteY6" fmla="*/ 977052 h 979329"/>
                      <a:gd name="connsiteX7" fmla="*/ 21985 w 305727"/>
                      <a:gd name="connsiteY7" fmla="*/ 915648 h 979329"/>
                      <a:gd name="connsiteX8" fmla="*/ 0 w 305727"/>
                      <a:gd name="connsiteY8" fmla="*/ 31103 h 979329"/>
                      <a:gd name="connsiteX0" fmla="*/ 0 w 305727"/>
                      <a:gd name="connsiteY0" fmla="*/ 31103 h 979329"/>
                      <a:gd name="connsiteX1" fmla="*/ 82391 w 305727"/>
                      <a:gd name="connsiteY1" fmla="*/ 0 h 979329"/>
                      <a:gd name="connsiteX2" fmla="*/ 208636 w 305727"/>
                      <a:gd name="connsiteY2" fmla="*/ 40325 h 979329"/>
                      <a:gd name="connsiteX3" fmla="*/ 288748 w 305727"/>
                      <a:gd name="connsiteY3" fmla="*/ 90690 h 979329"/>
                      <a:gd name="connsiteX4" fmla="*/ 305727 w 305727"/>
                      <a:gd name="connsiteY4" fmla="*/ 882795 h 979329"/>
                      <a:gd name="connsiteX5" fmla="*/ 234003 w 305727"/>
                      <a:gd name="connsiteY5" fmla="*/ 979329 h 979329"/>
                      <a:gd name="connsiteX6" fmla="*/ 55827 w 305727"/>
                      <a:gd name="connsiteY6" fmla="*/ 977052 h 979329"/>
                      <a:gd name="connsiteX7" fmla="*/ 21985 w 305727"/>
                      <a:gd name="connsiteY7" fmla="*/ 915648 h 979329"/>
                      <a:gd name="connsiteX8" fmla="*/ 0 w 305727"/>
                      <a:gd name="connsiteY8" fmla="*/ 31103 h 979329"/>
                      <a:gd name="connsiteX0" fmla="*/ 0 w 305727"/>
                      <a:gd name="connsiteY0" fmla="*/ 31103 h 979329"/>
                      <a:gd name="connsiteX1" fmla="*/ 82391 w 305727"/>
                      <a:gd name="connsiteY1" fmla="*/ 0 h 979329"/>
                      <a:gd name="connsiteX2" fmla="*/ 208636 w 305727"/>
                      <a:gd name="connsiteY2" fmla="*/ 40325 h 979329"/>
                      <a:gd name="connsiteX3" fmla="*/ 270859 w 305727"/>
                      <a:gd name="connsiteY3" fmla="*/ 96893 h 979329"/>
                      <a:gd name="connsiteX4" fmla="*/ 305727 w 305727"/>
                      <a:gd name="connsiteY4" fmla="*/ 882795 h 979329"/>
                      <a:gd name="connsiteX5" fmla="*/ 234003 w 305727"/>
                      <a:gd name="connsiteY5" fmla="*/ 979329 h 979329"/>
                      <a:gd name="connsiteX6" fmla="*/ 55827 w 305727"/>
                      <a:gd name="connsiteY6" fmla="*/ 977052 h 979329"/>
                      <a:gd name="connsiteX7" fmla="*/ 21985 w 305727"/>
                      <a:gd name="connsiteY7" fmla="*/ 915648 h 979329"/>
                      <a:gd name="connsiteX8" fmla="*/ 0 w 305727"/>
                      <a:gd name="connsiteY8" fmla="*/ 31103 h 979329"/>
                      <a:gd name="connsiteX0" fmla="*/ 1810 w 307537"/>
                      <a:gd name="connsiteY0" fmla="*/ 31103 h 979329"/>
                      <a:gd name="connsiteX1" fmla="*/ 84201 w 307537"/>
                      <a:gd name="connsiteY1" fmla="*/ 0 h 979329"/>
                      <a:gd name="connsiteX2" fmla="*/ 210446 w 307537"/>
                      <a:gd name="connsiteY2" fmla="*/ 40325 h 979329"/>
                      <a:gd name="connsiteX3" fmla="*/ 272669 w 307537"/>
                      <a:gd name="connsiteY3" fmla="*/ 96893 h 979329"/>
                      <a:gd name="connsiteX4" fmla="*/ 307537 w 307537"/>
                      <a:gd name="connsiteY4" fmla="*/ 882795 h 979329"/>
                      <a:gd name="connsiteX5" fmla="*/ 235813 w 307537"/>
                      <a:gd name="connsiteY5" fmla="*/ 979329 h 979329"/>
                      <a:gd name="connsiteX6" fmla="*/ 57637 w 307537"/>
                      <a:gd name="connsiteY6" fmla="*/ 977052 h 979329"/>
                      <a:gd name="connsiteX7" fmla="*/ 23795 w 307537"/>
                      <a:gd name="connsiteY7" fmla="*/ 915648 h 979329"/>
                      <a:gd name="connsiteX8" fmla="*/ 47870 w 307537"/>
                      <a:gd name="connsiteY8" fmla="*/ 497121 h 979329"/>
                      <a:gd name="connsiteX9" fmla="*/ 1810 w 307537"/>
                      <a:gd name="connsiteY9" fmla="*/ 31103 h 979329"/>
                      <a:gd name="connsiteX0" fmla="*/ 1810 w 341174"/>
                      <a:gd name="connsiteY0" fmla="*/ 31103 h 979329"/>
                      <a:gd name="connsiteX1" fmla="*/ 84201 w 341174"/>
                      <a:gd name="connsiteY1" fmla="*/ 0 h 979329"/>
                      <a:gd name="connsiteX2" fmla="*/ 210446 w 341174"/>
                      <a:gd name="connsiteY2" fmla="*/ 40325 h 979329"/>
                      <a:gd name="connsiteX3" fmla="*/ 272669 w 341174"/>
                      <a:gd name="connsiteY3" fmla="*/ 96893 h 979329"/>
                      <a:gd name="connsiteX4" fmla="*/ 341174 w 341174"/>
                      <a:gd name="connsiteY4" fmla="*/ 441499 h 979329"/>
                      <a:gd name="connsiteX5" fmla="*/ 307537 w 341174"/>
                      <a:gd name="connsiteY5" fmla="*/ 882795 h 979329"/>
                      <a:gd name="connsiteX6" fmla="*/ 235813 w 341174"/>
                      <a:gd name="connsiteY6" fmla="*/ 979329 h 979329"/>
                      <a:gd name="connsiteX7" fmla="*/ 57637 w 341174"/>
                      <a:gd name="connsiteY7" fmla="*/ 977052 h 979329"/>
                      <a:gd name="connsiteX8" fmla="*/ 23795 w 341174"/>
                      <a:gd name="connsiteY8" fmla="*/ 915648 h 979329"/>
                      <a:gd name="connsiteX9" fmla="*/ 47870 w 341174"/>
                      <a:gd name="connsiteY9" fmla="*/ 497121 h 979329"/>
                      <a:gd name="connsiteX10" fmla="*/ 1810 w 341174"/>
                      <a:gd name="connsiteY10" fmla="*/ 31103 h 979329"/>
                      <a:gd name="connsiteX0" fmla="*/ 1810 w 341174"/>
                      <a:gd name="connsiteY0" fmla="*/ 31103 h 979329"/>
                      <a:gd name="connsiteX1" fmla="*/ 84201 w 341174"/>
                      <a:gd name="connsiteY1" fmla="*/ 0 h 979329"/>
                      <a:gd name="connsiteX2" fmla="*/ 210446 w 341174"/>
                      <a:gd name="connsiteY2" fmla="*/ 40325 h 979329"/>
                      <a:gd name="connsiteX3" fmla="*/ 272669 w 341174"/>
                      <a:gd name="connsiteY3" fmla="*/ 96893 h 979329"/>
                      <a:gd name="connsiteX4" fmla="*/ 314748 w 341174"/>
                      <a:gd name="connsiteY4" fmla="*/ 186161 h 979329"/>
                      <a:gd name="connsiteX5" fmla="*/ 341174 w 341174"/>
                      <a:gd name="connsiteY5" fmla="*/ 441499 h 979329"/>
                      <a:gd name="connsiteX6" fmla="*/ 307537 w 341174"/>
                      <a:gd name="connsiteY6" fmla="*/ 882795 h 979329"/>
                      <a:gd name="connsiteX7" fmla="*/ 235813 w 341174"/>
                      <a:gd name="connsiteY7" fmla="*/ 979329 h 979329"/>
                      <a:gd name="connsiteX8" fmla="*/ 57637 w 341174"/>
                      <a:gd name="connsiteY8" fmla="*/ 977052 h 979329"/>
                      <a:gd name="connsiteX9" fmla="*/ 23795 w 341174"/>
                      <a:gd name="connsiteY9" fmla="*/ 915648 h 979329"/>
                      <a:gd name="connsiteX10" fmla="*/ 47870 w 341174"/>
                      <a:gd name="connsiteY10" fmla="*/ 497121 h 979329"/>
                      <a:gd name="connsiteX11" fmla="*/ 1810 w 341174"/>
                      <a:gd name="connsiteY11" fmla="*/ 31103 h 979329"/>
                      <a:gd name="connsiteX0" fmla="*/ 1810 w 344398"/>
                      <a:gd name="connsiteY0" fmla="*/ 31103 h 979329"/>
                      <a:gd name="connsiteX1" fmla="*/ 84201 w 344398"/>
                      <a:gd name="connsiteY1" fmla="*/ 0 h 979329"/>
                      <a:gd name="connsiteX2" fmla="*/ 210446 w 344398"/>
                      <a:gd name="connsiteY2" fmla="*/ 40325 h 979329"/>
                      <a:gd name="connsiteX3" fmla="*/ 272669 w 344398"/>
                      <a:gd name="connsiteY3" fmla="*/ 96893 h 979329"/>
                      <a:gd name="connsiteX4" fmla="*/ 314748 w 344398"/>
                      <a:gd name="connsiteY4" fmla="*/ 186161 h 979329"/>
                      <a:gd name="connsiteX5" fmla="*/ 341174 w 344398"/>
                      <a:gd name="connsiteY5" fmla="*/ 441499 h 979329"/>
                      <a:gd name="connsiteX6" fmla="*/ 343056 w 344398"/>
                      <a:gd name="connsiteY6" fmla="*/ 672286 h 979329"/>
                      <a:gd name="connsiteX7" fmla="*/ 307537 w 344398"/>
                      <a:gd name="connsiteY7" fmla="*/ 882795 h 979329"/>
                      <a:gd name="connsiteX8" fmla="*/ 235813 w 344398"/>
                      <a:gd name="connsiteY8" fmla="*/ 979329 h 979329"/>
                      <a:gd name="connsiteX9" fmla="*/ 57637 w 344398"/>
                      <a:gd name="connsiteY9" fmla="*/ 977052 h 979329"/>
                      <a:gd name="connsiteX10" fmla="*/ 23795 w 344398"/>
                      <a:gd name="connsiteY10" fmla="*/ 915648 h 979329"/>
                      <a:gd name="connsiteX11" fmla="*/ 47870 w 344398"/>
                      <a:gd name="connsiteY11" fmla="*/ 497121 h 979329"/>
                      <a:gd name="connsiteX12" fmla="*/ 1810 w 344398"/>
                      <a:gd name="connsiteY12" fmla="*/ 31103 h 979329"/>
                      <a:gd name="connsiteX0" fmla="*/ 1810 w 353134"/>
                      <a:gd name="connsiteY0" fmla="*/ 31103 h 979329"/>
                      <a:gd name="connsiteX1" fmla="*/ 84201 w 353134"/>
                      <a:gd name="connsiteY1" fmla="*/ 0 h 979329"/>
                      <a:gd name="connsiteX2" fmla="*/ 210446 w 353134"/>
                      <a:gd name="connsiteY2" fmla="*/ 40325 h 979329"/>
                      <a:gd name="connsiteX3" fmla="*/ 272669 w 353134"/>
                      <a:gd name="connsiteY3" fmla="*/ 96893 h 979329"/>
                      <a:gd name="connsiteX4" fmla="*/ 314748 w 353134"/>
                      <a:gd name="connsiteY4" fmla="*/ 186161 h 979329"/>
                      <a:gd name="connsiteX5" fmla="*/ 341174 w 353134"/>
                      <a:gd name="connsiteY5" fmla="*/ 441499 h 979329"/>
                      <a:gd name="connsiteX6" fmla="*/ 353118 w 353134"/>
                      <a:gd name="connsiteY6" fmla="*/ 513502 h 979329"/>
                      <a:gd name="connsiteX7" fmla="*/ 343056 w 353134"/>
                      <a:gd name="connsiteY7" fmla="*/ 672286 h 979329"/>
                      <a:gd name="connsiteX8" fmla="*/ 307537 w 353134"/>
                      <a:gd name="connsiteY8" fmla="*/ 882795 h 979329"/>
                      <a:gd name="connsiteX9" fmla="*/ 235813 w 353134"/>
                      <a:gd name="connsiteY9" fmla="*/ 979329 h 979329"/>
                      <a:gd name="connsiteX10" fmla="*/ 57637 w 353134"/>
                      <a:gd name="connsiteY10" fmla="*/ 977052 h 979329"/>
                      <a:gd name="connsiteX11" fmla="*/ 23795 w 353134"/>
                      <a:gd name="connsiteY11" fmla="*/ 915648 h 979329"/>
                      <a:gd name="connsiteX12" fmla="*/ 47870 w 353134"/>
                      <a:gd name="connsiteY12" fmla="*/ 497121 h 979329"/>
                      <a:gd name="connsiteX13" fmla="*/ 1810 w 353134"/>
                      <a:gd name="connsiteY13" fmla="*/ 31103 h 979329"/>
                      <a:gd name="connsiteX0" fmla="*/ 1810 w 365044"/>
                      <a:gd name="connsiteY0" fmla="*/ 31103 h 979329"/>
                      <a:gd name="connsiteX1" fmla="*/ 84201 w 365044"/>
                      <a:gd name="connsiteY1" fmla="*/ 0 h 979329"/>
                      <a:gd name="connsiteX2" fmla="*/ 210446 w 365044"/>
                      <a:gd name="connsiteY2" fmla="*/ 40325 h 979329"/>
                      <a:gd name="connsiteX3" fmla="*/ 272669 w 365044"/>
                      <a:gd name="connsiteY3" fmla="*/ 96893 h 979329"/>
                      <a:gd name="connsiteX4" fmla="*/ 314748 w 365044"/>
                      <a:gd name="connsiteY4" fmla="*/ 186161 h 979329"/>
                      <a:gd name="connsiteX5" fmla="*/ 364082 w 365044"/>
                      <a:gd name="connsiteY5" fmla="*/ 429548 h 979329"/>
                      <a:gd name="connsiteX6" fmla="*/ 353118 w 365044"/>
                      <a:gd name="connsiteY6" fmla="*/ 513502 h 979329"/>
                      <a:gd name="connsiteX7" fmla="*/ 343056 w 365044"/>
                      <a:gd name="connsiteY7" fmla="*/ 672286 h 979329"/>
                      <a:gd name="connsiteX8" fmla="*/ 307537 w 365044"/>
                      <a:gd name="connsiteY8" fmla="*/ 882795 h 979329"/>
                      <a:gd name="connsiteX9" fmla="*/ 235813 w 365044"/>
                      <a:gd name="connsiteY9" fmla="*/ 979329 h 979329"/>
                      <a:gd name="connsiteX10" fmla="*/ 57637 w 365044"/>
                      <a:gd name="connsiteY10" fmla="*/ 977052 h 979329"/>
                      <a:gd name="connsiteX11" fmla="*/ 23795 w 365044"/>
                      <a:gd name="connsiteY11" fmla="*/ 915648 h 979329"/>
                      <a:gd name="connsiteX12" fmla="*/ 47870 w 365044"/>
                      <a:gd name="connsiteY12" fmla="*/ 497121 h 979329"/>
                      <a:gd name="connsiteX13" fmla="*/ 1810 w 365044"/>
                      <a:gd name="connsiteY13" fmla="*/ 31103 h 9793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65044" h="979329">
                        <a:moveTo>
                          <a:pt x="1810" y="31103"/>
                        </a:moveTo>
                        <a:cubicBezTo>
                          <a:pt x="1810" y="4397"/>
                          <a:pt x="57495" y="0"/>
                          <a:pt x="84201" y="0"/>
                        </a:cubicBezTo>
                        <a:lnTo>
                          <a:pt x="210446" y="40325"/>
                        </a:lnTo>
                        <a:cubicBezTo>
                          <a:pt x="237152" y="40325"/>
                          <a:pt x="272669" y="70187"/>
                          <a:pt x="272669" y="96893"/>
                        </a:cubicBezTo>
                        <a:cubicBezTo>
                          <a:pt x="285626" y="122400"/>
                          <a:pt x="303331" y="128727"/>
                          <a:pt x="314748" y="186161"/>
                        </a:cubicBezTo>
                        <a:cubicBezTo>
                          <a:pt x="326165" y="243595"/>
                          <a:pt x="359056" y="372680"/>
                          <a:pt x="364082" y="429548"/>
                        </a:cubicBezTo>
                        <a:cubicBezTo>
                          <a:pt x="369108" y="486416"/>
                          <a:pt x="352804" y="475038"/>
                          <a:pt x="353118" y="513502"/>
                        </a:cubicBezTo>
                        <a:cubicBezTo>
                          <a:pt x="353432" y="551966"/>
                          <a:pt x="349284" y="613049"/>
                          <a:pt x="343056" y="672286"/>
                        </a:cubicBezTo>
                        <a:lnTo>
                          <a:pt x="307537" y="882795"/>
                        </a:lnTo>
                        <a:cubicBezTo>
                          <a:pt x="307537" y="909501"/>
                          <a:pt x="262519" y="979329"/>
                          <a:pt x="235813" y="979329"/>
                        </a:cubicBezTo>
                        <a:lnTo>
                          <a:pt x="57637" y="977052"/>
                        </a:lnTo>
                        <a:cubicBezTo>
                          <a:pt x="30931" y="977052"/>
                          <a:pt x="23795" y="942354"/>
                          <a:pt x="23795" y="915648"/>
                        </a:cubicBezTo>
                        <a:cubicBezTo>
                          <a:pt x="15871" y="834837"/>
                          <a:pt x="51534" y="644545"/>
                          <a:pt x="47870" y="497121"/>
                        </a:cubicBezTo>
                        <a:cubicBezTo>
                          <a:pt x="44206" y="349697"/>
                          <a:pt x="-10542" y="113134"/>
                          <a:pt x="1810" y="31103"/>
                        </a:cubicBezTo>
                        <a:close/>
                      </a:path>
                    </a:pathLst>
                  </a:cu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03" name="Rechthoek: afgeronde hoeken 14">
            <a:extLst>
              <a:ext uri="{FF2B5EF4-FFF2-40B4-BE49-F238E27FC236}">
                <a16:creationId xmlns:a16="http://schemas.microsoft.com/office/drawing/2014/main" id="{B01A7189-B52F-49BD-896A-05A44CD28CCF}"/>
              </a:ext>
            </a:extLst>
          </p:cNvPr>
          <p:cNvSpPr/>
          <p:nvPr/>
        </p:nvSpPr>
        <p:spPr>
          <a:xfrm rot="646931">
            <a:off x="7566996" y="2444231"/>
            <a:ext cx="326633" cy="699313"/>
          </a:xfrm>
          <a:custGeom>
            <a:avLst/>
            <a:gdLst>
              <a:gd name="connsiteX0" fmla="*/ 41215 w 326633"/>
              <a:gd name="connsiteY0" fmla="*/ 41142 h 699313"/>
              <a:gd name="connsiteX1" fmla="*/ 83166 w 326633"/>
              <a:gd name="connsiteY1" fmla="*/ 304 h 699313"/>
              <a:gd name="connsiteX2" fmla="*/ 264579 w 326633"/>
              <a:gd name="connsiteY2" fmla="*/ 0 h 699313"/>
              <a:gd name="connsiteX3" fmla="*/ 292919 w 326633"/>
              <a:gd name="connsiteY3" fmla="*/ 41142 h 699313"/>
              <a:gd name="connsiteX4" fmla="*/ 326633 w 326633"/>
              <a:gd name="connsiteY4" fmla="*/ 667751 h 699313"/>
              <a:gd name="connsiteX5" fmla="*/ 250967 w 326633"/>
              <a:gd name="connsiteY5" fmla="*/ 699313 h 699313"/>
              <a:gd name="connsiteX6" fmla="*/ 83166 w 326633"/>
              <a:gd name="connsiteY6" fmla="*/ 699313 h 699313"/>
              <a:gd name="connsiteX7" fmla="*/ 41215 w 326633"/>
              <a:gd name="connsiteY7" fmla="*/ 658474 h 699313"/>
              <a:gd name="connsiteX8" fmla="*/ 0 w 326633"/>
              <a:gd name="connsiteY8" fmla="*/ 292059 h 699313"/>
              <a:gd name="connsiteX9" fmla="*/ 41215 w 326633"/>
              <a:gd name="connsiteY9" fmla="*/ 41142 h 6993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26633" h="699313" fill="none" extrusionOk="0">
                <a:moveTo>
                  <a:pt x="41215" y="41142"/>
                </a:moveTo>
                <a:cubicBezTo>
                  <a:pt x="46527" y="19365"/>
                  <a:pt x="57739" y="-2106"/>
                  <a:pt x="83166" y="304"/>
                </a:cubicBezTo>
                <a:cubicBezTo>
                  <a:pt x="146510" y="294"/>
                  <a:pt x="211190" y="-4990"/>
                  <a:pt x="264579" y="0"/>
                </a:cubicBezTo>
                <a:cubicBezTo>
                  <a:pt x="287761" y="1207"/>
                  <a:pt x="290626" y="18176"/>
                  <a:pt x="292919" y="41142"/>
                </a:cubicBezTo>
                <a:cubicBezTo>
                  <a:pt x="313461" y="296224"/>
                  <a:pt x="267889" y="441194"/>
                  <a:pt x="326633" y="667751"/>
                </a:cubicBezTo>
                <a:cubicBezTo>
                  <a:pt x="330276" y="693907"/>
                  <a:pt x="270706" y="699095"/>
                  <a:pt x="250967" y="699313"/>
                </a:cubicBezTo>
                <a:cubicBezTo>
                  <a:pt x="210763" y="698781"/>
                  <a:pt x="130077" y="697708"/>
                  <a:pt x="83166" y="699313"/>
                </a:cubicBezTo>
                <a:cubicBezTo>
                  <a:pt x="60123" y="700529"/>
                  <a:pt x="42584" y="681779"/>
                  <a:pt x="41215" y="658474"/>
                </a:cubicBezTo>
                <a:cubicBezTo>
                  <a:pt x="31787" y="520597"/>
                  <a:pt x="9069" y="399299"/>
                  <a:pt x="0" y="292059"/>
                </a:cubicBezTo>
                <a:cubicBezTo>
                  <a:pt x="23567" y="215025"/>
                  <a:pt x="19997" y="119162"/>
                  <a:pt x="41215" y="41142"/>
                </a:cubicBezTo>
                <a:close/>
              </a:path>
              <a:path w="326633" h="699313" stroke="0" extrusionOk="0">
                <a:moveTo>
                  <a:pt x="41215" y="41142"/>
                </a:moveTo>
                <a:cubicBezTo>
                  <a:pt x="41379" y="17857"/>
                  <a:pt x="55452" y="2229"/>
                  <a:pt x="83166" y="304"/>
                </a:cubicBezTo>
                <a:cubicBezTo>
                  <a:pt x="134729" y="-2620"/>
                  <a:pt x="218615" y="8385"/>
                  <a:pt x="264579" y="0"/>
                </a:cubicBezTo>
                <a:cubicBezTo>
                  <a:pt x="290869" y="2605"/>
                  <a:pt x="292126" y="20255"/>
                  <a:pt x="292919" y="41142"/>
                </a:cubicBezTo>
                <a:cubicBezTo>
                  <a:pt x="334447" y="250029"/>
                  <a:pt x="252114" y="463463"/>
                  <a:pt x="326633" y="667751"/>
                </a:cubicBezTo>
                <a:cubicBezTo>
                  <a:pt x="329251" y="686496"/>
                  <a:pt x="272724" y="695847"/>
                  <a:pt x="250967" y="699313"/>
                </a:cubicBezTo>
                <a:cubicBezTo>
                  <a:pt x="195632" y="695766"/>
                  <a:pt x="134634" y="703016"/>
                  <a:pt x="83166" y="699313"/>
                </a:cubicBezTo>
                <a:cubicBezTo>
                  <a:pt x="59285" y="701873"/>
                  <a:pt x="40460" y="679606"/>
                  <a:pt x="41215" y="658474"/>
                </a:cubicBezTo>
                <a:cubicBezTo>
                  <a:pt x="34037" y="526091"/>
                  <a:pt x="-1268" y="416179"/>
                  <a:pt x="0" y="292059"/>
                </a:cubicBezTo>
                <a:cubicBezTo>
                  <a:pt x="3224" y="236970"/>
                  <a:pt x="33350" y="147320"/>
                  <a:pt x="41215" y="41142"/>
                </a:cubicBezTo>
                <a:close/>
              </a:path>
            </a:pathLst>
          </a:custGeom>
          <a:solidFill>
            <a:schemeClr val="accent3">
              <a:lumMod val="75000"/>
              <a:alpha val="50196"/>
            </a:schemeClr>
          </a:solidFill>
          <a:ln w="19050">
            <a:solidFill>
              <a:schemeClr val="accent3">
                <a:lumMod val="50000"/>
              </a:schemeClr>
            </a:solidFill>
            <a:prstDash val="lgDash"/>
            <a:extLst>
              <a:ext uri="{C807C97D-BFC1-408E-A445-0C87EB9F89A2}">
                <ask:lineSketchStyleProps xmlns:ask="http://schemas.microsoft.com/office/drawing/2018/sketchyshapes" sd="1343802768">
                  <a:custGeom>
                    <a:avLst/>
                    <a:gdLst>
                      <a:gd name="connsiteX0" fmla="*/ 0 w 303332"/>
                      <a:gd name="connsiteY0" fmla="*/ 50556 h 865339"/>
                      <a:gd name="connsiteX1" fmla="*/ 50556 w 303332"/>
                      <a:gd name="connsiteY1" fmla="*/ 0 h 865339"/>
                      <a:gd name="connsiteX2" fmla="*/ 252776 w 303332"/>
                      <a:gd name="connsiteY2" fmla="*/ 0 h 865339"/>
                      <a:gd name="connsiteX3" fmla="*/ 303332 w 303332"/>
                      <a:gd name="connsiteY3" fmla="*/ 50556 h 865339"/>
                      <a:gd name="connsiteX4" fmla="*/ 303332 w 303332"/>
                      <a:gd name="connsiteY4" fmla="*/ 814783 h 865339"/>
                      <a:gd name="connsiteX5" fmla="*/ 252776 w 303332"/>
                      <a:gd name="connsiteY5" fmla="*/ 865339 h 865339"/>
                      <a:gd name="connsiteX6" fmla="*/ 50556 w 303332"/>
                      <a:gd name="connsiteY6" fmla="*/ 865339 h 865339"/>
                      <a:gd name="connsiteX7" fmla="*/ 0 w 303332"/>
                      <a:gd name="connsiteY7" fmla="*/ 814783 h 865339"/>
                      <a:gd name="connsiteX8" fmla="*/ 0 w 303332"/>
                      <a:gd name="connsiteY8" fmla="*/ 50556 h 865339"/>
                      <a:gd name="connsiteX0" fmla="*/ 0 w 303332"/>
                      <a:gd name="connsiteY0" fmla="*/ 50933 h 865716"/>
                      <a:gd name="connsiteX1" fmla="*/ 50556 w 303332"/>
                      <a:gd name="connsiteY1" fmla="*/ 377 h 865716"/>
                      <a:gd name="connsiteX2" fmla="*/ 269179 w 303332"/>
                      <a:gd name="connsiteY2" fmla="*/ 0 h 865716"/>
                      <a:gd name="connsiteX3" fmla="*/ 303332 w 303332"/>
                      <a:gd name="connsiteY3" fmla="*/ 50933 h 865716"/>
                      <a:gd name="connsiteX4" fmla="*/ 303332 w 303332"/>
                      <a:gd name="connsiteY4" fmla="*/ 815160 h 865716"/>
                      <a:gd name="connsiteX5" fmla="*/ 252776 w 303332"/>
                      <a:gd name="connsiteY5" fmla="*/ 865716 h 865716"/>
                      <a:gd name="connsiteX6" fmla="*/ 50556 w 303332"/>
                      <a:gd name="connsiteY6" fmla="*/ 865716 h 865716"/>
                      <a:gd name="connsiteX7" fmla="*/ 0 w 303332"/>
                      <a:gd name="connsiteY7" fmla="*/ 815160 h 865716"/>
                      <a:gd name="connsiteX8" fmla="*/ 0 w 303332"/>
                      <a:gd name="connsiteY8" fmla="*/ 50933 h 865716"/>
                      <a:gd name="connsiteX0" fmla="*/ 49669 w 353001"/>
                      <a:gd name="connsiteY0" fmla="*/ 50933 h 865716"/>
                      <a:gd name="connsiteX1" fmla="*/ 100225 w 353001"/>
                      <a:gd name="connsiteY1" fmla="*/ 377 h 865716"/>
                      <a:gd name="connsiteX2" fmla="*/ 318848 w 353001"/>
                      <a:gd name="connsiteY2" fmla="*/ 0 h 865716"/>
                      <a:gd name="connsiteX3" fmla="*/ 353001 w 353001"/>
                      <a:gd name="connsiteY3" fmla="*/ 50933 h 865716"/>
                      <a:gd name="connsiteX4" fmla="*/ 353001 w 353001"/>
                      <a:gd name="connsiteY4" fmla="*/ 815160 h 865716"/>
                      <a:gd name="connsiteX5" fmla="*/ 302445 w 353001"/>
                      <a:gd name="connsiteY5" fmla="*/ 865716 h 865716"/>
                      <a:gd name="connsiteX6" fmla="*/ 100225 w 353001"/>
                      <a:gd name="connsiteY6" fmla="*/ 865716 h 865716"/>
                      <a:gd name="connsiteX7" fmla="*/ 49669 w 353001"/>
                      <a:gd name="connsiteY7" fmla="*/ 815160 h 865716"/>
                      <a:gd name="connsiteX8" fmla="*/ 0 w 353001"/>
                      <a:gd name="connsiteY8" fmla="*/ 361556 h 865716"/>
                      <a:gd name="connsiteX9" fmla="*/ 49669 w 353001"/>
                      <a:gd name="connsiteY9" fmla="*/ 50933 h 865716"/>
                      <a:gd name="connsiteX0" fmla="*/ 49669 w 393630"/>
                      <a:gd name="connsiteY0" fmla="*/ 50933 h 865716"/>
                      <a:gd name="connsiteX1" fmla="*/ 100225 w 393630"/>
                      <a:gd name="connsiteY1" fmla="*/ 377 h 865716"/>
                      <a:gd name="connsiteX2" fmla="*/ 318848 w 393630"/>
                      <a:gd name="connsiteY2" fmla="*/ 0 h 865716"/>
                      <a:gd name="connsiteX3" fmla="*/ 353001 w 393630"/>
                      <a:gd name="connsiteY3" fmla="*/ 50933 h 865716"/>
                      <a:gd name="connsiteX4" fmla="*/ 393630 w 393630"/>
                      <a:gd name="connsiteY4" fmla="*/ 826644 h 865716"/>
                      <a:gd name="connsiteX5" fmla="*/ 302445 w 393630"/>
                      <a:gd name="connsiteY5" fmla="*/ 865716 h 865716"/>
                      <a:gd name="connsiteX6" fmla="*/ 100225 w 393630"/>
                      <a:gd name="connsiteY6" fmla="*/ 865716 h 865716"/>
                      <a:gd name="connsiteX7" fmla="*/ 49669 w 393630"/>
                      <a:gd name="connsiteY7" fmla="*/ 815160 h 865716"/>
                      <a:gd name="connsiteX8" fmla="*/ 0 w 393630"/>
                      <a:gd name="connsiteY8" fmla="*/ 361556 h 865716"/>
                      <a:gd name="connsiteX9" fmla="*/ 49669 w 393630"/>
                      <a:gd name="connsiteY9" fmla="*/ 50933 h 865716"/>
                      <a:gd name="connsiteX0" fmla="*/ 49669 w 393630"/>
                      <a:gd name="connsiteY0" fmla="*/ 50933 h 865716"/>
                      <a:gd name="connsiteX1" fmla="*/ 100225 w 393630"/>
                      <a:gd name="connsiteY1" fmla="*/ 377 h 865716"/>
                      <a:gd name="connsiteX2" fmla="*/ 318848 w 393630"/>
                      <a:gd name="connsiteY2" fmla="*/ 0 h 865716"/>
                      <a:gd name="connsiteX3" fmla="*/ 353001 w 393630"/>
                      <a:gd name="connsiteY3" fmla="*/ 50933 h 865716"/>
                      <a:gd name="connsiteX4" fmla="*/ 393630 w 393630"/>
                      <a:gd name="connsiteY4" fmla="*/ 826644 h 865716"/>
                      <a:gd name="connsiteX5" fmla="*/ 302445 w 393630"/>
                      <a:gd name="connsiteY5" fmla="*/ 865716 h 865716"/>
                      <a:gd name="connsiteX6" fmla="*/ 100225 w 393630"/>
                      <a:gd name="connsiteY6" fmla="*/ 865716 h 865716"/>
                      <a:gd name="connsiteX7" fmla="*/ 49669 w 393630"/>
                      <a:gd name="connsiteY7" fmla="*/ 815160 h 865716"/>
                      <a:gd name="connsiteX8" fmla="*/ 0 w 393630"/>
                      <a:gd name="connsiteY8" fmla="*/ 361556 h 865716"/>
                      <a:gd name="connsiteX9" fmla="*/ 49669 w 393630"/>
                      <a:gd name="connsiteY9" fmla="*/ 50933 h 8657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93630" h="865716">
                        <a:moveTo>
                          <a:pt x="49669" y="50933"/>
                        </a:moveTo>
                        <a:cubicBezTo>
                          <a:pt x="49669" y="23012"/>
                          <a:pt x="72304" y="377"/>
                          <a:pt x="100225" y="377"/>
                        </a:cubicBezTo>
                        <a:lnTo>
                          <a:pt x="318848" y="0"/>
                        </a:lnTo>
                        <a:cubicBezTo>
                          <a:pt x="346769" y="0"/>
                          <a:pt x="353001" y="23012"/>
                          <a:pt x="353001" y="50933"/>
                        </a:cubicBezTo>
                        <a:cubicBezTo>
                          <a:pt x="366544" y="309503"/>
                          <a:pt x="337945" y="548640"/>
                          <a:pt x="393630" y="826644"/>
                        </a:cubicBezTo>
                        <a:cubicBezTo>
                          <a:pt x="393630" y="854565"/>
                          <a:pt x="330366" y="865716"/>
                          <a:pt x="302445" y="865716"/>
                        </a:cubicBezTo>
                        <a:lnTo>
                          <a:pt x="100225" y="865716"/>
                        </a:lnTo>
                        <a:cubicBezTo>
                          <a:pt x="72304" y="865716"/>
                          <a:pt x="49669" y="843081"/>
                          <a:pt x="49669" y="815160"/>
                        </a:cubicBezTo>
                        <a:cubicBezTo>
                          <a:pt x="47076" y="660384"/>
                          <a:pt x="2593" y="516332"/>
                          <a:pt x="0" y="361556"/>
                        </a:cubicBezTo>
                        <a:lnTo>
                          <a:pt x="49669" y="50933"/>
                        </a:lnTo>
                        <a:close/>
                      </a:path>
                    </a:pathLst>
                  </a:cu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05" name="Rechthoek: afgeronde hoeken 202">
            <a:extLst>
              <a:ext uri="{FF2B5EF4-FFF2-40B4-BE49-F238E27FC236}">
                <a16:creationId xmlns:a16="http://schemas.microsoft.com/office/drawing/2014/main" id="{607FECB3-0ADB-4A65-9A27-8ABB8045D582}"/>
              </a:ext>
            </a:extLst>
          </p:cNvPr>
          <p:cNvSpPr/>
          <p:nvPr/>
        </p:nvSpPr>
        <p:spPr>
          <a:xfrm rot="646931">
            <a:off x="7357547" y="3575166"/>
            <a:ext cx="289187" cy="724393"/>
          </a:xfrm>
          <a:custGeom>
            <a:avLst/>
            <a:gdLst>
              <a:gd name="connsiteX0" fmla="*/ 0 w 289187"/>
              <a:gd name="connsiteY0" fmla="*/ 48199 h 715183"/>
              <a:gd name="connsiteX1" fmla="*/ 48199 w 289187"/>
              <a:gd name="connsiteY1" fmla="*/ 0 h 715183"/>
              <a:gd name="connsiteX2" fmla="*/ 240988 w 289187"/>
              <a:gd name="connsiteY2" fmla="*/ 0 h 715183"/>
              <a:gd name="connsiteX3" fmla="*/ 289187 w 289187"/>
              <a:gd name="connsiteY3" fmla="*/ 48199 h 715183"/>
              <a:gd name="connsiteX4" fmla="*/ 289187 w 289187"/>
              <a:gd name="connsiteY4" fmla="*/ 666984 h 715183"/>
              <a:gd name="connsiteX5" fmla="*/ 240988 w 289187"/>
              <a:gd name="connsiteY5" fmla="*/ 715183 h 715183"/>
              <a:gd name="connsiteX6" fmla="*/ 48199 w 289187"/>
              <a:gd name="connsiteY6" fmla="*/ 715183 h 715183"/>
              <a:gd name="connsiteX7" fmla="*/ 0 w 289187"/>
              <a:gd name="connsiteY7" fmla="*/ 666984 h 715183"/>
              <a:gd name="connsiteX8" fmla="*/ 0 w 289187"/>
              <a:gd name="connsiteY8" fmla="*/ 48199 h 715183"/>
              <a:gd name="connsiteX0" fmla="*/ 0 w 289187"/>
              <a:gd name="connsiteY0" fmla="*/ 57409 h 724393"/>
              <a:gd name="connsiteX1" fmla="*/ 82140 w 289187"/>
              <a:gd name="connsiteY1" fmla="*/ 0 h 724393"/>
              <a:gd name="connsiteX2" fmla="*/ 240988 w 289187"/>
              <a:gd name="connsiteY2" fmla="*/ 9210 h 724393"/>
              <a:gd name="connsiteX3" fmla="*/ 289187 w 289187"/>
              <a:gd name="connsiteY3" fmla="*/ 57409 h 724393"/>
              <a:gd name="connsiteX4" fmla="*/ 289187 w 289187"/>
              <a:gd name="connsiteY4" fmla="*/ 676194 h 724393"/>
              <a:gd name="connsiteX5" fmla="*/ 240988 w 289187"/>
              <a:gd name="connsiteY5" fmla="*/ 724393 h 724393"/>
              <a:gd name="connsiteX6" fmla="*/ 48199 w 289187"/>
              <a:gd name="connsiteY6" fmla="*/ 724393 h 724393"/>
              <a:gd name="connsiteX7" fmla="*/ 0 w 289187"/>
              <a:gd name="connsiteY7" fmla="*/ 676194 h 724393"/>
              <a:gd name="connsiteX8" fmla="*/ 0 w 289187"/>
              <a:gd name="connsiteY8" fmla="*/ 57409 h 7243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9187" h="724393">
                <a:moveTo>
                  <a:pt x="0" y="57409"/>
                </a:moveTo>
                <a:cubicBezTo>
                  <a:pt x="0" y="30789"/>
                  <a:pt x="55520" y="0"/>
                  <a:pt x="82140" y="0"/>
                </a:cubicBezTo>
                <a:cubicBezTo>
                  <a:pt x="146403" y="0"/>
                  <a:pt x="176725" y="9210"/>
                  <a:pt x="240988" y="9210"/>
                </a:cubicBezTo>
                <a:cubicBezTo>
                  <a:pt x="267608" y="9210"/>
                  <a:pt x="289187" y="30789"/>
                  <a:pt x="289187" y="57409"/>
                </a:cubicBezTo>
                <a:lnTo>
                  <a:pt x="289187" y="676194"/>
                </a:lnTo>
                <a:cubicBezTo>
                  <a:pt x="289187" y="702814"/>
                  <a:pt x="267608" y="724393"/>
                  <a:pt x="240988" y="724393"/>
                </a:cubicBezTo>
                <a:lnTo>
                  <a:pt x="48199" y="724393"/>
                </a:lnTo>
                <a:cubicBezTo>
                  <a:pt x="21579" y="724393"/>
                  <a:pt x="0" y="702814"/>
                  <a:pt x="0" y="676194"/>
                </a:cubicBezTo>
                <a:lnTo>
                  <a:pt x="0" y="57409"/>
                </a:lnTo>
                <a:close/>
              </a:path>
            </a:pathLst>
          </a:custGeom>
          <a:solidFill>
            <a:schemeClr val="accent3">
              <a:lumMod val="75000"/>
              <a:alpha val="50196"/>
            </a:schemeClr>
          </a:solidFill>
          <a:ln w="19050">
            <a:solidFill>
              <a:schemeClr val="accent3">
                <a:lumMod val="50000"/>
              </a:schemeClr>
            </a:solidFill>
            <a:prstDash val="lgDash"/>
            <a:extLst>
              <a:ext uri="{C807C97D-BFC1-408E-A445-0C87EB9F89A2}">
                <ask:lineSketchStyleProps xmlns:ask="http://schemas.microsoft.com/office/drawing/2018/sketchyshapes" sd="690809821">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06" name="Rechthoek: afgeronde hoeken 105">
            <a:extLst>
              <a:ext uri="{FF2B5EF4-FFF2-40B4-BE49-F238E27FC236}">
                <a16:creationId xmlns:a16="http://schemas.microsoft.com/office/drawing/2014/main" id="{D792E699-7E71-4DE7-B680-07C4F86613E1}"/>
              </a:ext>
            </a:extLst>
          </p:cNvPr>
          <p:cNvSpPr/>
          <p:nvPr/>
        </p:nvSpPr>
        <p:spPr>
          <a:xfrm rot="646931">
            <a:off x="9693942" y="2998226"/>
            <a:ext cx="297940" cy="564150"/>
          </a:xfrm>
          <a:solidFill>
            <a:schemeClr val="accent3">
              <a:lumMod val="75000"/>
              <a:alpha val="50196"/>
            </a:schemeClr>
          </a:solidFill>
          <a:ln w="19050">
            <a:solidFill>
              <a:schemeClr val="accent3">
                <a:lumMod val="50000"/>
              </a:schemeClr>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07" name="Rechthoek: afgeronde hoeken 106">
            <a:extLst>
              <a:ext uri="{FF2B5EF4-FFF2-40B4-BE49-F238E27FC236}">
                <a16:creationId xmlns:a16="http://schemas.microsoft.com/office/drawing/2014/main" id="{51C636B3-807A-420A-AE51-80C13D5CB599}"/>
              </a:ext>
            </a:extLst>
          </p:cNvPr>
          <p:cNvSpPr/>
          <p:nvPr/>
        </p:nvSpPr>
        <p:spPr>
          <a:xfrm rot="646931">
            <a:off x="9427230" y="4087662"/>
            <a:ext cx="296543" cy="826980"/>
          </a:xfrm>
          <a:solidFill>
            <a:schemeClr val="accent3">
              <a:lumMod val="75000"/>
              <a:alpha val="50196"/>
            </a:schemeClr>
          </a:solidFill>
          <a:ln w="19050">
            <a:solidFill>
              <a:schemeClr val="accent3">
                <a:lumMod val="50000"/>
              </a:schemeClr>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11" name="Rechthoek: afgeronde hoeken 19">
            <a:extLst>
              <a:ext uri="{FF2B5EF4-FFF2-40B4-BE49-F238E27FC236}">
                <a16:creationId xmlns:a16="http://schemas.microsoft.com/office/drawing/2014/main" id="{1ED6B5D0-4616-4CA9-A964-985AC64C8A24}"/>
              </a:ext>
            </a:extLst>
          </p:cNvPr>
          <p:cNvSpPr/>
          <p:nvPr/>
        </p:nvSpPr>
        <p:spPr>
          <a:xfrm rot="21152301">
            <a:off x="9460012" y="840129"/>
            <a:ext cx="602403" cy="967251"/>
          </a:xfrm>
          <a:custGeom>
            <a:avLst/>
            <a:gdLst>
              <a:gd name="connsiteX0" fmla="*/ 0 w 602403"/>
              <a:gd name="connsiteY0" fmla="*/ 100403 h 966899"/>
              <a:gd name="connsiteX1" fmla="*/ 100403 w 602403"/>
              <a:gd name="connsiteY1" fmla="*/ 0 h 966899"/>
              <a:gd name="connsiteX2" fmla="*/ 502000 w 602403"/>
              <a:gd name="connsiteY2" fmla="*/ 0 h 966899"/>
              <a:gd name="connsiteX3" fmla="*/ 602403 w 602403"/>
              <a:gd name="connsiteY3" fmla="*/ 100403 h 966899"/>
              <a:gd name="connsiteX4" fmla="*/ 602403 w 602403"/>
              <a:gd name="connsiteY4" fmla="*/ 866496 h 966899"/>
              <a:gd name="connsiteX5" fmla="*/ 502000 w 602403"/>
              <a:gd name="connsiteY5" fmla="*/ 966899 h 966899"/>
              <a:gd name="connsiteX6" fmla="*/ 100403 w 602403"/>
              <a:gd name="connsiteY6" fmla="*/ 966899 h 966899"/>
              <a:gd name="connsiteX7" fmla="*/ 0 w 602403"/>
              <a:gd name="connsiteY7" fmla="*/ 866496 h 966899"/>
              <a:gd name="connsiteX8" fmla="*/ 0 w 602403"/>
              <a:gd name="connsiteY8" fmla="*/ 100403 h 966899"/>
              <a:gd name="connsiteX0" fmla="*/ 0 w 602403"/>
              <a:gd name="connsiteY0" fmla="*/ 100403 h 966899"/>
              <a:gd name="connsiteX1" fmla="*/ 200541 w 602403"/>
              <a:gd name="connsiteY1" fmla="*/ 115583 h 966899"/>
              <a:gd name="connsiteX2" fmla="*/ 502000 w 602403"/>
              <a:gd name="connsiteY2" fmla="*/ 0 h 966899"/>
              <a:gd name="connsiteX3" fmla="*/ 602403 w 602403"/>
              <a:gd name="connsiteY3" fmla="*/ 100403 h 966899"/>
              <a:gd name="connsiteX4" fmla="*/ 602403 w 602403"/>
              <a:gd name="connsiteY4" fmla="*/ 866496 h 966899"/>
              <a:gd name="connsiteX5" fmla="*/ 502000 w 602403"/>
              <a:gd name="connsiteY5" fmla="*/ 966899 h 966899"/>
              <a:gd name="connsiteX6" fmla="*/ 100403 w 602403"/>
              <a:gd name="connsiteY6" fmla="*/ 966899 h 966899"/>
              <a:gd name="connsiteX7" fmla="*/ 0 w 602403"/>
              <a:gd name="connsiteY7" fmla="*/ 866496 h 966899"/>
              <a:gd name="connsiteX8" fmla="*/ 0 w 602403"/>
              <a:gd name="connsiteY8" fmla="*/ 100403 h 966899"/>
              <a:gd name="connsiteX0" fmla="*/ 6442 w 602403"/>
              <a:gd name="connsiteY0" fmla="*/ 344607 h 966899"/>
              <a:gd name="connsiteX1" fmla="*/ 200541 w 602403"/>
              <a:gd name="connsiteY1" fmla="*/ 115583 h 966899"/>
              <a:gd name="connsiteX2" fmla="*/ 502000 w 602403"/>
              <a:gd name="connsiteY2" fmla="*/ 0 h 966899"/>
              <a:gd name="connsiteX3" fmla="*/ 602403 w 602403"/>
              <a:gd name="connsiteY3" fmla="*/ 100403 h 966899"/>
              <a:gd name="connsiteX4" fmla="*/ 602403 w 602403"/>
              <a:gd name="connsiteY4" fmla="*/ 866496 h 966899"/>
              <a:gd name="connsiteX5" fmla="*/ 502000 w 602403"/>
              <a:gd name="connsiteY5" fmla="*/ 966899 h 966899"/>
              <a:gd name="connsiteX6" fmla="*/ 100403 w 602403"/>
              <a:gd name="connsiteY6" fmla="*/ 966899 h 966899"/>
              <a:gd name="connsiteX7" fmla="*/ 0 w 602403"/>
              <a:gd name="connsiteY7" fmla="*/ 866496 h 966899"/>
              <a:gd name="connsiteX8" fmla="*/ 6442 w 602403"/>
              <a:gd name="connsiteY8" fmla="*/ 344607 h 966899"/>
              <a:gd name="connsiteX0" fmla="*/ 6442 w 602403"/>
              <a:gd name="connsiteY0" fmla="*/ 344959 h 967251"/>
              <a:gd name="connsiteX1" fmla="*/ 200541 w 602403"/>
              <a:gd name="connsiteY1" fmla="*/ 115935 h 967251"/>
              <a:gd name="connsiteX2" fmla="*/ 303695 w 602403"/>
              <a:gd name="connsiteY2" fmla="*/ 32315 h 967251"/>
              <a:gd name="connsiteX3" fmla="*/ 502000 w 602403"/>
              <a:gd name="connsiteY3" fmla="*/ 352 h 967251"/>
              <a:gd name="connsiteX4" fmla="*/ 602403 w 602403"/>
              <a:gd name="connsiteY4" fmla="*/ 100755 h 967251"/>
              <a:gd name="connsiteX5" fmla="*/ 602403 w 602403"/>
              <a:gd name="connsiteY5" fmla="*/ 866848 h 967251"/>
              <a:gd name="connsiteX6" fmla="*/ 502000 w 602403"/>
              <a:gd name="connsiteY6" fmla="*/ 967251 h 967251"/>
              <a:gd name="connsiteX7" fmla="*/ 100403 w 602403"/>
              <a:gd name="connsiteY7" fmla="*/ 967251 h 967251"/>
              <a:gd name="connsiteX8" fmla="*/ 0 w 602403"/>
              <a:gd name="connsiteY8" fmla="*/ 866848 h 967251"/>
              <a:gd name="connsiteX9" fmla="*/ 6442 w 602403"/>
              <a:gd name="connsiteY9" fmla="*/ 344959 h 9672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02403" h="967251">
                <a:moveTo>
                  <a:pt x="6442" y="344959"/>
                </a:moveTo>
                <a:cubicBezTo>
                  <a:pt x="6442" y="289508"/>
                  <a:pt x="145090" y="115935"/>
                  <a:pt x="200541" y="115935"/>
                </a:cubicBezTo>
                <a:cubicBezTo>
                  <a:pt x="249683" y="72314"/>
                  <a:pt x="253452" y="51579"/>
                  <a:pt x="303695" y="32315"/>
                </a:cubicBezTo>
                <a:cubicBezTo>
                  <a:pt x="353938" y="13051"/>
                  <a:pt x="451815" y="-2568"/>
                  <a:pt x="502000" y="352"/>
                </a:cubicBezTo>
                <a:cubicBezTo>
                  <a:pt x="557451" y="352"/>
                  <a:pt x="602403" y="45304"/>
                  <a:pt x="602403" y="100755"/>
                </a:cubicBezTo>
                <a:lnTo>
                  <a:pt x="602403" y="866848"/>
                </a:lnTo>
                <a:cubicBezTo>
                  <a:pt x="602403" y="922299"/>
                  <a:pt x="557451" y="967251"/>
                  <a:pt x="502000" y="967251"/>
                </a:cubicBezTo>
                <a:lnTo>
                  <a:pt x="100403" y="967251"/>
                </a:lnTo>
                <a:cubicBezTo>
                  <a:pt x="44952" y="967251"/>
                  <a:pt x="0" y="922299"/>
                  <a:pt x="0" y="866848"/>
                </a:cubicBezTo>
                <a:cubicBezTo>
                  <a:pt x="2147" y="692885"/>
                  <a:pt x="4295" y="518922"/>
                  <a:pt x="6442" y="344959"/>
                </a:cubicBezTo>
                <a:close/>
              </a:path>
            </a:pathLst>
          </a:custGeom>
          <a:solidFill>
            <a:srgbClr val="62366E">
              <a:alpha val="50196"/>
            </a:srgbClr>
          </a:solidFill>
          <a:ln w="19050">
            <a:solidFill>
              <a:schemeClr val="accent1"/>
            </a:solidFill>
            <a:prstDash val="lgDash"/>
            <a:extLst>
              <a:ext uri="{C807C97D-BFC1-408E-A445-0C87EB9F89A2}">
                <ask:lineSketchStyleProps xmlns:ask="http://schemas.microsoft.com/office/drawing/2018/sketchyshapes" sd="3986773996">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14" name="Ovaal 216">
            <a:extLst>
              <a:ext uri="{FF2B5EF4-FFF2-40B4-BE49-F238E27FC236}">
                <a16:creationId xmlns:a16="http://schemas.microsoft.com/office/drawing/2014/main" id="{81BAA2EB-B657-40FE-82F3-B62EFFDD0544}"/>
              </a:ext>
            </a:extLst>
          </p:cNvPr>
          <p:cNvSpPr/>
          <p:nvPr/>
        </p:nvSpPr>
        <p:spPr>
          <a:xfrm rot="2334895">
            <a:off x="8577667" y="4817765"/>
            <a:ext cx="977943" cy="1448917"/>
          </a:xfrm>
          <a:custGeom>
            <a:avLst/>
            <a:gdLst>
              <a:gd name="connsiteX0" fmla="*/ 0 w 951616"/>
              <a:gd name="connsiteY0" fmla="*/ 601230 h 1202460"/>
              <a:gd name="connsiteX1" fmla="*/ 475808 w 951616"/>
              <a:gd name="connsiteY1" fmla="*/ 0 h 1202460"/>
              <a:gd name="connsiteX2" fmla="*/ 951616 w 951616"/>
              <a:gd name="connsiteY2" fmla="*/ 601230 h 1202460"/>
              <a:gd name="connsiteX3" fmla="*/ 475808 w 951616"/>
              <a:gd name="connsiteY3" fmla="*/ 1202460 h 1202460"/>
              <a:gd name="connsiteX4" fmla="*/ 0 w 951616"/>
              <a:gd name="connsiteY4" fmla="*/ 601230 h 1202460"/>
              <a:gd name="connsiteX0" fmla="*/ 37983 w 989599"/>
              <a:gd name="connsiteY0" fmla="*/ 601230 h 1318861"/>
              <a:gd name="connsiteX1" fmla="*/ 513791 w 989599"/>
              <a:gd name="connsiteY1" fmla="*/ 0 h 1318861"/>
              <a:gd name="connsiteX2" fmla="*/ 989599 w 989599"/>
              <a:gd name="connsiteY2" fmla="*/ 601230 h 1318861"/>
              <a:gd name="connsiteX3" fmla="*/ 207870 w 989599"/>
              <a:gd name="connsiteY3" fmla="*/ 1318861 h 1318861"/>
              <a:gd name="connsiteX4" fmla="*/ 37983 w 989599"/>
              <a:gd name="connsiteY4" fmla="*/ 601230 h 1318861"/>
              <a:gd name="connsiteX0" fmla="*/ 46258 w 877800"/>
              <a:gd name="connsiteY0" fmla="*/ 618569 h 1318895"/>
              <a:gd name="connsiteX1" fmla="*/ 401992 w 877800"/>
              <a:gd name="connsiteY1" fmla="*/ 22 h 1318895"/>
              <a:gd name="connsiteX2" fmla="*/ 877800 w 877800"/>
              <a:gd name="connsiteY2" fmla="*/ 601252 h 1318895"/>
              <a:gd name="connsiteX3" fmla="*/ 96071 w 877800"/>
              <a:gd name="connsiteY3" fmla="*/ 1318883 h 1318895"/>
              <a:gd name="connsiteX4" fmla="*/ 46258 w 877800"/>
              <a:gd name="connsiteY4" fmla="*/ 618569 h 1318895"/>
              <a:gd name="connsiteX0" fmla="*/ 145976 w 977518"/>
              <a:gd name="connsiteY0" fmla="*/ 618569 h 1337824"/>
              <a:gd name="connsiteX1" fmla="*/ 501710 w 977518"/>
              <a:gd name="connsiteY1" fmla="*/ 22 h 1337824"/>
              <a:gd name="connsiteX2" fmla="*/ 977518 w 977518"/>
              <a:gd name="connsiteY2" fmla="*/ 601252 h 1337824"/>
              <a:gd name="connsiteX3" fmla="*/ 195789 w 977518"/>
              <a:gd name="connsiteY3" fmla="*/ 1318883 h 1337824"/>
              <a:gd name="connsiteX4" fmla="*/ 669 w 977518"/>
              <a:gd name="connsiteY4" fmla="*/ 1086179 h 1337824"/>
              <a:gd name="connsiteX5" fmla="*/ 145976 w 977518"/>
              <a:gd name="connsiteY5" fmla="*/ 618569 h 1337824"/>
              <a:gd name="connsiteX0" fmla="*/ 246862 w 977141"/>
              <a:gd name="connsiteY0" fmla="*/ 643017 h 1337930"/>
              <a:gd name="connsiteX1" fmla="*/ 501333 w 977141"/>
              <a:gd name="connsiteY1" fmla="*/ 128 h 1337930"/>
              <a:gd name="connsiteX2" fmla="*/ 977141 w 977141"/>
              <a:gd name="connsiteY2" fmla="*/ 601358 h 1337930"/>
              <a:gd name="connsiteX3" fmla="*/ 195412 w 977141"/>
              <a:gd name="connsiteY3" fmla="*/ 1318989 h 1337930"/>
              <a:gd name="connsiteX4" fmla="*/ 292 w 977141"/>
              <a:gd name="connsiteY4" fmla="*/ 1086285 h 1337930"/>
              <a:gd name="connsiteX5" fmla="*/ 246862 w 977141"/>
              <a:gd name="connsiteY5" fmla="*/ 643017 h 1337930"/>
              <a:gd name="connsiteX0" fmla="*/ 246814 w 977093"/>
              <a:gd name="connsiteY0" fmla="*/ 688278 h 1383191"/>
              <a:gd name="connsiteX1" fmla="*/ 289264 w 977093"/>
              <a:gd name="connsiteY1" fmla="*/ 114745 h 1383191"/>
              <a:gd name="connsiteX2" fmla="*/ 501285 w 977093"/>
              <a:gd name="connsiteY2" fmla="*/ 45389 h 1383191"/>
              <a:gd name="connsiteX3" fmla="*/ 977093 w 977093"/>
              <a:gd name="connsiteY3" fmla="*/ 646619 h 1383191"/>
              <a:gd name="connsiteX4" fmla="*/ 195364 w 977093"/>
              <a:gd name="connsiteY4" fmla="*/ 1364250 h 1383191"/>
              <a:gd name="connsiteX5" fmla="*/ 244 w 977093"/>
              <a:gd name="connsiteY5" fmla="*/ 1131546 h 1383191"/>
              <a:gd name="connsiteX6" fmla="*/ 246814 w 977093"/>
              <a:gd name="connsiteY6" fmla="*/ 688278 h 1383191"/>
              <a:gd name="connsiteX0" fmla="*/ 246814 w 984760"/>
              <a:gd name="connsiteY0" fmla="*/ 762162 h 1457075"/>
              <a:gd name="connsiteX1" fmla="*/ 289264 w 984760"/>
              <a:gd name="connsiteY1" fmla="*/ 188629 h 1457075"/>
              <a:gd name="connsiteX2" fmla="*/ 501285 w 984760"/>
              <a:gd name="connsiteY2" fmla="*/ 119273 h 1457075"/>
              <a:gd name="connsiteX3" fmla="*/ 603934 w 984760"/>
              <a:gd name="connsiteY3" fmla="*/ 32521 h 1457075"/>
              <a:gd name="connsiteX4" fmla="*/ 977093 w 984760"/>
              <a:gd name="connsiteY4" fmla="*/ 720503 h 1457075"/>
              <a:gd name="connsiteX5" fmla="*/ 195364 w 984760"/>
              <a:gd name="connsiteY5" fmla="*/ 1438134 h 1457075"/>
              <a:gd name="connsiteX6" fmla="*/ 244 w 984760"/>
              <a:gd name="connsiteY6" fmla="*/ 1205430 h 1457075"/>
              <a:gd name="connsiteX7" fmla="*/ 246814 w 984760"/>
              <a:gd name="connsiteY7" fmla="*/ 762162 h 1457075"/>
              <a:gd name="connsiteX0" fmla="*/ 246814 w 984760"/>
              <a:gd name="connsiteY0" fmla="*/ 772210 h 1467123"/>
              <a:gd name="connsiteX1" fmla="*/ 289264 w 984760"/>
              <a:gd name="connsiteY1" fmla="*/ 198677 h 1467123"/>
              <a:gd name="connsiteX2" fmla="*/ 439548 w 984760"/>
              <a:gd name="connsiteY2" fmla="*/ 73068 h 1467123"/>
              <a:gd name="connsiteX3" fmla="*/ 603934 w 984760"/>
              <a:gd name="connsiteY3" fmla="*/ 42569 h 1467123"/>
              <a:gd name="connsiteX4" fmla="*/ 977093 w 984760"/>
              <a:gd name="connsiteY4" fmla="*/ 730551 h 1467123"/>
              <a:gd name="connsiteX5" fmla="*/ 195364 w 984760"/>
              <a:gd name="connsiteY5" fmla="*/ 1448182 h 1467123"/>
              <a:gd name="connsiteX6" fmla="*/ 244 w 984760"/>
              <a:gd name="connsiteY6" fmla="*/ 1215478 h 1467123"/>
              <a:gd name="connsiteX7" fmla="*/ 246814 w 984760"/>
              <a:gd name="connsiteY7" fmla="*/ 772210 h 1467123"/>
              <a:gd name="connsiteX0" fmla="*/ 246814 w 977943"/>
              <a:gd name="connsiteY0" fmla="*/ 772210 h 1448917"/>
              <a:gd name="connsiteX1" fmla="*/ 289264 w 977943"/>
              <a:gd name="connsiteY1" fmla="*/ 198677 h 1448917"/>
              <a:gd name="connsiteX2" fmla="*/ 439548 w 977943"/>
              <a:gd name="connsiteY2" fmla="*/ 73068 h 1448917"/>
              <a:gd name="connsiteX3" fmla="*/ 603934 w 977943"/>
              <a:gd name="connsiteY3" fmla="*/ 42569 h 1448917"/>
              <a:gd name="connsiteX4" fmla="*/ 977093 w 977943"/>
              <a:gd name="connsiteY4" fmla="*/ 730551 h 1448917"/>
              <a:gd name="connsiteX5" fmla="*/ 703059 w 977943"/>
              <a:gd name="connsiteY5" fmla="*/ 1145905 h 1448917"/>
              <a:gd name="connsiteX6" fmla="*/ 195364 w 977943"/>
              <a:gd name="connsiteY6" fmla="*/ 1448182 h 1448917"/>
              <a:gd name="connsiteX7" fmla="*/ 244 w 977943"/>
              <a:gd name="connsiteY7" fmla="*/ 1215478 h 1448917"/>
              <a:gd name="connsiteX8" fmla="*/ 246814 w 977943"/>
              <a:gd name="connsiteY8" fmla="*/ 772210 h 14489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77943" h="1448917">
                <a:moveTo>
                  <a:pt x="246814" y="772210"/>
                </a:moveTo>
                <a:cubicBezTo>
                  <a:pt x="294984" y="602743"/>
                  <a:pt x="246852" y="305825"/>
                  <a:pt x="289264" y="198677"/>
                </a:cubicBezTo>
                <a:cubicBezTo>
                  <a:pt x="331676" y="91529"/>
                  <a:pt x="387103" y="99086"/>
                  <a:pt x="439548" y="73068"/>
                </a:cubicBezTo>
                <a:cubicBezTo>
                  <a:pt x="491993" y="47050"/>
                  <a:pt x="524633" y="-57636"/>
                  <a:pt x="603934" y="42569"/>
                </a:cubicBezTo>
                <a:cubicBezTo>
                  <a:pt x="683235" y="142774"/>
                  <a:pt x="963262" y="556732"/>
                  <a:pt x="977093" y="730551"/>
                </a:cubicBezTo>
                <a:cubicBezTo>
                  <a:pt x="990924" y="904370"/>
                  <a:pt x="833347" y="1026300"/>
                  <a:pt x="703059" y="1145905"/>
                </a:cubicBezTo>
                <a:cubicBezTo>
                  <a:pt x="572771" y="1265510"/>
                  <a:pt x="312500" y="1436586"/>
                  <a:pt x="195364" y="1448182"/>
                </a:cubicBezTo>
                <a:cubicBezTo>
                  <a:pt x="78228" y="1459778"/>
                  <a:pt x="8546" y="1332197"/>
                  <a:pt x="244" y="1215478"/>
                </a:cubicBezTo>
                <a:cubicBezTo>
                  <a:pt x="-8058" y="1098759"/>
                  <a:pt x="198644" y="941677"/>
                  <a:pt x="246814" y="772210"/>
                </a:cubicBezTo>
                <a:close/>
              </a:path>
            </a:pathLst>
          </a:custGeom>
          <a:solidFill>
            <a:srgbClr val="62366E">
              <a:alpha val="50196"/>
            </a:srgbClr>
          </a:solidFill>
          <a:ln w="19050">
            <a:solidFill>
              <a:schemeClr val="accent1"/>
            </a:solidFill>
            <a:prstDash val="lgDash"/>
            <a:extLst>
              <a:ext uri="{C807C97D-BFC1-408E-A445-0C87EB9F89A2}">
                <ask:lineSketchStyleProps xmlns:ask="http://schemas.microsoft.com/office/drawing/2018/sketchyshapes" sd="3968125672">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grpSp>
        <p:nvGrpSpPr>
          <p:cNvPr id="115" name="Groep 114">
            <a:extLst>
              <a:ext uri="{FF2B5EF4-FFF2-40B4-BE49-F238E27FC236}">
                <a16:creationId xmlns:a16="http://schemas.microsoft.com/office/drawing/2014/main" id="{D3296C42-6186-496F-9EBA-560CD416FD35}"/>
              </a:ext>
            </a:extLst>
          </p:cNvPr>
          <p:cNvGrpSpPr/>
          <p:nvPr/>
        </p:nvGrpSpPr>
        <p:grpSpPr>
          <a:xfrm>
            <a:off x="8149634" y="5746194"/>
            <a:ext cx="288000" cy="288000"/>
            <a:chOff x="7690156" y="5602619"/>
            <a:chExt cx="329184" cy="329184"/>
          </a:xfrm>
        </p:grpSpPr>
        <p:sp>
          <p:nvSpPr>
            <p:cNvPr id="318" name="Oval 53">
              <a:extLst>
                <a:ext uri="{FF2B5EF4-FFF2-40B4-BE49-F238E27FC236}">
                  <a16:creationId xmlns:a16="http://schemas.microsoft.com/office/drawing/2014/main" id="{DA4C9FCF-D817-4531-95B6-F0C8F6F64374}"/>
                </a:ext>
              </a:extLst>
            </p:cNvPr>
            <p:cNvSpPr/>
            <p:nvPr/>
          </p:nvSpPr>
          <p:spPr>
            <a:xfrm>
              <a:off x="7690156" y="5602619"/>
              <a:ext cx="329184" cy="329184"/>
            </a:xfrm>
            <a:prstGeom prst="ellipse">
              <a:avLst/>
            </a:prstGeom>
            <a:solidFill>
              <a:srgbClr val="62366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319" name="Shopping_cart" descr="{&quot;Key&quot;:&quot;POWER_USER_SHAPE_ICON&quot;,&quot;Value&quot;:&quot;POWER_USER_SHAPE_ICON_STYLE_1&quot;}">
              <a:extLst>
                <a:ext uri="{FF2B5EF4-FFF2-40B4-BE49-F238E27FC236}">
                  <a16:creationId xmlns:a16="http://schemas.microsoft.com/office/drawing/2014/main" id="{3B41C4FB-3FA9-4717-A070-1207DB8F9ADC}"/>
                </a:ext>
              </a:extLst>
            </p:cNvPr>
            <p:cNvGrpSpPr>
              <a:grpSpLocks noChangeAspect="1"/>
            </p:cNvGrpSpPr>
            <p:nvPr>
              <p:custDataLst>
                <p:tags r:id="rId53"/>
              </p:custDataLst>
            </p:nvPr>
          </p:nvGrpSpPr>
          <p:grpSpPr>
            <a:xfrm>
              <a:off x="7727679" y="5660649"/>
              <a:ext cx="235088" cy="232174"/>
              <a:chOff x="4646614" y="2062164"/>
              <a:chExt cx="384175" cy="379413"/>
            </a:xfrm>
            <a:solidFill>
              <a:schemeClr val="bg1"/>
            </a:solidFill>
          </p:grpSpPr>
          <p:sp>
            <p:nvSpPr>
              <p:cNvPr id="320" name="Freeform 198">
                <a:extLst>
                  <a:ext uri="{FF2B5EF4-FFF2-40B4-BE49-F238E27FC236}">
                    <a16:creationId xmlns:a16="http://schemas.microsoft.com/office/drawing/2014/main" id="{E0E15B80-5FF1-4013-859F-DB8F98B4ECF3}"/>
                  </a:ext>
                </a:extLst>
              </p:cNvPr>
              <p:cNvSpPr>
                <a:spLocks noEditPoints="1"/>
              </p:cNvSpPr>
              <p:nvPr/>
            </p:nvSpPr>
            <p:spPr bwMode="auto">
              <a:xfrm>
                <a:off x="4773614" y="2386014"/>
                <a:ext cx="55563" cy="55563"/>
              </a:xfrm>
              <a:custGeom>
                <a:avLst/>
                <a:gdLst>
                  <a:gd name="T0" fmla="*/ 40 w 80"/>
                  <a:gd name="T1" fmla="*/ 55 h 80"/>
                  <a:gd name="T2" fmla="*/ 25 w 80"/>
                  <a:gd name="T3" fmla="*/ 40 h 80"/>
                  <a:gd name="T4" fmla="*/ 40 w 80"/>
                  <a:gd name="T5" fmla="*/ 25 h 80"/>
                  <a:gd name="T6" fmla="*/ 55 w 80"/>
                  <a:gd name="T7" fmla="*/ 40 h 80"/>
                  <a:gd name="T8" fmla="*/ 40 w 80"/>
                  <a:gd name="T9" fmla="*/ 55 h 80"/>
                  <a:gd name="T10" fmla="*/ 40 w 80"/>
                  <a:gd name="T11" fmla="*/ 0 h 80"/>
                  <a:gd name="T12" fmla="*/ 0 w 80"/>
                  <a:gd name="T13" fmla="*/ 40 h 80"/>
                  <a:gd name="T14" fmla="*/ 40 w 80"/>
                  <a:gd name="T15" fmla="*/ 80 h 80"/>
                  <a:gd name="T16" fmla="*/ 80 w 80"/>
                  <a:gd name="T17" fmla="*/ 40 h 80"/>
                  <a:gd name="T18" fmla="*/ 40 w 80"/>
                  <a:gd name="T19"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0" h="80">
                    <a:moveTo>
                      <a:pt x="40" y="55"/>
                    </a:moveTo>
                    <a:cubicBezTo>
                      <a:pt x="32" y="55"/>
                      <a:pt x="25" y="48"/>
                      <a:pt x="25" y="40"/>
                    </a:cubicBezTo>
                    <a:cubicBezTo>
                      <a:pt x="25" y="32"/>
                      <a:pt x="32" y="25"/>
                      <a:pt x="40" y="25"/>
                    </a:cubicBezTo>
                    <a:cubicBezTo>
                      <a:pt x="48" y="25"/>
                      <a:pt x="55" y="32"/>
                      <a:pt x="55" y="40"/>
                    </a:cubicBezTo>
                    <a:cubicBezTo>
                      <a:pt x="55" y="48"/>
                      <a:pt x="48" y="55"/>
                      <a:pt x="40" y="55"/>
                    </a:cubicBezTo>
                    <a:close/>
                    <a:moveTo>
                      <a:pt x="40" y="0"/>
                    </a:moveTo>
                    <a:cubicBezTo>
                      <a:pt x="18" y="0"/>
                      <a:pt x="0" y="18"/>
                      <a:pt x="0" y="40"/>
                    </a:cubicBezTo>
                    <a:cubicBezTo>
                      <a:pt x="0" y="62"/>
                      <a:pt x="18" y="80"/>
                      <a:pt x="40" y="80"/>
                    </a:cubicBezTo>
                    <a:cubicBezTo>
                      <a:pt x="62" y="80"/>
                      <a:pt x="80" y="62"/>
                      <a:pt x="80" y="40"/>
                    </a:cubicBezTo>
                    <a:cubicBezTo>
                      <a:pt x="80" y="18"/>
                      <a:pt x="62" y="0"/>
                      <a:pt x="40"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21" name="Freeform 199">
                <a:extLst>
                  <a:ext uri="{FF2B5EF4-FFF2-40B4-BE49-F238E27FC236}">
                    <a16:creationId xmlns:a16="http://schemas.microsoft.com/office/drawing/2014/main" id="{E030F801-93EA-454E-8E94-C5DE2A6F7595}"/>
                  </a:ext>
                </a:extLst>
              </p:cNvPr>
              <p:cNvSpPr>
                <a:spLocks noEditPoints="1"/>
              </p:cNvSpPr>
              <p:nvPr/>
            </p:nvSpPr>
            <p:spPr bwMode="auto">
              <a:xfrm>
                <a:off x="4929189" y="2386014"/>
                <a:ext cx="55563" cy="55563"/>
              </a:xfrm>
              <a:custGeom>
                <a:avLst/>
                <a:gdLst>
                  <a:gd name="T0" fmla="*/ 40 w 80"/>
                  <a:gd name="T1" fmla="*/ 55 h 80"/>
                  <a:gd name="T2" fmla="*/ 25 w 80"/>
                  <a:gd name="T3" fmla="*/ 40 h 80"/>
                  <a:gd name="T4" fmla="*/ 40 w 80"/>
                  <a:gd name="T5" fmla="*/ 25 h 80"/>
                  <a:gd name="T6" fmla="*/ 55 w 80"/>
                  <a:gd name="T7" fmla="*/ 40 h 80"/>
                  <a:gd name="T8" fmla="*/ 40 w 80"/>
                  <a:gd name="T9" fmla="*/ 55 h 80"/>
                  <a:gd name="T10" fmla="*/ 40 w 80"/>
                  <a:gd name="T11" fmla="*/ 0 h 80"/>
                  <a:gd name="T12" fmla="*/ 0 w 80"/>
                  <a:gd name="T13" fmla="*/ 40 h 80"/>
                  <a:gd name="T14" fmla="*/ 40 w 80"/>
                  <a:gd name="T15" fmla="*/ 80 h 80"/>
                  <a:gd name="T16" fmla="*/ 80 w 80"/>
                  <a:gd name="T17" fmla="*/ 40 h 80"/>
                  <a:gd name="T18" fmla="*/ 40 w 80"/>
                  <a:gd name="T19"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0" h="80">
                    <a:moveTo>
                      <a:pt x="40" y="55"/>
                    </a:moveTo>
                    <a:cubicBezTo>
                      <a:pt x="32" y="55"/>
                      <a:pt x="25" y="48"/>
                      <a:pt x="25" y="40"/>
                    </a:cubicBezTo>
                    <a:cubicBezTo>
                      <a:pt x="25" y="32"/>
                      <a:pt x="32" y="25"/>
                      <a:pt x="40" y="25"/>
                    </a:cubicBezTo>
                    <a:cubicBezTo>
                      <a:pt x="48" y="25"/>
                      <a:pt x="55" y="32"/>
                      <a:pt x="55" y="40"/>
                    </a:cubicBezTo>
                    <a:cubicBezTo>
                      <a:pt x="55" y="48"/>
                      <a:pt x="48" y="55"/>
                      <a:pt x="40" y="55"/>
                    </a:cubicBezTo>
                    <a:close/>
                    <a:moveTo>
                      <a:pt x="40" y="0"/>
                    </a:moveTo>
                    <a:cubicBezTo>
                      <a:pt x="18" y="0"/>
                      <a:pt x="0" y="18"/>
                      <a:pt x="0" y="40"/>
                    </a:cubicBezTo>
                    <a:cubicBezTo>
                      <a:pt x="0" y="62"/>
                      <a:pt x="18" y="80"/>
                      <a:pt x="40" y="80"/>
                    </a:cubicBezTo>
                    <a:cubicBezTo>
                      <a:pt x="62" y="80"/>
                      <a:pt x="80" y="62"/>
                      <a:pt x="80" y="40"/>
                    </a:cubicBezTo>
                    <a:cubicBezTo>
                      <a:pt x="80" y="18"/>
                      <a:pt x="62" y="0"/>
                      <a:pt x="40"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22" name="Freeform 200">
                <a:extLst>
                  <a:ext uri="{FF2B5EF4-FFF2-40B4-BE49-F238E27FC236}">
                    <a16:creationId xmlns:a16="http://schemas.microsoft.com/office/drawing/2014/main" id="{B0744F18-712C-4960-A883-DB78A8DA7DA7}"/>
                  </a:ext>
                </a:extLst>
              </p:cNvPr>
              <p:cNvSpPr>
                <a:spLocks noEditPoints="1"/>
              </p:cNvSpPr>
              <p:nvPr/>
            </p:nvSpPr>
            <p:spPr bwMode="auto">
              <a:xfrm>
                <a:off x="4646614" y="2062164"/>
                <a:ext cx="384175" cy="311150"/>
              </a:xfrm>
              <a:custGeom>
                <a:avLst/>
                <a:gdLst>
                  <a:gd name="T0" fmla="*/ 465 w 554"/>
                  <a:gd name="T1" fmla="*/ 168 h 450"/>
                  <a:gd name="T2" fmla="*/ 530 w 554"/>
                  <a:gd name="T3" fmla="*/ 88 h 450"/>
                  <a:gd name="T4" fmla="*/ 483 w 554"/>
                  <a:gd name="T5" fmla="*/ 257 h 450"/>
                  <a:gd name="T6" fmla="*/ 447 w 554"/>
                  <a:gd name="T7" fmla="*/ 273 h 450"/>
                  <a:gd name="T8" fmla="*/ 505 w 554"/>
                  <a:gd name="T9" fmla="*/ 177 h 450"/>
                  <a:gd name="T10" fmla="*/ 432 w 554"/>
                  <a:gd name="T11" fmla="*/ 273 h 450"/>
                  <a:gd name="T12" fmla="*/ 407 w 554"/>
                  <a:gd name="T13" fmla="*/ 177 h 450"/>
                  <a:gd name="T14" fmla="*/ 432 w 554"/>
                  <a:gd name="T15" fmla="*/ 273 h 450"/>
                  <a:gd name="T16" fmla="*/ 352 w 554"/>
                  <a:gd name="T17" fmla="*/ 88 h 450"/>
                  <a:gd name="T18" fmla="*/ 393 w 554"/>
                  <a:gd name="T19" fmla="*/ 168 h 450"/>
                  <a:gd name="T20" fmla="*/ 383 w 554"/>
                  <a:gd name="T21" fmla="*/ 273 h 450"/>
                  <a:gd name="T22" fmla="*/ 352 w 554"/>
                  <a:gd name="T23" fmla="*/ 177 h 450"/>
                  <a:gd name="T24" fmla="*/ 383 w 554"/>
                  <a:gd name="T25" fmla="*/ 273 h 450"/>
                  <a:gd name="T26" fmla="*/ 297 w 554"/>
                  <a:gd name="T27" fmla="*/ 168 h 450"/>
                  <a:gd name="T28" fmla="*/ 337 w 554"/>
                  <a:gd name="T29" fmla="*/ 88 h 450"/>
                  <a:gd name="T30" fmla="*/ 337 w 554"/>
                  <a:gd name="T31" fmla="*/ 273 h 450"/>
                  <a:gd name="T32" fmla="*/ 298 w 554"/>
                  <a:gd name="T33" fmla="*/ 177 h 450"/>
                  <a:gd name="T34" fmla="*/ 337 w 554"/>
                  <a:gd name="T35" fmla="*/ 273 h 450"/>
                  <a:gd name="T36" fmla="*/ 242 w 554"/>
                  <a:gd name="T37" fmla="*/ 177 h 450"/>
                  <a:gd name="T38" fmla="*/ 292 w 554"/>
                  <a:gd name="T39" fmla="*/ 273 h 450"/>
                  <a:gd name="T40" fmla="*/ 210 w 554"/>
                  <a:gd name="T41" fmla="*/ 273 h 450"/>
                  <a:gd name="T42" fmla="*/ 227 w 554"/>
                  <a:gd name="T43" fmla="*/ 177 h 450"/>
                  <a:gd name="T44" fmla="*/ 210 w 554"/>
                  <a:gd name="T45" fmla="*/ 273 h 450"/>
                  <a:gd name="T46" fmla="*/ 157 w 554"/>
                  <a:gd name="T47" fmla="*/ 268 h 450"/>
                  <a:gd name="T48" fmla="*/ 173 w 554"/>
                  <a:gd name="T49" fmla="*/ 177 h 450"/>
                  <a:gd name="T50" fmla="*/ 170 w 554"/>
                  <a:gd name="T51" fmla="*/ 273 h 450"/>
                  <a:gd name="T52" fmla="*/ 106 w 554"/>
                  <a:gd name="T53" fmla="*/ 88 h 450"/>
                  <a:gd name="T54" fmla="*/ 171 w 554"/>
                  <a:gd name="T55" fmla="*/ 168 h 450"/>
                  <a:gd name="T56" fmla="*/ 126 w 554"/>
                  <a:gd name="T57" fmla="*/ 156 h 450"/>
                  <a:gd name="T58" fmla="*/ 225 w 554"/>
                  <a:gd name="T59" fmla="*/ 168 h 450"/>
                  <a:gd name="T60" fmla="*/ 168 w 554"/>
                  <a:gd name="T61" fmla="*/ 88 h 450"/>
                  <a:gd name="T62" fmla="*/ 274 w 554"/>
                  <a:gd name="T63" fmla="*/ 88 h 450"/>
                  <a:gd name="T64" fmla="*/ 241 w 554"/>
                  <a:gd name="T65" fmla="*/ 168 h 450"/>
                  <a:gd name="T66" fmla="*/ 274 w 554"/>
                  <a:gd name="T67" fmla="*/ 88 h 450"/>
                  <a:gd name="T68" fmla="*/ 462 w 554"/>
                  <a:gd name="T69" fmla="*/ 88 h 450"/>
                  <a:gd name="T70" fmla="*/ 408 w 554"/>
                  <a:gd name="T71" fmla="*/ 168 h 450"/>
                  <a:gd name="T72" fmla="*/ 24 w 554"/>
                  <a:gd name="T73" fmla="*/ 29 h 450"/>
                  <a:gd name="T74" fmla="*/ 19 w 554"/>
                  <a:gd name="T75" fmla="*/ 13 h 450"/>
                  <a:gd name="T76" fmla="*/ 24 w 554"/>
                  <a:gd name="T77" fmla="*/ 29 h 450"/>
                  <a:gd name="T78" fmla="*/ 110 w 554"/>
                  <a:gd name="T79" fmla="*/ 63 h 450"/>
                  <a:gd name="T80" fmla="*/ 91 w 554"/>
                  <a:gd name="T81" fmla="*/ 34 h 450"/>
                  <a:gd name="T82" fmla="*/ 39 w 554"/>
                  <a:gd name="T83" fmla="*/ 12 h 450"/>
                  <a:gd name="T84" fmla="*/ 3 w 554"/>
                  <a:gd name="T85" fmla="*/ 27 h 450"/>
                  <a:gd name="T86" fmla="*/ 38 w 554"/>
                  <a:gd name="T87" fmla="*/ 31 h 450"/>
                  <a:gd name="T88" fmla="*/ 67 w 554"/>
                  <a:gd name="T89" fmla="*/ 40 h 450"/>
                  <a:gd name="T90" fmla="*/ 209 w 554"/>
                  <a:gd name="T91" fmla="*/ 450 h 450"/>
                  <a:gd name="T92" fmla="*/ 496 w 554"/>
                  <a:gd name="T93" fmla="*/ 437 h 450"/>
                  <a:gd name="T94" fmla="*/ 212 w 554"/>
                  <a:gd name="T95" fmla="*/ 420 h 450"/>
                  <a:gd name="T96" fmla="*/ 168 w 554"/>
                  <a:gd name="T97" fmla="*/ 309 h 450"/>
                  <a:gd name="T98" fmla="*/ 451 w 554"/>
                  <a:gd name="T99" fmla="*/ 314 h 450"/>
                  <a:gd name="T100" fmla="*/ 552 w 554"/>
                  <a:gd name="T101" fmla="*/ 88 h 4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54" h="450">
                    <a:moveTo>
                      <a:pt x="508" y="168"/>
                    </a:moveTo>
                    <a:lnTo>
                      <a:pt x="465" y="168"/>
                    </a:lnTo>
                    <a:lnTo>
                      <a:pt x="478" y="88"/>
                    </a:lnTo>
                    <a:lnTo>
                      <a:pt x="530" y="88"/>
                    </a:lnTo>
                    <a:lnTo>
                      <a:pt x="508" y="168"/>
                    </a:lnTo>
                    <a:close/>
                    <a:moveTo>
                      <a:pt x="483" y="257"/>
                    </a:moveTo>
                    <a:cubicBezTo>
                      <a:pt x="480" y="265"/>
                      <a:pt x="471" y="273"/>
                      <a:pt x="462" y="273"/>
                    </a:cubicBezTo>
                    <a:lnTo>
                      <a:pt x="447" y="273"/>
                    </a:lnTo>
                    <a:lnTo>
                      <a:pt x="463" y="177"/>
                    </a:lnTo>
                    <a:lnTo>
                      <a:pt x="505" y="177"/>
                    </a:lnTo>
                    <a:lnTo>
                      <a:pt x="483" y="257"/>
                    </a:lnTo>
                    <a:close/>
                    <a:moveTo>
                      <a:pt x="432" y="273"/>
                    </a:moveTo>
                    <a:lnTo>
                      <a:pt x="398" y="273"/>
                    </a:lnTo>
                    <a:lnTo>
                      <a:pt x="407" y="177"/>
                    </a:lnTo>
                    <a:lnTo>
                      <a:pt x="447" y="177"/>
                    </a:lnTo>
                    <a:lnTo>
                      <a:pt x="432" y="273"/>
                    </a:lnTo>
                    <a:close/>
                    <a:moveTo>
                      <a:pt x="352" y="168"/>
                    </a:moveTo>
                    <a:lnTo>
                      <a:pt x="352" y="88"/>
                    </a:lnTo>
                    <a:lnTo>
                      <a:pt x="401" y="88"/>
                    </a:lnTo>
                    <a:lnTo>
                      <a:pt x="393" y="168"/>
                    </a:lnTo>
                    <a:lnTo>
                      <a:pt x="352" y="168"/>
                    </a:lnTo>
                    <a:close/>
                    <a:moveTo>
                      <a:pt x="383" y="273"/>
                    </a:moveTo>
                    <a:lnTo>
                      <a:pt x="352" y="273"/>
                    </a:lnTo>
                    <a:lnTo>
                      <a:pt x="352" y="177"/>
                    </a:lnTo>
                    <a:lnTo>
                      <a:pt x="392" y="177"/>
                    </a:lnTo>
                    <a:lnTo>
                      <a:pt x="383" y="273"/>
                    </a:lnTo>
                    <a:close/>
                    <a:moveTo>
                      <a:pt x="337" y="168"/>
                    </a:moveTo>
                    <a:lnTo>
                      <a:pt x="297" y="168"/>
                    </a:lnTo>
                    <a:lnTo>
                      <a:pt x="289" y="88"/>
                    </a:lnTo>
                    <a:lnTo>
                      <a:pt x="337" y="88"/>
                    </a:lnTo>
                    <a:lnTo>
                      <a:pt x="337" y="168"/>
                    </a:lnTo>
                    <a:close/>
                    <a:moveTo>
                      <a:pt x="337" y="273"/>
                    </a:moveTo>
                    <a:lnTo>
                      <a:pt x="307" y="273"/>
                    </a:lnTo>
                    <a:lnTo>
                      <a:pt x="298" y="177"/>
                    </a:lnTo>
                    <a:lnTo>
                      <a:pt x="337" y="177"/>
                    </a:lnTo>
                    <a:lnTo>
                      <a:pt x="337" y="273"/>
                    </a:lnTo>
                    <a:close/>
                    <a:moveTo>
                      <a:pt x="258" y="273"/>
                    </a:moveTo>
                    <a:lnTo>
                      <a:pt x="242" y="177"/>
                    </a:lnTo>
                    <a:lnTo>
                      <a:pt x="282" y="177"/>
                    </a:lnTo>
                    <a:lnTo>
                      <a:pt x="292" y="273"/>
                    </a:lnTo>
                    <a:lnTo>
                      <a:pt x="258" y="273"/>
                    </a:lnTo>
                    <a:close/>
                    <a:moveTo>
                      <a:pt x="210" y="273"/>
                    </a:moveTo>
                    <a:lnTo>
                      <a:pt x="188" y="177"/>
                    </a:lnTo>
                    <a:lnTo>
                      <a:pt x="227" y="177"/>
                    </a:lnTo>
                    <a:lnTo>
                      <a:pt x="242" y="273"/>
                    </a:lnTo>
                    <a:lnTo>
                      <a:pt x="210" y="273"/>
                    </a:lnTo>
                    <a:close/>
                    <a:moveTo>
                      <a:pt x="170" y="273"/>
                    </a:moveTo>
                    <a:cubicBezTo>
                      <a:pt x="165" y="273"/>
                      <a:pt x="161" y="271"/>
                      <a:pt x="157" y="268"/>
                    </a:cubicBezTo>
                    <a:cubicBezTo>
                      <a:pt x="150" y="244"/>
                      <a:pt x="141" y="211"/>
                      <a:pt x="131" y="177"/>
                    </a:cubicBezTo>
                    <a:lnTo>
                      <a:pt x="173" y="177"/>
                    </a:lnTo>
                    <a:lnTo>
                      <a:pt x="194" y="273"/>
                    </a:lnTo>
                    <a:lnTo>
                      <a:pt x="170" y="273"/>
                    </a:lnTo>
                    <a:close/>
                    <a:moveTo>
                      <a:pt x="126" y="156"/>
                    </a:moveTo>
                    <a:cubicBezTo>
                      <a:pt x="119" y="133"/>
                      <a:pt x="112" y="109"/>
                      <a:pt x="106" y="88"/>
                    </a:cubicBezTo>
                    <a:lnTo>
                      <a:pt x="153" y="88"/>
                    </a:lnTo>
                    <a:lnTo>
                      <a:pt x="171" y="168"/>
                    </a:lnTo>
                    <a:lnTo>
                      <a:pt x="129" y="168"/>
                    </a:lnTo>
                    <a:cubicBezTo>
                      <a:pt x="128" y="164"/>
                      <a:pt x="127" y="160"/>
                      <a:pt x="126" y="156"/>
                    </a:cubicBezTo>
                    <a:close/>
                    <a:moveTo>
                      <a:pt x="212" y="88"/>
                    </a:moveTo>
                    <a:lnTo>
                      <a:pt x="225" y="168"/>
                    </a:lnTo>
                    <a:lnTo>
                      <a:pt x="186" y="168"/>
                    </a:lnTo>
                    <a:lnTo>
                      <a:pt x="168" y="88"/>
                    </a:lnTo>
                    <a:lnTo>
                      <a:pt x="212" y="88"/>
                    </a:lnTo>
                    <a:close/>
                    <a:moveTo>
                      <a:pt x="274" y="88"/>
                    </a:moveTo>
                    <a:lnTo>
                      <a:pt x="281" y="168"/>
                    </a:lnTo>
                    <a:lnTo>
                      <a:pt x="241" y="168"/>
                    </a:lnTo>
                    <a:lnTo>
                      <a:pt x="228" y="88"/>
                    </a:lnTo>
                    <a:lnTo>
                      <a:pt x="274" y="88"/>
                    </a:lnTo>
                    <a:close/>
                    <a:moveTo>
                      <a:pt x="416" y="88"/>
                    </a:moveTo>
                    <a:lnTo>
                      <a:pt x="462" y="88"/>
                    </a:lnTo>
                    <a:lnTo>
                      <a:pt x="449" y="168"/>
                    </a:lnTo>
                    <a:lnTo>
                      <a:pt x="408" y="168"/>
                    </a:lnTo>
                    <a:lnTo>
                      <a:pt x="416" y="88"/>
                    </a:lnTo>
                    <a:close/>
                    <a:moveTo>
                      <a:pt x="24" y="29"/>
                    </a:moveTo>
                    <a:cubicBezTo>
                      <a:pt x="19" y="31"/>
                      <a:pt x="15" y="28"/>
                      <a:pt x="13" y="24"/>
                    </a:cubicBezTo>
                    <a:cubicBezTo>
                      <a:pt x="12" y="19"/>
                      <a:pt x="14" y="14"/>
                      <a:pt x="19" y="13"/>
                    </a:cubicBezTo>
                    <a:cubicBezTo>
                      <a:pt x="24" y="12"/>
                      <a:pt x="28" y="14"/>
                      <a:pt x="30" y="19"/>
                    </a:cubicBezTo>
                    <a:cubicBezTo>
                      <a:pt x="31" y="23"/>
                      <a:pt x="29" y="28"/>
                      <a:pt x="24" y="29"/>
                    </a:cubicBezTo>
                    <a:close/>
                    <a:moveTo>
                      <a:pt x="533" y="63"/>
                    </a:moveTo>
                    <a:lnTo>
                      <a:pt x="110" y="63"/>
                    </a:lnTo>
                    <a:cubicBezTo>
                      <a:pt x="106" y="63"/>
                      <a:pt x="103" y="63"/>
                      <a:pt x="100" y="65"/>
                    </a:cubicBezTo>
                    <a:cubicBezTo>
                      <a:pt x="99" y="61"/>
                      <a:pt x="94" y="44"/>
                      <a:pt x="91" y="34"/>
                    </a:cubicBezTo>
                    <a:cubicBezTo>
                      <a:pt x="88" y="22"/>
                      <a:pt x="79" y="12"/>
                      <a:pt x="64" y="12"/>
                    </a:cubicBezTo>
                    <a:cubicBezTo>
                      <a:pt x="61" y="12"/>
                      <a:pt x="40" y="12"/>
                      <a:pt x="39" y="12"/>
                    </a:cubicBezTo>
                    <a:cubicBezTo>
                      <a:pt x="34" y="4"/>
                      <a:pt x="25" y="0"/>
                      <a:pt x="16" y="2"/>
                    </a:cubicBezTo>
                    <a:cubicBezTo>
                      <a:pt x="5" y="6"/>
                      <a:pt x="0" y="16"/>
                      <a:pt x="3" y="27"/>
                    </a:cubicBezTo>
                    <a:cubicBezTo>
                      <a:pt x="6" y="37"/>
                      <a:pt x="17" y="43"/>
                      <a:pt x="27" y="40"/>
                    </a:cubicBezTo>
                    <a:cubicBezTo>
                      <a:pt x="32" y="39"/>
                      <a:pt x="36" y="35"/>
                      <a:pt x="38" y="31"/>
                    </a:cubicBezTo>
                    <a:cubicBezTo>
                      <a:pt x="40" y="31"/>
                      <a:pt x="52" y="31"/>
                      <a:pt x="54" y="31"/>
                    </a:cubicBezTo>
                    <a:cubicBezTo>
                      <a:pt x="63" y="31"/>
                      <a:pt x="65" y="33"/>
                      <a:pt x="67" y="40"/>
                    </a:cubicBezTo>
                    <a:cubicBezTo>
                      <a:pt x="73" y="61"/>
                      <a:pt x="165" y="388"/>
                      <a:pt x="171" y="409"/>
                    </a:cubicBezTo>
                    <a:cubicBezTo>
                      <a:pt x="180" y="439"/>
                      <a:pt x="194" y="450"/>
                      <a:pt x="209" y="450"/>
                    </a:cubicBezTo>
                    <a:lnTo>
                      <a:pt x="483" y="450"/>
                    </a:lnTo>
                    <a:cubicBezTo>
                      <a:pt x="492" y="450"/>
                      <a:pt x="496" y="441"/>
                      <a:pt x="496" y="437"/>
                    </a:cubicBezTo>
                    <a:cubicBezTo>
                      <a:pt x="498" y="423"/>
                      <a:pt x="486" y="420"/>
                      <a:pt x="480" y="420"/>
                    </a:cubicBezTo>
                    <a:lnTo>
                      <a:pt x="212" y="420"/>
                    </a:lnTo>
                    <a:cubicBezTo>
                      <a:pt x="205" y="420"/>
                      <a:pt x="198" y="415"/>
                      <a:pt x="196" y="408"/>
                    </a:cubicBezTo>
                    <a:cubicBezTo>
                      <a:pt x="195" y="404"/>
                      <a:pt x="170" y="315"/>
                      <a:pt x="168" y="309"/>
                    </a:cubicBezTo>
                    <a:cubicBezTo>
                      <a:pt x="174" y="315"/>
                      <a:pt x="179" y="314"/>
                      <a:pt x="182" y="314"/>
                    </a:cubicBezTo>
                    <a:lnTo>
                      <a:pt x="451" y="314"/>
                    </a:lnTo>
                    <a:cubicBezTo>
                      <a:pt x="486" y="314"/>
                      <a:pt x="500" y="272"/>
                      <a:pt x="503" y="259"/>
                    </a:cubicBezTo>
                    <a:lnTo>
                      <a:pt x="552" y="88"/>
                    </a:lnTo>
                    <a:cubicBezTo>
                      <a:pt x="554" y="81"/>
                      <a:pt x="552" y="63"/>
                      <a:pt x="533" y="63"/>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grpSp>
        <p:nvGrpSpPr>
          <p:cNvPr id="116" name="Groep 115">
            <a:extLst>
              <a:ext uri="{FF2B5EF4-FFF2-40B4-BE49-F238E27FC236}">
                <a16:creationId xmlns:a16="http://schemas.microsoft.com/office/drawing/2014/main" id="{3DCEEBDB-23CA-4A89-990C-7598B9EBCBB5}"/>
              </a:ext>
            </a:extLst>
          </p:cNvPr>
          <p:cNvGrpSpPr/>
          <p:nvPr/>
        </p:nvGrpSpPr>
        <p:grpSpPr>
          <a:xfrm>
            <a:off x="9425514" y="742503"/>
            <a:ext cx="288000" cy="288000"/>
            <a:chOff x="8966036" y="598928"/>
            <a:chExt cx="324000" cy="329184"/>
          </a:xfrm>
        </p:grpSpPr>
        <p:sp>
          <p:nvSpPr>
            <p:cNvPr id="313" name="Oval 53">
              <a:extLst>
                <a:ext uri="{FF2B5EF4-FFF2-40B4-BE49-F238E27FC236}">
                  <a16:creationId xmlns:a16="http://schemas.microsoft.com/office/drawing/2014/main" id="{8E87C1AD-B6C7-4E97-874B-2571B51E7B12}"/>
                </a:ext>
              </a:extLst>
            </p:cNvPr>
            <p:cNvSpPr/>
            <p:nvPr/>
          </p:nvSpPr>
          <p:spPr>
            <a:xfrm>
              <a:off x="8966036" y="598928"/>
              <a:ext cx="324000" cy="329184"/>
            </a:xfrm>
            <a:prstGeom prst="ellipse">
              <a:avLst/>
            </a:prstGeom>
            <a:solidFill>
              <a:srgbClr val="62366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314" name="Shopping_cart" descr="{&quot;Key&quot;:&quot;POWER_USER_SHAPE_ICON&quot;,&quot;Value&quot;:&quot;POWER_USER_SHAPE_ICON_STYLE_1&quot;}">
              <a:extLst>
                <a:ext uri="{FF2B5EF4-FFF2-40B4-BE49-F238E27FC236}">
                  <a16:creationId xmlns:a16="http://schemas.microsoft.com/office/drawing/2014/main" id="{F4EFD952-288A-4ACE-8611-6827AEA439D9}"/>
                </a:ext>
              </a:extLst>
            </p:cNvPr>
            <p:cNvGrpSpPr>
              <a:grpSpLocks noChangeAspect="1"/>
            </p:cNvGrpSpPr>
            <p:nvPr>
              <p:custDataLst>
                <p:tags r:id="rId52"/>
              </p:custDataLst>
            </p:nvPr>
          </p:nvGrpSpPr>
          <p:grpSpPr>
            <a:xfrm>
              <a:off x="9003559" y="656958"/>
              <a:ext cx="235088" cy="232174"/>
              <a:chOff x="4646614" y="2062164"/>
              <a:chExt cx="384175" cy="379413"/>
            </a:xfrm>
            <a:solidFill>
              <a:schemeClr val="bg1"/>
            </a:solidFill>
          </p:grpSpPr>
          <p:sp>
            <p:nvSpPr>
              <p:cNvPr id="315" name="Freeform 198">
                <a:extLst>
                  <a:ext uri="{FF2B5EF4-FFF2-40B4-BE49-F238E27FC236}">
                    <a16:creationId xmlns:a16="http://schemas.microsoft.com/office/drawing/2014/main" id="{BC1B0B3C-D3C0-4D03-9263-9BB1E441AA5D}"/>
                  </a:ext>
                </a:extLst>
              </p:cNvPr>
              <p:cNvSpPr>
                <a:spLocks noEditPoints="1"/>
              </p:cNvSpPr>
              <p:nvPr/>
            </p:nvSpPr>
            <p:spPr bwMode="auto">
              <a:xfrm>
                <a:off x="4773614" y="2386014"/>
                <a:ext cx="55563" cy="55563"/>
              </a:xfrm>
              <a:custGeom>
                <a:avLst/>
                <a:gdLst>
                  <a:gd name="T0" fmla="*/ 40 w 80"/>
                  <a:gd name="T1" fmla="*/ 55 h 80"/>
                  <a:gd name="T2" fmla="*/ 25 w 80"/>
                  <a:gd name="T3" fmla="*/ 40 h 80"/>
                  <a:gd name="T4" fmla="*/ 40 w 80"/>
                  <a:gd name="T5" fmla="*/ 25 h 80"/>
                  <a:gd name="T6" fmla="*/ 55 w 80"/>
                  <a:gd name="T7" fmla="*/ 40 h 80"/>
                  <a:gd name="T8" fmla="*/ 40 w 80"/>
                  <a:gd name="T9" fmla="*/ 55 h 80"/>
                  <a:gd name="T10" fmla="*/ 40 w 80"/>
                  <a:gd name="T11" fmla="*/ 0 h 80"/>
                  <a:gd name="T12" fmla="*/ 0 w 80"/>
                  <a:gd name="T13" fmla="*/ 40 h 80"/>
                  <a:gd name="T14" fmla="*/ 40 w 80"/>
                  <a:gd name="T15" fmla="*/ 80 h 80"/>
                  <a:gd name="T16" fmla="*/ 80 w 80"/>
                  <a:gd name="T17" fmla="*/ 40 h 80"/>
                  <a:gd name="T18" fmla="*/ 40 w 80"/>
                  <a:gd name="T19"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0" h="80">
                    <a:moveTo>
                      <a:pt x="40" y="55"/>
                    </a:moveTo>
                    <a:cubicBezTo>
                      <a:pt x="32" y="55"/>
                      <a:pt x="25" y="48"/>
                      <a:pt x="25" y="40"/>
                    </a:cubicBezTo>
                    <a:cubicBezTo>
                      <a:pt x="25" y="32"/>
                      <a:pt x="32" y="25"/>
                      <a:pt x="40" y="25"/>
                    </a:cubicBezTo>
                    <a:cubicBezTo>
                      <a:pt x="48" y="25"/>
                      <a:pt x="55" y="32"/>
                      <a:pt x="55" y="40"/>
                    </a:cubicBezTo>
                    <a:cubicBezTo>
                      <a:pt x="55" y="48"/>
                      <a:pt x="48" y="55"/>
                      <a:pt x="40" y="55"/>
                    </a:cubicBezTo>
                    <a:close/>
                    <a:moveTo>
                      <a:pt x="40" y="0"/>
                    </a:moveTo>
                    <a:cubicBezTo>
                      <a:pt x="18" y="0"/>
                      <a:pt x="0" y="18"/>
                      <a:pt x="0" y="40"/>
                    </a:cubicBezTo>
                    <a:cubicBezTo>
                      <a:pt x="0" y="62"/>
                      <a:pt x="18" y="80"/>
                      <a:pt x="40" y="80"/>
                    </a:cubicBezTo>
                    <a:cubicBezTo>
                      <a:pt x="62" y="80"/>
                      <a:pt x="80" y="62"/>
                      <a:pt x="80" y="40"/>
                    </a:cubicBezTo>
                    <a:cubicBezTo>
                      <a:pt x="80" y="18"/>
                      <a:pt x="62" y="0"/>
                      <a:pt x="40"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16" name="Freeform 199">
                <a:extLst>
                  <a:ext uri="{FF2B5EF4-FFF2-40B4-BE49-F238E27FC236}">
                    <a16:creationId xmlns:a16="http://schemas.microsoft.com/office/drawing/2014/main" id="{DC7EDC16-7114-40DB-8EF5-898E30D98257}"/>
                  </a:ext>
                </a:extLst>
              </p:cNvPr>
              <p:cNvSpPr>
                <a:spLocks noEditPoints="1"/>
              </p:cNvSpPr>
              <p:nvPr/>
            </p:nvSpPr>
            <p:spPr bwMode="auto">
              <a:xfrm>
                <a:off x="4929189" y="2386014"/>
                <a:ext cx="55563" cy="55563"/>
              </a:xfrm>
              <a:custGeom>
                <a:avLst/>
                <a:gdLst>
                  <a:gd name="T0" fmla="*/ 40 w 80"/>
                  <a:gd name="T1" fmla="*/ 55 h 80"/>
                  <a:gd name="T2" fmla="*/ 25 w 80"/>
                  <a:gd name="T3" fmla="*/ 40 h 80"/>
                  <a:gd name="T4" fmla="*/ 40 w 80"/>
                  <a:gd name="T5" fmla="*/ 25 h 80"/>
                  <a:gd name="T6" fmla="*/ 55 w 80"/>
                  <a:gd name="T7" fmla="*/ 40 h 80"/>
                  <a:gd name="T8" fmla="*/ 40 w 80"/>
                  <a:gd name="T9" fmla="*/ 55 h 80"/>
                  <a:gd name="T10" fmla="*/ 40 w 80"/>
                  <a:gd name="T11" fmla="*/ 0 h 80"/>
                  <a:gd name="T12" fmla="*/ 0 w 80"/>
                  <a:gd name="T13" fmla="*/ 40 h 80"/>
                  <a:gd name="T14" fmla="*/ 40 w 80"/>
                  <a:gd name="T15" fmla="*/ 80 h 80"/>
                  <a:gd name="T16" fmla="*/ 80 w 80"/>
                  <a:gd name="T17" fmla="*/ 40 h 80"/>
                  <a:gd name="T18" fmla="*/ 40 w 80"/>
                  <a:gd name="T19"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0" h="80">
                    <a:moveTo>
                      <a:pt x="40" y="55"/>
                    </a:moveTo>
                    <a:cubicBezTo>
                      <a:pt x="32" y="55"/>
                      <a:pt x="25" y="48"/>
                      <a:pt x="25" y="40"/>
                    </a:cubicBezTo>
                    <a:cubicBezTo>
                      <a:pt x="25" y="32"/>
                      <a:pt x="32" y="25"/>
                      <a:pt x="40" y="25"/>
                    </a:cubicBezTo>
                    <a:cubicBezTo>
                      <a:pt x="48" y="25"/>
                      <a:pt x="55" y="32"/>
                      <a:pt x="55" y="40"/>
                    </a:cubicBezTo>
                    <a:cubicBezTo>
                      <a:pt x="55" y="48"/>
                      <a:pt x="48" y="55"/>
                      <a:pt x="40" y="55"/>
                    </a:cubicBezTo>
                    <a:close/>
                    <a:moveTo>
                      <a:pt x="40" y="0"/>
                    </a:moveTo>
                    <a:cubicBezTo>
                      <a:pt x="18" y="0"/>
                      <a:pt x="0" y="18"/>
                      <a:pt x="0" y="40"/>
                    </a:cubicBezTo>
                    <a:cubicBezTo>
                      <a:pt x="0" y="62"/>
                      <a:pt x="18" y="80"/>
                      <a:pt x="40" y="80"/>
                    </a:cubicBezTo>
                    <a:cubicBezTo>
                      <a:pt x="62" y="80"/>
                      <a:pt x="80" y="62"/>
                      <a:pt x="80" y="40"/>
                    </a:cubicBezTo>
                    <a:cubicBezTo>
                      <a:pt x="80" y="18"/>
                      <a:pt x="62" y="0"/>
                      <a:pt x="40"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17" name="Freeform 200">
                <a:extLst>
                  <a:ext uri="{FF2B5EF4-FFF2-40B4-BE49-F238E27FC236}">
                    <a16:creationId xmlns:a16="http://schemas.microsoft.com/office/drawing/2014/main" id="{CBC989B1-34A6-45C8-A9EC-D63FFD358AD6}"/>
                  </a:ext>
                </a:extLst>
              </p:cNvPr>
              <p:cNvSpPr>
                <a:spLocks noEditPoints="1"/>
              </p:cNvSpPr>
              <p:nvPr/>
            </p:nvSpPr>
            <p:spPr bwMode="auto">
              <a:xfrm>
                <a:off x="4646614" y="2062164"/>
                <a:ext cx="384175" cy="311150"/>
              </a:xfrm>
              <a:custGeom>
                <a:avLst/>
                <a:gdLst>
                  <a:gd name="T0" fmla="*/ 465 w 554"/>
                  <a:gd name="T1" fmla="*/ 168 h 450"/>
                  <a:gd name="T2" fmla="*/ 530 w 554"/>
                  <a:gd name="T3" fmla="*/ 88 h 450"/>
                  <a:gd name="T4" fmla="*/ 483 w 554"/>
                  <a:gd name="T5" fmla="*/ 257 h 450"/>
                  <a:gd name="T6" fmla="*/ 447 w 554"/>
                  <a:gd name="T7" fmla="*/ 273 h 450"/>
                  <a:gd name="T8" fmla="*/ 505 w 554"/>
                  <a:gd name="T9" fmla="*/ 177 h 450"/>
                  <a:gd name="T10" fmla="*/ 432 w 554"/>
                  <a:gd name="T11" fmla="*/ 273 h 450"/>
                  <a:gd name="T12" fmla="*/ 407 w 554"/>
                  <a:gd name="T13" fmla="*/ 177 h 450"/>
                  <a:gd name="T14" fmla="*/ 432 w 554"/>
                  <a:gd name="T15" fmla="*/ 273 h 450"/>
                  <a:gd name="T16" fmla="*/ 352 w 554"/>
                  <a:gd name="T17" fmla="*/ 88 h 450"/>
                  <a:gd name="T18" fmla="*/ 393 w 554"/>
                  <a:gd name="T19" fmla="*/ 168 h 450"/>
                  <a:gd name="T20" fmla="*/ 383 w 554"/>
                  <a:gd name="T21" fmla="*/ 273 h 450"/>
                  <a:gd name="T22" fmla="*/ 352 w 554"/>
                  <a:gd name="T23" fmla="*/ 177 h 450"/>
                  <a:gd name="T24" fmla="*/ 383 w 554"/>
                  <a:gd name="T25" fmla="*/ 273 h 450"/>
                  <a:gd name="T26" fmla="*/ 297 w 554"/>
                  <a:gd name="T27" fmla="*/ 168 h 450"/>
                  <a:gd name="T28" fmla="*/ 337 w 554"/>
                  <a:gd name="T29" fmla="*/ 88 h 450"/>
                  <a:gd name="T30" fmla="*/ 337 w 554"/>
                  <a:gd name="T31" fmla="*/ 273 h 450"/>
                  <a:gd name="T32" fmla="*/ 298 w 554"/>
                  <a:gd name="T33" fmla="*/ 177 h 450"/>
                  <a:gd name="T34" fmla="*/ 337 w 554"/>
                  <a:gd name="T35" fmla="*/ 273 h 450"/>
                  <a:gd name="T36" fmla="*/ 242 w 554"/>
                  <a:gd name="T37" fmla="*/ 177 h 450"/>
                  <a:gd name="T38" fmla="*/ 292 w 554"/>
                  <a:gd name="T39" fmla="*/ 273 h 450"/>
                  <a:gd name="T40" fmla="*/ 210 w 554"/>
                  <a:gd name="T41" fmla="*/ 273 h 450"/>
                  <a:gd name="T42" fmla="*/ 227 w 554"/>
                  <a:gd name="T43" fmla="*/ 177 h 450"/>
                  <a:gd name="T44" fmla="*/ 210 w 554"/>
                  <a:gd name="T45" fmla="*/ 273 h 450"/>
                  <a:gd name="T46" fmla="*/ 157 w 554"/>
                  <a:gd name="T47" fmla="*/ 268 h 450"/>
                  <a:gd name="T48" fmla="*/ 173 w 554"/>
                  <a:gd name="T49" fmla="*/ 177 h 450"/>
                  <a:gd name="T50" fmla="*/ 170 w 554"/>
                  <a:gd name="T51" fmla="*/ 273 h 450"/>
                  <a:gd name="T52" fmla="*/ 106 w 554"/>
                  <a:gd name="T53" fmla="*/ 88 h 450"/>
                  <a:gd name="T54" fmla="*/ 171 w 554"/>
                  <a:gd name="T55" fmla="*/ 168 h 450"/>
                  <a:gd name="T56" fmla="*/ 126 w 554"/>
                  <a:gd name="T57" fmla="*/ 156 h 450"/>
                  <a:gd name="T58" fmla="*/ 225 w 554"/>
                  <a:gd name="T59" fmla="*/ 168 h 450"/>
                  <a:gd name="T60" fmla="*/ 168 w 554"/>
                  <a:gd name="T61" fmla="*/ 88 h 450"/>
                  <a:gd name="T62" fmla="*/ 274 w 554"/>
                  <a:gd name="T63" fmla="*/ 88 h 450"/>
                  <a:gd name="T64" fmla="*/ 241 w 554"/>
                  <a:gd name="T65" fmla="*/ 168 h 450"/>
                  <a:gd name="T66" fmla="*/ 274 w 554"/>
                  <a:gd name="T67" fmla="*/ 88 h 450"/>
                  <a:gd name="T68" fmla="*/ 462 w 554"/>
                  <a:gd name="T69" fmla="*/ 88 h 450"/>
                  <a:gd name="T70" fmla="*/ 408 w 554"/>
                  <a:gd name="T71" fmla="*/ 168 h 450"/>
                  <a:gd name="T72" fmla="*/ 24 w 554"/>
                  <a:gd name="T73" fmla="*/ 29 h 450"/>
                  <a:gd name="T74" fmla="*/ 19 w 554"/>
                  <a:gd name="T75" fmla="*/ 13 h 450"/>
                  <a:gd name="T76" fmla="*/ 24 w 554"/>
                  <a:gd name="T77" fmla="*/ 29 h 450"/>
                  <a:gd name="T78" fmla="*/ 110 w 554"/>
                  <a:gd name="T79" fmla="*/ 63 h 450"/>
                  <a:gd name="T80" fmla="*/ 91 w 554"/>
                  <a:gd name="T81" fmla="*/ 34 h 450"/>
                  <a:gd name="T82" fmla="*/ 39 w 554"/>
                  <a:gd name="T83" fmla="*/ 12 h 450"/>
                  <a:gd name="T84" fmla="*/ 3 w 554"/>
                  <a:gd name="T85" fmla="*/ 27 h 450"/>
                  <a:gd name="T86" fmla="*/ 38 w 554"/>
                  <a:gd name="T87" fmla="*/ 31 h 450"/>
                  <a:gd name="T88" fmla="*/ 67 w 554"/>
                  <a:gd name="T89" fmla="*/ 40 h 450"/>
                  <a:gd name="T90" fmla="*/ 209 w 554"/>
                  <a:gd name="T91" fmla="*/ 450 h 450"/>
                  <a:gd name="T92" fmla="*/ 496 w 554"/>
                  <a:gd name="T93" fmla="*/ 437 h 450"/>
                  <a:gd name="T94" fmla="*/ 212 w 554"/>
                  <a:gd name="T95" fmla="*/ 420 h 450"/>
                  <a:gd name="T96" fmla="*/ 168 w 554"/>
                  <a:gd name="T97" fmla="*/ 309 h 450"/>
                  <a:gd name="T98" fmla="*/ 451 w 554"/>
                  <a:gd name="T99" fmla="*/ 314 h 450"/>
                  <a:gd name="T100" fmla="*/ 552 w 554"/>
                  <a:gd name="T101" fmla="*/ 88 h 4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54" h="450">
                    <a:moveTo>
                      <a:pt x="508" y="168"/>
                    </a:moveTo>
                    <a:lnTo>
                      <a:pt x="465" y="168"/>
                    </a:lnTo>
                    <a:lnTo>
                      <a:pt x="478" y="88"/>
                    </a:lnTo>
                    <a:lnTo>
                      <a:pt x="530" y="88"/>
                    </a:lnTo>
                    <a:lnTo>
                      <a:pt x="508" y="168"/>
                    </a:lnTo>
                    <a:close/>
                    <a:moveTo>
                      <a:pt x="483" y="257"/>
                    </a:moveTo>
                    <a:cubicBezTo>
                      <a:pt x="480" y="265"/>
                      <a:pt x="471" y="273"/>
                      <a:pt x="462" y="273"/>
                    </a:cubicBezTo>
                    <a:lnTo>
                      <a:pt x="447" y="273"/>
                    </a:lnTo>
                    <a:lnTo>
                      <a:pt x="463" y="177"/>
                    </a:lnTo>
                    <a:lnTo>
                      <a:pt x="505" y="177"/>
                    </a:lnTo>
                    <a:lnTo>
                      <a:pt x="483" y="257"/>
                    </a:lnTo>
                    <a:close/>
                    <a:moveTo>
                      <a:pt x="432" y="273"/>
                    </a:moveTo>
                    <a:lnTo>
                      <a:pt x="398" y="273"/>
                    </a:lnTo>
                    <a:lnTo>
                      <a:pt x="407" y="177"/>
                    </a:lnTo>
                    <a:lnTo>
                      <a:pt x="447" y="177"/>
                    </a:lnTo>
                    <a:lnTo>
                      <a:pt x="432" y="273"/>
                    </a:lnTo>
                    <a:close/>
                    <a:moveTo>
                      <a:pt x="352" y="168"/>
                    </a:moveTo>
                    <a:lnTo>
                      <a:pt x="352" y="88"/>
                    </a:lnTo>
                    <a:lnTo>
                      <a:pt x="401" y="88"/>
                    </a:lnTo>
                    <a:lnTo>
                      <a:pt x="393" y="168"/>
                    </a:lnTo>
                    <a:lnTo>
                      <a:pt x="352" y="168"/>
                    </a:lnTo>
                    <a:close/>
                    <a:moveTo>
                      <a:pt x="383" y="273"/>
                    </a:moveTo>
                    <a:lnTo>
                      <a:pt x="352" y="273"/>
                    </a:lnTo>
                    <a:lnTo>
                      <a:pt x="352" y="177"/>
                    </a:lnTo>
                    <a:lnTo>
                      <a:pt x="392" y="177"/>
                    </a:lnTo>
                    <a:lnTo>
                      <a:pt x="383" y="273"/>
                    </a:lnTo>
                    <a:close/>
                    <a:moveTo>
                      <a:pt x="337" y="168"/>
                    </a:moveTo>
                    <a:lnTo>
                      <a:pt x="297" y="168"/>
                    </a:lnTo>
                    <a:lnTo>
                      <a:pt x="289" y="88"/>
                    </a:lnTo>
                    <a:lnTo>
                      <a:pt x="337" y="88"/>
                    </a:lnTo>
                    <a:lnTo>
                      <a:pt x="337" y="168"/>
                    </a:lnTo>
                    <a:close/>
                    <a:moveTo>
                      <a:pt x="337" y="273"/>
                    </a:moveTo>
                    <a:lnTo>
                      <a:pt x="307" y="273"/>
                    </a:lnTo>
                    <a:lnTo>
                      <a:pt x="298" y="177"/>
                    </a:lnTo>
                    <a:lnTo>
                      <a:pt x="337" y="177"/>
                    </a:lnTo>
                    <a:lnTo>
                      <a:pt x="337" y="273"/>
                    </a:lnTo>
                    <a:close/>
                    <a:moveTo>
                      <a:pt x="258" y="273"/>
                    </a:moveTo>
                    <a:lnTo>
                      <a:pt x="242" y="177"/>
                    </a:lnTo>
                    <a:lnTo>
                      <a:pt x="282" y="177"/>
                    </a:lnTo>
                    <a:lnTo>
                      <a:pt x="292" y="273"/>
                    </a:lnTo>
                    <a:lnTo>
                      <a:pt x="258" y="273"/>
                    </a:lnTo>
                    <a:close/>
                    <a:moveTo>
                      <a:pt x="210" y="273"/>
                    </a:moveTo>
                    <a:lnTo>
                      <a:pt x="188" y="177"/>
                    </a:lnTo>
                    <a:lnTo>
                      <a:pt x="227" y="177"/>
                    </a:lnTo>
                    <a:lnTo>
                      <a:pt x="242" y="273"/>
                    </a:lnTo>
                    <a:lnTo>
                      <a:pt x="210" y="273"/>
                    </a:lnTo>
                    <a:close/>
                    <a:moveTo>
                      <a:pt x="170" y="273"/>
                    </a:moveTo>
                    <a:cubicBezTo>
                      <a:pt x="165" y="273"/>
                      <a:pt x="161" y="271"/>
                      <a:pt x="157" y="268"/>
                    </a:cubicBezTo>
                    <a:cubicBezTo>
                      <a:pt x="150" y="244"/>
                      <a:pt x="141" y="211"/>
                      <a:pt x="131" y="177"/>
                    </a:cubicBezTo>
                    <a:lnTo>
                      <a:pt x="173" y="177"/>
                    </a:lnTo>
                    <a:lnTo>
                      <a:pt x="194" y="273"/>
                    </a:lnTo>
                    <a:lnTo>
                      <a:pt x="170" y="273"/>
                    </a:lnTo>
                    <a:close/>
                    <a:moveTo>
                      <a:pt x="126" y="156"/>
                    </a:moveTo>
                    <a:cubicBezTo>
                      <a:pt x="119" y="133"/>
                      <a:pt x="112" y="109"/>
                      <a:pt x="106" y="88"/>
                    </a:cubicBezTo>
                    <a:lnTo>
                      <a:pt x="153" y="88"/>
                    </a:lnTo>
                    <a:lnTo>
                      <a:pt x="171" y="168"/>
                    </a:lnTo>
                    <a:lnTo>
                      <a:pt x="129" y="168"/>
                    </a:lnTo>
                    <a:cubicBezTo>
                      <a:pt x="128" y="164"/>
                      <a:pt x="127" y="160"/>
                      <a:pt x="126" y="156"/>
                    </a:cubicBezTo>
                    <a:close/>
                    <a:moveTo>
                      <a:pt x="212" y="88"/>
                    </a:moveTo>
                    <a:lnTo>
                      <a:pt x="225" y="168"/>
                    </a:lnTo>
                    <a:lnTo>
                      <a:pt x="186" y="168"/>
                    </a:lnTo>
                    <a:lnTo>
                      <a:pt x="168" y="88"/>
                    </a:lnTo>
                    <a:lnTo>
                      <a:pt x="212" y="88"/>
                    </a:lnTo>
                    <a:close/>
                    <a:moveTo>
                      <a:pt x="274" y="88"/>
                    </a:moveTo>
                    <a:lnTo>
                      <a:pt x="281" y="168"/>
                    </a:lnTo>
                    <a:lnTo>
                      <a:pt x="241" y="168"/>
                    </a:lnTo>
                    <a:lnTo>
                      <a:pt x="228" y="88"/>
                    </a:lnTo>
                    <a:lnTo>
                      <a:pt x="274" y="88"/>
                    </a:lnTo>
                    <a:close/>
                    <a:moveTo>
                      <a:pt x="416" y="88"/>
                    </a:moveTo>
                    <a:lnTo>
                      <a:pt x="462" y="88"/>
                    </a:lnTo>
                    <a:lnTo>
                      <a:pt x="449" y="168"/>
                    </a:lnTo>
                    <a:lnTo>
                      <a:pt x="408" y="168"/>
                    </a:lnTo>
                    <a:lnTo>
                      <a:pt x="416" y="88"/>
                    </a:lnTo>
                    <a:close/>
                    <a:moveTo>
                      <a:pt x="24" y="29"/>
                    </a:moveTo>
                    <a:cubicBezTo>
                      <a:pt x="19" y="31"/>
                      <a:pt x="15" y="28"/>
                      <a:pt x="13" y="24"/>
                    </a:cubicBezTo>
                    <a:cubicBezTo>
                      <a:pt x="12" y="19"/>
                      <a:pt x="14" y="14"/>
                      <a:pt x="19" y="13"/>
                    </a:cubicBezTo>
                    <a:cubicBezTo>
                      <a:pt x="24" y="12"/>
                      <a:pt x="28" y="14"/>
                      <a:pt x="30" y="19"/>
                    </a:cubicBezTo>
                    <a:cubicBezTo>
                      <a:pt x="31" y="23"/>
                      <a:pt x="29" y="28"/>
                      <a:pt x="24" y="29"/>
                    </a:cubicBezTo>
                    <a:close/>
                    <a:moveTo>
                      <a:pt x="533" y="63"/>
                    </a:moveTo>
                    <a:lnTo>
                      <a:pt x="110" y="63"/>
                    </a:lnTo>
                    <a:cubicBezTo>
                      <a:pt x="106" y="63"/>
                      <a:pt x="103" y="63"/>
                      <a:pt x="100" y="65"/>
                    </a:cubicBezTo>
                    <a:cubicBezTo>
                      <a:pt x="99" y="61"/>
                      <a:pt x="94" y="44"/>
                      <a:pt x="91" y="34"/>
                    </a:cubicBezTo>
                    <a:cubicBezTo>
                      <a:pt x="88" y="22"/>
                      <a:pt x="79" y="12"/>
                      <a:pt x="64" y="12"/>
                    </a:cubicBezTo>
                    <a:cubicBezTo>
                      <a:pt x="61" y="12"/>
                      <a:pt x="40" y="12"/>
                      <a:pt x="39" y="12"/>
                    </a:cubicBezTo>
                    <a:cubicBezTo>
                      <a:pt x="34" y="4"/>
                      <a:pt x="25" y="0"/>
                      <a:pt x="16" y="2"/>
                    </a:cubicBezTo>
                    <a:cubicBezTo>
                      <a:pt x="5" y="6"/>
                      <a:pt x="0" y="16"/>
                      <a:pt x="3" y="27"/>
                    </a:cubicBezTo>
                    <a:cubicBezTo>
                      <a:pt x="6" y="37"/>
                      <a:pt x="17" y="43"/>
                      <a:pt x="27" y="40"/>
                    </a:cubicBezTo>
                    <a:cubicBezTo>
                      <a:pt x="32" y="39"/>
                      <a:pt x="36" y="35"/>
                      <a:pt x="38" y="31"/>
                    </a:cubicBezTo>
                    <a:cubicBezTo>
                      <a:pt x="40" y="31"/>
                      <a:pt x="52" y="31"/>
                      <a:pt x="54" y="31"/>
                    </a:cubicBezTo>
                    <a:cubicBezTo>
                      <a:pt x="63" y="31"/>
                      <a:pt x="65" y="33"/>
                      <a:pt x="67" y="40"/>
                    </a:cubicBezTo>
                    <a:cubicBezTo>
                      <a:pt x="73" y="61"/>
                      <a:pt x="165" y="388"/>
                      <a:pt x="171" y="409"/>
                    </a:cubicBezTo>
                    <a:cubicBezTo>
                      <a:pt x="180" y="439"/>
                      <a:pt x="194" y="450"/>
                      <a:pt x="209" y="450"/>
                    </a:cubicBezTo>
                    <a:lnTo>
                      <a:pt x="483" y="450"/>
                    </a:lnTo>
                    <a:cubicBezTo>
                      <a:pt x="492" y="450"/>
                      <a:pt x="496" y="441"/>
                      <a:pt x="496" y="437"/>
                    </a:cubicBezTo>
                    <a:cubicBezTo>
                      <a:pt x="498" y="423"/>
                      <a:pt x="486" y="420"/>
                      <a:pt x="480" y="420"/>
                    </a:cubicBezTo>
                    <a:lnTo>
                      <a:pt x="212" y="420"/>
                    </a:lnTo>
                    <a:cubicBezTo>
                      <a:pt x="205" y="420"/>
                      <a:pt x="198" y="415"/>
                      <a:pt x="196" y="408"/>
                    </a:cubicBezTo>
                    <a:cubicBezTo>
                      <a:pt x="195" y="404"/>
                      <a:pt x="170" y="315"/>
                      <a:pt x="168" y="309"/>
                    </a:cubicBezTo>
                    <a:cubicBezTo>
                      <a:pt x="174" y="315"/>
                      <a:pt x="179" y="314"/>
                      <a:pt x="182" y="314"/>
                    </a:cubicBezTo>
                    <a:lnTo>
                      <a:pt x="451" y="314"/>
                    </a:lnTo>
                    <a:cubicBezTo>
                      <a:pt x="486" y="314"/>
                      <a:pt x="500" y="272"/>
                      <a:pt x="503" y="259"/>
                    </a:cubicBezTo>
                    <a:lnTo>
                      <a:pt x="552" y="88"/>
                    </a:lnTo>
                    <a:cubicBezTo>
                      <a:pt x="554" y="81"/>
                      <a:pt x="552" y="63"/>
                      <a:pt x="533" y="63"/>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grpSp>
        <p:nvGrpSpPr>
          <p:cNvPr id="117" name="Group 125">
            <a:extLst>
              <a:ext uri="{FF2B5EF4-FFF2-40B4-BE49-F238E27FC236}">
                <a16:creationId xmlns:a16="http://schemas.microsoft.com/office/drawing/2014/main" id="{40682637-0E51-4E35-AE08-210B67FBF7E1}"/>
              </a:ext>
            </a:extLst>
          </p:cNvPr>
          <p:cNvGrpSpPr/>
          <p:nvPr/>
        </p:nvGrpSpPr>
        <p:grpSpPr>
          <a:xfrm>
            <a:off x="10183870" y="684336"/>
            <a:ext cx="329184" cy="329184"/>
            <a:chOff x="7095592" y="742073"/>
            <a:chExt cx="329184" cy="329184"/>
          </a:xfrm>
        </p:grpSpPr>
        <p:sp>
          <p:nvSpPr>
            <p:cNvPr id="303" name="Oval 137">
              <a:extLst>
                <a:ext uri="{FF2B5EF4-FFF2-40B4-BE49-F238E27FC236}">
                  <a16:creationId xmlns:a16="http://schemas.microsoft.com/office/drawing/2014/main" id="{B25F7DA8-76EC-4F19-AE74-20D32ADC2FD2}"/>
                </a:ext>
              </a:extLst>
            </p:cNvPr>
            <p:cNvSpPr/>
            <p:nvPr/>
          </p:nvSpPr>
          <p:spPr>
            <a:xfrm>
              <a:off x="7095592" y="742073"/>
              <a:ext cx="329184" cy="329184"/>
            </a:xfrm>
            <a:prstGeom prst="ellipse">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304" name="Group 127">
              <a:extLst>
                <a:ext uri="{FF2B5EF4-FFF2-40B4-BE49-F238E27FC236}">
                  <a16:creationId xmlns:a16="http://schemas.microsoft.com/office/drawing/2014/main" id="{61F7D361-A62C-4B41-B63C-3B43D6BE4817}"/>
                </a:ext>
              </a:extLst>
            </p:cNvPr>
            <p:cNvGrpSpPr/>
            <p:nvPr/>
          </p:nvGrpSpPr>
          <p:grpSpPr>
            <a:xfrm>
              <a:off x="7176816" y="778521"/>
              <a:ext cx="179310" cy="244447"/>
              <a:chOff x="7176816" y="778521"/>
              <a:chExt cx="179310" cy="244447"/>
            </a:xfrm>
          </p:grpSpPr>
          <p:sp>
            <p:nvSpPr>
              <p:cNvPr id="305" name="Seed" descr="{&quot;Key&quot;:&quot;POWER_USER_SHAPE_ICON&quot;,&quot;Value&quot;:&quot;POWER_USER_SHAPE_ICON_STYLE_1&quot;}">
                <a:extLst>
                  <a:ext uri="{FF2B5EF4-FFF2-40B4-BE49-F238E27FC236}">
                    <a16:creationId xmlns:a16="http://schemas.microsoft.com/office/drawing/2014/main" id="{BF1DBA81-707E-4D7B-B1CF-173B405289D4}"/>
                  </a:ext>
                </a:extLst>
              </p:cNvPr>
              <p:cNvSpPr>
                <a:spLocks noChangeAspect="1" noEditPoints="1"/>
              </p:cNvSpPr>
              <p:nvPr>
                <p:custDataLst>
                  <p:tags r:id="rId44"/>
                </p:custDataLst>
              </p:nvPr>
            </p:nvSpPr>
            <p:spPr bwMode="auto">
              <a:xfrm>
                <a:off x="7176816" y="878690"/>
                <a:ext cx="162838" cy="144278"/>
              </a:xfrm>
              <a:custGeom>
                <a:avLst/>
                <a:gdLst>
                  <a:gd name="T0" fmla="*/ 6744 w 11364"/>
                  <a:gd name="T1" fmla="*/ 3564 h 10067"/>
                  <a:gd name="T2" fmla="*/ 7042 w 11364"/>
                  <a:gd name="T3" fmla="*/ 3354 h 10067"/>
                  <a:gd name="T4" fmla="*/ 4139 w 11364"/>
                  <a:gd name="T5" fmla="*/ 214 h 10067"/>
                  <a:gd name="T6" fmla="*/ 5282 w 11364"/>
                  <a:gd name="T7" fmla="*/ 2733 h 10067"/>
                  <a:gd name="T8" fmla="*/ 10245 w 11364"/>
                  <a:gd name="T9" fmla="*/ 7311 h 10067"/>
                  <a:gd name="T10" fmla="*/ 7950 w 11364"/>
                  <a:gd name="T11" fmla="*/ 5369 h 10067"/>
                  <a:gd name="T12" fmla="*/ 7665 w 11364"/>
                  <a:gd name="T13" fmla="*/ 5315 h 10067"/>
                  <a:gd name="T14" fmla="*/ 7626 w 11364"/>
                  <a:gd name="T15" fmla="*/ 5310 h 10067"/>
                  <a:gd name="T16" fmla="*/ 7637 w 11364"/>
                  <a:gd name="T17" fmla="*/ 4576 h 10067"/>
                  <a:gd name="T18" fmla="*/ 7646 w 11364"/>
                  <a:gd name="T19" fmla="*/ 4476 h 10067"/>
                  <a:gd name="T20" fmla="*/ 7673 w 11364"/>
                  <a:gd name="T21" fmla="*/ 4234 h 10067"/>
                  <a:gd name="T22" fmla="*/ 8068 w 11364"/>
                  <a:gd name="T23" fmla="*/ 4029 h 10067"/>
                  <a:gd name="T24" fmla="*/ 11244 w 11364"/>
                  <a:gd name="T25" fmla="*/ 0 h 10067"/>
                  <a:gd name="T26" fmla="*/ 7516 w 11364"/>
                  <a:gd name="T27" fmla="*/ 2618 h 10067"/>
                  <a:gd name="T28" fmla="*/ 7233 w 11364"/>
                  <a:gd name="T29" fmla="*/ 4214 h 10067"/>
                  <a:gd name="T30" fmla="*/ 7224 w 11364"/>
                  <a:gd name="T31" fmla="*/ 5280 h 10067"/>
                  <a:gd name="T32" fmla="*/ 7082 w 11364"/>
                  <a:gd name="T33" fmla="*/ 5277 h 10067"/>
                  <a:gd name="T34" fmla="*/ 5070 w 11364"/>
                  <a:gd name="T35" fmla="*/ 6113 h 10067"/>
                  <a:gd name="T36" fmla="*/ 2454 w 11364"/>
                  <a:gd name="T37" fmla="*/ 5748 h 10067"/>
                  <a:gd name="T38" fmla="*/ 1979 w 11364"/>
                  <a:gd name="T39" fmla="*/ 5775 h 10067"/>
                  <a:gd name="T40" fmla="*/ 2514 w 11364"/>
                  <a:gd name="T41" fmla="*/ 6100 h 10067"/>
                  <a:gd name="T42" fmla="*/ 4816 w 11364"/>
                  <a:gd name="T43" fmla="*/ 6387 h 10067"/>
                  <a:gd name="T44" fmla="*/ 6145 w 11364"/>
                  <a:gd name="T45" fmla="*/ 6987 h 10067"/>
                  <a:gd name="T46" fmla="*/ 8301 w 11364"/>
                  <a:gd name="T47" fmla="*/ 7145 h 10067"/>
                  <a:gd name="T48" fmla="*/ 8758 w 11364"/>
                  <a:gd name="T49" fmla="*/ 7918 h 10067"/>
                  <a:gd name="T50" fmla="*/ 8461 w 11364"/>
                  <a:gd name="T51" fmla="*/ 8153 h 10067"/>
                  <a:gd name="T52" fmla="*/ 7099 w 11364"/>
                  <a:gd name="T53" fmla="*/ 8176 h 10067"/>
                  <a:gd name="T54" fmla="*/ 6945 w 11364"/>
                  <a:gd name="T55" fmla="*/ 8155 h 10067"/>
                  <a:gd name="T56" fmla="*/ 6316 w 11364"/>
                  <a:gd name="T57" fmla="*/ 8035 h 10067"/>
                  <a:gd name="T58" fmla="*/ 6020 w 11364"/>
                  <a:gd name="T59" fmla="*/ 7984 h 10067"/>
                  <a:gd name="T60" fmla="*/ 4994 w 11364"/>
                  <a:gd name="T61" fmla="*/ 8127 h 10067"/>
                  <a:gd name="T62" fmla="*/ 4903 w 11364"/>
                  <a:gd name="T63" fmla="*/ 8363 h 10067"/>
                  <a:gd name="T64" fmla="*/ 6233 w 11364"/>
                  <a:gd name="T65" fmla="*/ 8382 h 10067"/>
                  <a:gd name="T66" fmla="*/ 8735 w 11364"/>
                  <a:gd name="T67" fmla="*/ 8429 h 10067"/>
                  <a:gd name="T68" fmla="*/ 9563 w 11364"/>
                  <a:gd name="T69" fmla="*/ 8061 h 10067"/>
                  <a:gd name="T70" fmla="*/ 10404 w 11364"/>
                  <a:gd name="T71" fmla="*/ 7630 h 10067"/>
                  <a:gd name="T72" fmla="*/ 10935 w 11364"/>
                  <a:gd name="T73" fmla="*/ 7937 h 10067"/>
                  <a:gd name="T74" fmla="*/ 10018 w 11364"/>
                  <a:gd name="T75" fmla="*/ 8647 h 10067"/>
                  <a:gd name="T76" fmla="*/ 9086 w 11364"/>
                  <a:gd name="T77" fmla="*/ 9020 h 10067"/>
                  <a:gd name="T78" fmla="*/ 6547 w 11364"/>
                  <a:gd name="T79" fmla="*/ 9626 h 10067"/>
                  <a:gd name="T80" fmla="*/ 2148 w 11364"/>
                  <a:gd name="T81" fmla="*/ 8613 h 10067"/>
                  <a:gd name="T82" fmla="*/ 1979 w 11364"/>
                  <a:gd name="T83" fmla="*/ 8970 h 10067"/>
                  <a:gd name="T84" fmla="*/ 5139 w 11364"/>
                  <a:gd name="T85" fmla="*/ 9875 h 10067"/>
                  <a:gd name="T86" fmla="*/ 6619 w 11364"/>
                  <a:gd name="T87" fmla="*/ 9976 h 10067"/>
                  <a:gd name="T88" fmla="*/ 9235 w 11364"/>
                  <a:gd name="T89" fmla="*/ 9344 h 10067"/>
                  <a:gd name="T90" fmla="*/ 10176 w 11364"/>
                  <a:gd name="T91" fmla="*/ 8967 h 10067"/>
                  <a:gd name="T92" fmla="*/ 11194 w 11364"/>
                  <a:gd name="T93" fmla="*/ 8190 h 10067"/>
                  <a:gd name="T94" fmla="*/ 0 w 11364"/>
                  <a:gd name="T95" fmla="*/ 9309 h 10067"/>
                  <a:gd name="T96" fmla="*/ 1630 w 11364"/>
                  <a:gd name="T97" fmla="*/ 5351 h 10067"/>
                  <a:gd name="T98" fmla="*/ 0 w 11364"/>
                  <a:gd name="T99" fmla="*/ 9309 h 100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1364" h="10067">
                    <a:moveTo>
                      <a:pt x="5282" y="2733"/>
                    </a:moveTo>
                    <a:cubicBezTo>
                      <a:pt x="5856" y="3288"/>
                      <a:pt x="6390" y="3439"/>
                      <a:pt x="6744" y="3564"/>
                    </a:cubicBezTo>
                    <a:cubicBezTo>
                      <a:pt x="6525" y="2306"/>
                      <a:pt x="5827" y="1150"/>
                      <a:pt x="4589" y="609"/>
                    </a:cubicBezTo>
                    <a:cubicBezTo>
                      <a:pt x="5820" y="997"/>
                      <a:pt x="6676" y="2123"/>
                      <a:pt x="7042" y="3354"/>
                    </a:cubicBezTo>
                    <a:cubicBezTo>
                      <a:pt x="7112" y="2949"/>
                      <a:pt x="7216" y="2574"/>
                      <a:pt x="7358" y="2233"/>
                    </a:cubicBezTo>
                    <a:cubicBezTo>
                      <a:pt x="7006" y="1054"/>
                      <a:pt x="5918" y="214"/>
                      <a:pt x="4139" y="214"/>
                    </a:cubicBezTo>
                    <a:cubicBezTo>
                      <a:pt x="3920" y="214"/>
                      <a:pt x="3690" y="227"/>
                      <a:pt x="3450" y="253"/>
                    </a:cubicBezTo>
                    <a:cubicBezTo>
                      <a:pt x="4708" y="954"/>
                      <a:pt x="4033" y="1529"/>
                      <a:pt x="5282" y="2733"/>
                    </a:cubicBezTo>
                    <a:close/>
                    <a:moveTo>
                      <a:pt x="11174" y="7560"/>
                    </a:moveTo>
                    <a:cubicBezTo>
                      <a:pt x="11020" y="7299"/>
                      <a:pt x="10696" y="7094"/>
                      <a:pt x="10245" y="7311"/>
                    </a:cubicBezTo>
                    <a:lnTo>
                      <a:pt x="10145" y="7362"/>
                    </a:lnTo>
                    <a:cubicBezTo>
                      <a:pt x="9750" y="6361"/>
                      <a:pt x="9011" y="5620"/>
                      <a:pt x="7950" y="5369"/>
                    </a:cubicBezTo>
                    <a:cubicBezTo>
                      <a:pt x="7904" y="5358"/>
                      <a:pt x="7855" y="5350"/>
                      <a:pt x="7807" y="5341"/>
                    </a:cubicBezTo>
                    <a:cubicBezTo>
                      <a:pt x="7760" y="5332"/>
                      <a:pt x="7713" y="5323"/>
                      <a:pt x="7665" y="5315"/>
                    </a:cubicBezTo>
                    <a:lnTo>
                      <a:pt x="7665" y="5310"/>
                    </a:lnTo>
                    <a:lnTo>
                      <a:pt x="7626" y="5310"/>
                    </a:lnTo>
                    <a:cubicBezTo>
                      <a:pt x="7615" y="5095"/>
                      <a:pt x="7617" y="4877"/>
                      <a:pt x="7630" y="4658"/>
                    </a:cubicBezTo>
                    <a:cubicBezTo>
                      <a:pt x="7632" y="4631"/>
                      <a:pt x="7635" y="4603"/>
                      <a:pt x="7637" y="4576"/>
                    </a:cubicBezTo>
                    <a:cubicBezTo>
                      <a:pt x="7639" y="4548"/>
                      <a:pt x="7642" y="4521"/>
                      <a:pt x="7645" y="4493"/>
                    </a:cubicBezTo>
                    <a:cubicBezTo>
                      <a:pt x="7645" y="4487"/>
                      <a:pt x="7646" y="4482"/>
                      <a:pt x="7646" y="4476"/>
                    </a:cubicBezTo>
                    <a:cubicBezTo>
                      <a:pt x="7650" y="4440"/>
                      <a:pt x="7653" y="4405"/>
                      <a:pt x="7657" y="4369"/>
                    </a:cubicBezTo>
                    <a:cubicBezTo>
                      <a:pt x="7662" y="4324"/>
                      <a:pt x="7667" y="4279"/>
                      <a:pt x="7673" y="4234"/>
                    </a:cubicBezTo>
                    <a:cubicBezTo>
                      <a:pt x="7872" y="2771"/>
                      <a:pt x="8628" y="1348"/>
                      <a:pt x="9939" y="657"/>
                    </a:cubicBezTo>
                    <a:cubicBezTo>
                      <a:pt x="8766" y="1446"/>
                      <a:pt x="8183" y="2704"/>
                      <a:pt x="8068" y="4029"/>
                    </a:cubicBezTo>
                    <a:cubicBezTo>
                      <a:pt x="8412" y="3957"/>
                      <a:pt x="8947" y="3834"/>
                      <a:pt x="9555" y="3096"/>
                    </a:cubicBezTo>
                    <a:cubicBezTo>
                      <a:pt x="10606" y="1820"/>
                      <a:pt x="10037" y="1108"/>
                      <a:pt x="11244" y="0"/>
                    </a:cubicBezTo>
                    <a:cubicBezTo>
                      <a:pt x="9086" y="152"/>
                      <a:pt x="8041" y="1219"/>
                      <a:pt x="7569" y="2470"/>
                    </a:cubicBezTo>
                    <a:cubicBezTo>
                      <a:pt x="7551" y="2519"/>
                      <a:pt x="7533" y="2568"/>
                      <a:pt x="7516" y="2618"/>
                    </a:cubicBezTo>
                    <a:cubicBezTo>
                      <a:pt x="7499" y="2670"/>
                      <a:pt x="7482" y="2723"/>
                      <a:pt x="7466" y="2776"/>
                    </a:cubicBezTo>
                    <a:cubicBezTo>
                      <a:pt x="7324" y="3251"/>
                      <a:pt x="7255" y="3743"/>
                      <a:pt x="7233" y="4214"/>
                    </a:cubicBezTo>
                    <a:cubicBezTo>
                      <a:pt x="7227" y="4337"/>
                      <a:pt x="7224" y="4458"/>
                      <a:pt x="7224" y="4577"/>
                    </a:cubicBezTo>
                    <a:lnTo>
                      <a:pt x="7224" y="5280"/>
                    </a:lnTo>
                    <a:cubicBezTo>
                      <a:pt x="7190" y="5279"/>
                      <a:pt x="7156" y="5276"/>
                      <a:pt x="7121" y="5276"/>
                    </a:cubicBezTo>
                    <a:cubicBezTo>
                      <a:pt x="7107" y="5276"/>
                      <a:pt x="7095" y="5277"/>
                      <a:pt x="7082" y="5277"/>
                    </a:cubicBezTo>
                    <a:cubicBezTo>
                      <a:pt x="7033" y="5278"/>
                      <a:pt x="6986" y="5280"/>
                      <a:pt x="6939" y="5283"/>
                    </a:cubicBezTo>
                    <a:cubicBezTo>
                      <a:pt x="6217" y="5326"/>
                      <a:pt x="5581" y="5623"/>
                      <a:pt x="5070" y="6113"/>
                    </a:cubicBezTo>
                    <a:cubicBezTo>
                      <a:pt x="4740" y="5948"/>
                      <a:pt x="4382" y="5797"/>
                      <a:pt x="4006" y="5741"/>
                    </a:cubicBezTo>
                    <a:cubicBezTo>
                      <a:pt x="3196" y="5621"/>
                      <a:pt x="2767" y="5694"/>
                      <a:pt x="2454" y="5748"/>
                    </a:cubicBezTo>
                    <a:cubicBezTo>
                      <a:pt x="2277" y="5778"/>
                      <a:pt x="2149" y="5801"/>
                      <a:pt x="2006" y="5779"/>
                    </a:cubicBezTo>
                    <a:lnTo>
                      <a:pt x="1979" y="5775"/>
                    </a:lnTo>
                    <a:lnTo>
                      <a:pt x="1979" y="6135"/>
                    </a:lnTo>
                    <a:cubicBezTo>
                      <a:pt x="2167" y="6158"/>
                      <a:pt x="2329" y="6132"/>
                      <a:pt x="2514" y="6100"/>
                    </a:cubicBezTo>
                    <a:cubicBezTo>
                      <a:pt x="2820" y="6048"/>
                      <a:pt x="3200" y="5983"/>
                      <a:pt x="3953" y="6094"/>
                    </a:cubicBezTo>
                    <a:cubicBezTo>
                      <a:pt x="4247" y="6138"/>
                      <a:pt x="4539" y="6254"/>
                      <a:pt x="4816" y="6387"/>
                    </a:cubicBezTo>
                    <a:cubicBezTo>
                      <a:pt x="4964" y="6458"/>
                      <a:pt x="5108" y="6534"/>
                      <a:pt x="5246" y="6607"/>
                    </a:cubicBezTo>
                    <a:cubicBezTo>
                      <a:pt x="5584" y="6786"/>
                      <a:pt x="5875" y="6940"/>
                      <a:pt x="6145" y="6987"/>
                    </a:cubicBezTo>
                    <a:cubicBezTo>
                      <a:pt x="6374" y="7027"/>
                      <a:pt x="6617" y="7019"/>
                      <a:pt x="6873" y="7011"/>
                    </a:cubicBezTo>
                    <a:cubicBezTo>
                      <a:pt x="7279" y="6999"/>
                      <a:pt x="7740" y="6985"/>
                      <a:pt x="8301" y="7145"/>
                    </a:cubicBezTo>
                    <a:cubicBezTo>
                      <a:pt x="8622" y="7237"/>
                      <a:pt x="8803" y="7401"/>
                      <a:pt x="8825" y="7618"/>
                    </a:cubicBezTo>
                    <a:cubicBezTo>
                      <a:pt x="8835" y="7725"/>
                      <a:pt x="8806" y="7830"/>
                      <a:pt x="8758" y="7918"/>
                    </a:cubicBezTo>
                    <a:cubicBezTo>
                      <a:pt x="8709" y="8005"/>
                      <a:pt x="8640" y="8076"/>
                      <a:pt x="8571" y="8111"/>
                    </a:cubicBezTo>
                    <a:cubicBezTo>
                      <a:pt x="8540" y="8127"/>
                      <a:pt x="8502" y="8141"/>
                      <a:pt x="8461" y="8153"/>
                    </a:cubicBezTo>
                    <a:cubicBezTo>
                      <a:pt x="8371" y="8180"/>
                      <a:pt x="8259" y="8200"/>
                      <a:pt x="8128" y="8211"/>
                    </a:cubicBezTo>
                    <a:cubicBezTo>
                      <a:pt x="7846" y="8235"/>
                      <a:pt x="7483" y="8223"/>
                      <a:pt x="7099" y="8176"/>
                    </a:cubicBezTo>
                    <a:cubicBezTo>
                      <a:pt x="7067" y="8172"/>
                      <a:pt x="7035" y="8168"/>
                      <a:pt x="7003" y="8164"/>
                    </a:cubicBezTo>
                    <a:cubicBezTo>
                      <a:pt x="6984" y="8161"/>
                      <a:pt x="6965" y="8158"/>
                      <a:pt x="6945" y="8155"/>
                    </a:cubicBezTo>
                    <a:cubicBezTo>
                      <a:pt x="6790" y="8133"/>
                      <a:pt x="6633" y="8105"/>
                      <a:pt x="6477" y="8071"/>
                    </a:cubicBezTo>
                    <a:cubicBezTo>
                      <a:pt x="6423" y="8060"/>
                      <a:pt x="6370" y="8048"/>
                      <a:pt x="6316" y="8035"/>
                    </a:cubicBezTo>
                    <a:cubicBezTo>
                      <a:pt x="6270" y="8024"/>
                      <a:pt x="6226" y="8017"/>
                      <a:pt x="6181" y="8008"/>
                    </a:cubicBezTo>
                    <a:cubicBezTo>
                      <a:pt x="6126" y="7998"/>
                      <a:pt x="6072" y="7990"/>
                      <a:pt x="6020" y="7984"/>
                    </a:cubicBezTo>
                    <a:cubicBezTo>
                      <a:pt x="5990" y="7981"/>
                      <a:pt x="5960" y="7977"/>
                      <a:pt x="5931" y="7975"/>
                    </a:cubicBezTo>
                    <a:cubicBezTo>
                      <a:pt x="5524" y="7946"/>
                      <a:pt x="5206" y="8034"/>
                      <a:pt x="4994" y="8127"/>
                    </a:cubicBezTo>
                    <a:cubicBezTo>
                      <a:pt x="4960" y="8142"/>
                      <a:pt x="4936" y="8168"/>
                      <a:pt x="4918" y="8197"/>
                    </a:cubicBezTo>
                    <a:cubicBezTo>
                      <a:pt x="4888" y="8246"/>
                      <a:pt x="4878" y="8306"/>
                      <a:pt x="4903" y="8363"/>
                    </a:cubicBezTo>
                    <a:cubicBezTo>
                      <a:pt x="4943" y="8452"/>
                      <a:pt x="5048" y="8493"/>
                      <a:pt x="5138" y="8454"/>
                    </a:cubicBezTo>
                    <a:cubicBezTo>
                      <a:pt x="5465" y="8310"/>
                      <a:pt x="5833" y="8286"/>
                      <a:pt x="6233" y="8382"/>
                    </a:cubicBezTo>
                    <a:cubicBezTo>
                      <a:pt x="6732" y="8503"/>
                      <a:pt x="7317" y="8582"/>
                      <a:pt x="7817" y="8582"/>
                    </a:cubicBezTo>
                    <a:cubicBezTo>
                      <a:pt x="8196" y="8582"/>
                      <a:pt x="8527" y="8536"/>
                      <a:pt x="8735" y="8429"/>
                    </a:cubicBezTo>
                    <a:cubicBezTo>
                      <a:pt x="8828" y="8381"/>
                      <a:pt x="8910" y="8308"/>
                      <a:pt x="8978" y="8223"/>
                    </a:cubicBezTo>
                    <a:cubicBezTo>
                      <a:pt x="9279" y="8130"/>
                      <a:pt x="9558" y="8062"/>
                      <a:pt x="9563" y="8061"/>
                    </a:cubicBezTo>
                    <a:cubicBezTo>
                      <a:pt x="9577" y="8057"/>
                      <a:pt x="9590" y="8052"/>
                      <a:pt x="9603" y="8045"/>
                    </a:cubicBezTo>
                    <a:lnTo>
                      <a:pt x="10404" y="7630"/>
                    </a:lnTo>
                    <a:cubicBezTo>
                      <a:pt x="10627" y="7523"/>
                      <a:pt x="10731" y="7601"/>
                      <a:pt x="10766" y="7626"/>
                    </a:cubicBezTo>
                    <a:cubicBezTo>
                      <a:pt x="10877" y="7708"/>
                      <a:pt x="10927" y="7862"/>
                      <a:pt x="10935" y="7937"/>
                    </a:cubicBezTo>
                    <a:cubicBezTo>
                      <a:pt x="10867" y="7990"/>
                      <a:pt x="10749" y="8081"/>
                      <a:pt x="10619" y="8183"/>
                    </a:cubicBezTo>
                    <a:cubicBezTo>
                      <a:pt x="10396" y="8357"/>
                      <a:pt x="10058" y="8621"/>
                      <a:pt x="10018" y="8647"/>
                    </a:cubicBezTo>
                    <a:cubicBezTo>
                      <a:pt x="9989" y="8661"/>
                      <a:pt x="9867" y="8708"/>
                      <a:pt x="9720" y="8765"/>
                    </a:cubicBezTo>
                    <a:cubicBezTo>
                      <a:pt x="9489" y="8855"/>
                      <a:pt x="9201" y="8966"/>
                      <a:pt x="9086" y="9020"/>
                    </a:cubicBezTo>
                    <a:cubicBezTo>
                      <a:pt x="8816" y="9144"/>
                      <a:pt x="8300" y="9346"/>
                      <a:pt x="8196" y="9349"/>
                    </a:cubicBezTo>
                    <a:cubicBezTo>
                      <a:pt x="8024" y="9349"/>
                      <a:pt x="7346" y="9463"/>
                      <a:pt x="6547" y="9626"/>
                    </a:cubicBezTo>
                    <a:cubicBezTo>
                      <a:pt x="5919" y="9754"/>
                      <a:pt x="5696" y="9741"/>
                      <a:pt x="5291" y="9552"/>
                    </a:cubicBezTo>
                    <a:cubicBezTo>
                      <a:pt x="4872" y="9356"/>
                      <a:pt x="2441" y="8613"/>
                      <a:pt x="2148" y="8613"/>
                    </a:cubicBezTo>
                    <a:lnTo>
                      <a:pt x="1979" y="8613"/>
                    </a:lnTo>
                    <a:lnTo>
                      <a:pt x="1979" y="8970"/>
                    </a:lnTo>
                    <a:lnTo>
                      <a:pt x="2146" y="8970"/>
                    </a:lnTo>
                    <a:cubicBezTo>
                      <a:pt x="2378" y="8981"/>
                      <a:pt x="4685" y="9662"/>
                      <a:pt x="5139" y="9875"/>
                    </a:cubicBezTo>
                    <a:cubicBezTo>
                      <a:pt x="5427" y="10010"/>
                      <a:pt x="5655" y="10067"/>
                      <a:pt x="5917" y="10067"/>
                    </a:cubicBezTo>
                    <a:cubicBezTo>
                      <a:pt x="6117" y="10067"/>
                      <a:pt x="6337" y="10034"/>
                      <a:pt x="6619" y="9976"/>
                    </a:cubicBezTo>
                    <a:cubicBezTo>
                      <a:pt x="7530" y="9790"/>
                      <a:pt x="8089" y="9706"/>
                      <a:pt x="8196" y="9706"/>
                    </a:cubicBezTo>
                    <a:cubicBezTo>
                      <a:pt x="8437" y="9706"/>
                      <a:pt x="9228" y="9348"/>
                      <a:pt x="9235" y="9344"/>
                    </a:cubicBezTo>
                    <a:cubicBezTo>
                      <a:pt x="9341" y="9296"/>
                      <a:pt x="9635" y="9181"/>
                      <a:pt x="9849" y="9098"/>
                    </a:cubicBezTo>
                    <a:cubicBezTo>
                      <a:pt x="10069" y="9013"/>
                      <a:pt x="10148" y="8982"/>
                      <a:pt x="10176" y="8967"/>
                    </a:cubicBezTo>
                    <a:cubicBezTo>
                      <a:pt x="10216" y="8947"/>
                      <a:pt x="10303" y="8883"/>
                      <a:pt x="10839" y="8464"/>
                    </a:cubicBezTo>
                    <a:cubicBezTo>
                      <a:pt x="11008" y="8332"/>
                      <a:pt x="11155" y="8217"/>
                      <a:pt x="11194" y="8190"/>
                    </a:cubicBezTo>
                    <a:cubicBezTo>
                      <a:pt x="11364" y="8068"/>
                      <a:pt x="11285" y="7748"/>
                      <a:pt x="11174" y="7560"/>
                    </a:cubicBezTo>
                    <a:close/>
                    <a:moveTo>
                      <a:pt x="0" y="9309"/>
                    </a:moveTo>
                    <a:lnTo>
                      <a:pt x="1630" y="9309"/>
                    </a:lnTo>
                    <a:lnTo>
                      <a:pt x="1630" y="5351"/>
                    </a:lnTo>
                    <a:lnTo>
                      <a:pt x="0" y="5351"/>
                    </a:lnTo>
                    <a:lnTo>
                      <a:pt x="0" y="9309"/>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nvGrpSpPr>
              <p:cNvPr id="306" name="Problem_Based_Learning" descr="{&quot;Key&quot;:&quot;POWER_USER_SHAPE_ICON&quot;,&quot;Value&quot;:&quot;POWER_USER_SHAPE_ICON_STYLE_1&quot;}">
                <a:extLst>
                  <a:ext uri="{FF2B5EF4-FFF2-40B4-BE49-F238E27FC236}">
                    <a16:creationId xmlns:a16="http://schemas.microsoft.com/office/drawing/2014/main" id="{CD88D2F4-398F-402E-B4FA-F71349A839C8}"/>
                  </a:ext>
                </a:extLst>
              </p:cNvPr>
              <p:cNvGrpSpPr>
                <a:grpSpLocks noChangeAspect="1"/>
              </p:cNvGrpSpPr>
              <p:nvPr>
                <p:custDataLst>
                  <p:tags r:id="rId45"/>
                </p:custDataLst>
              </p:nvPr>
            </p:nvGrpSpPr>
            <p:grpSpPr bwMode="auto">
              <a:xfrm>
                <a:off x="7183815" y="778521"/>
                <a:ext cx="172311" cy="185669"/>
                <a:chOff x="7" y="8"/>
                <a:chExt cx="424" cy="471"/>
              </a:xfrm>
              <a:solidFill>
                <a:schemeClr val="bg1"/>
              </a:solidFill>
            </p:grpSpPr>
            <p:sp>
              <p:nvSpPr>
                <p:cNvPr id="307" name="Problem_Based_Learning">
                  <a:extLst>
                    <a:ext uri="{FF2B5EF4-FFF2-40B4-BE49-F238E27FC236}">
                      <a16:creationId xmlns:a16="http://schemas.microsoft.com/office/drawing/2014/main" id="{C78E1325-0655-4C06-97EF-70573F5D1CD0}"/>
                    </a:ext>
                  </a:extLst>
                </p:cNvPr>
                <p:cNvSpPr>
                  <a:spLocks/>
                </p:cNvSpPr>
                <p:nvPr>
                  <p:custDataLst>
                    <p:tags r:id="rId46"/>
                  </p:custDataLst>
                </p:nvPr>
              </p:nvSpPr>
              <p:spPr bwMode="auto">
                <a:xfrm>
                  <a:off x="214" y="8"/>
                  <a:ext cx="20" cy="69"/>
                </a:xfrm>
                <a:custGeom>
                  <a:avLst/>
                  <a:gdLst>
                    <a:gd name="T0" fmla="*/ 26 w 52"/>
                    <a:gd name="T1" fmla="*/ 183 h 183"/>
                    <a:gd name="T2" fmla="*/ 0 w 52"/>
                    <a:gd name="T3" fmla="*/ 156 h 183"/>
                    <a:gd name="T4" fmla="*/ 0 w 52"/>
                    <a:gd name="T5" fmla="*/ 26 h 183"/>
                    <a:gd name="T6" fmla="*/ 26 w 52"/>
                    <a:gd name="T7" fmla="*/ 0 h 183"/>
                    <a:gd name="T8" fmla="*/ 52 w 52"/>
                    <a:gd name="T9" fmla="*/ 26 h 183"/>
                    <a:gd name="T10" fmla="*/ 52 w 52"/>
                    <a:gd name="T11" fmla="*/ 156 h 183"/>
                    <a:gd name="T12" fmla="*/ 26 w 52"/>
                    <a:gd name="T13" fmla="*/ 183 h 183"/>
                  </a:gdLst>
                  <a:ahLst/>
                  <a:cxnLst>
                    <a:cxn ang="0">
                      <a:pos x="T0" y="T1"/>
                    </a:cxn>
                    <a:cxn ang="0">
                      <a:pos x="T2" y="T3"/>
                    </a:cxn>
                    <a:cxn ang="0">
                      <a:pos x="T4" y="T5"/>
                    </a:cxn>
                    <a:cxn ang="0">
                      <a:pos x="T6" y="T7"/>
                    </a:cxn>
                    <a:cxn ang="0">
                      <a:pos x="T8" y="T9"/>
                    </a:cxn>
                    <a:cxn ang="0">
                      <a:pos x="T10" y="T11"/>
                    </a:cxn>
                    <a:cxn ang="0">
                      <a:pos x="T12" y="T13"/>
                    </a:cxn>
                  </a:cxnLst>
                  <a:rect l="0" t="0" r="r" b="b"/>
                  <a:pathLst>
                    <a:path w="52" h="183">
                      <a:moveTo>
                        <a:pt x="26" y="183"/>
                      </a:moveTo>
                      <a:cubicBezTo>
                        <a:pt x="11" y="183"/>
                        <a:pt x="0" y="171"/>
                        <a:pt x="0" y="156"/>
                      </a:cubicBezTo>
                      <a:lnTo>
                        <a:pt x="0" y="26"/>
                      </a:lnTo>
                      <a:cubicBezTo>
                        <a:pt x="0" y="12"/>
                        <a:pt x="11" y="0"/>
                        <a:pt x="26" y="0"/>
                      </a:cubicBezTo>
                      <a:cubicBezTo>
                        <a:pt x="40" y="0"/>
                        <a:pt x="52" y="12"/>
                        <a:pt x="52" y="26"/>
                      </a:cubicBezTo>
                      <a:lnTo>
                        <a:pt x="52" y="156"/>
                      </a:lnTo>
                      <a:cubicBezTo>
                        <a:pt x="52" y="171"/>
                        <a:pt x="40" y="183"/>
                        <a:pt x="26" y="183"/>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noProof="0">
                    <a:ln>
                      <a:noFill/>
                    </a:ln>
                    <a:solidFill>
                      <a:prstClr val="black"/>
                    </a:solidFill>
                    <a:effectLst/>
                    <a:uLnTx/>
                    <a:uFillTx/>
                    <a:latin typeface="Calibri" panose="020F0502020204030204"/>
                    <a:ea typeface="+mn-ea"/>
                    <a:cs typeface="+mn-cs"/>
                  </a:endParaRPr>
                </a:p>
              </p:txBody>
            </p:sp>
            <p:sp>
              <p:nvSpPr>
                <p:cNvPr id="308" name="Problem_Based_Learning">
                  <a:extLst>
                    <a:ext uri="{FF2B5EF4-FFF2-40B4-BE49-F238E27FC236}">
                      <a16:creationId xmlns:a16="http://schemas.microsoft.com/office/drawing/2014/main" id="{F11FD184-AE94-4302-8101-F34C35778E84}"/>
                    </a:ext>
                  </a:extLst>
                </p:cNvPr>
                <p:cNvSpPr>
                  <a:spLocks/>
                </p:cNvSpPr>
                <p:nvPr>
                  <p:custDataLst>
                    <p:tags r:id="rId47"/>
                  </p:custDataLst>
                </p:nvPr>
              </p:nvSpPr>
              <p:spPr bwMode="auto">
                <a:xfrm>
                  <a:off x="301" y="46"/>
                  <a:ext cx="51" cy="60"/>
                </a:xfrm>
                <a:custGeom>
                  <a:avLst/>
                  <a:gdLst>
                    <a:gd name="T0" fmla="*/ 29 w 137"/>
                    <a:gd name="T1" fmla="*/ 160 h 160"/>
                    <a:gd name="T2" fmla="*/ 14 w 137"/>
                    <a:gd name="T3" fmla="*/ 155 h 160"/>
                    <a:gd name="T4" fmla="*/ 9 w 137"/>
                    <a:gd name="T5" fmla="*/ 118 h 160"/>
                    <a:gd name="T6" fmla="*/ 87 w 137"/>
                    <a:gd name="T7" fmla="*/ 14 h 160"/>
                    <a:gd name="T8" fmla="*/ 123 w 137"/>
                    <a:gd name="T9" fmla="*/ 9 h 160"/>
                    <a:gd name="T10" fmla="*/ 128 w 137"/>
                    <a:gd name="T11" fmla="*/ 45 h 160"/>
                    <a:gd name="T12" fmla="*/ 50 w 137"/>
                    <a:gd name="T13" fmla="*/ 149 h 160"/>
                    <a:gd name="T14" fmla="*/ 29 w 137"/>
                    <a:gd name="T15" fmla="*/ 160 h 16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7" h="160">
                      <a:moveTo>
                        <a:pt x="29" y="160"/>
                      </a:moveTo>
                      <a:cubicBezTo>
                        <a:pt x="24" y="160"/>
                        <a:pt x="18" y="158"/>
                        <a:pt x="14" y="155"/>
                      </a:cubicBezTo>
                      <a:cubicBezTo>
                        <a:pt x="2" y="146"/>
                        <a:pt x="0" y="130"/>
                        <a:pt x="9" y="118"/>
                      </a:cubicBezTo>
                      <a:lnTo>
                        <a:pt x="87" y="14"/>
                      </a:lnTo>
                      <a:cubicBezTo>
                        <a:pt x="95" y="2"/>
                        <a:pt x="112" y="0"/>
                        <a:pt x="123" y="9"/>
                      </a:cubicBezTo>
                      <a:cubicBezTo>
                        <a:pt x="135" y="17"/>
                        <a:pt x="137" y="34"/>
                        <a:pt x="128" y="45"/>
                      </a:cubicBezTo>
                      <a:lnTo>
                        <a:pt x="50" y="149"/>
                      </a:lnTo>
                      <a:cubicBezTo>
                        <a:pt x="45" y="156"/>
                        <a:pt x="37" y="160"/>
                        <a:pt x="29" y="16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noProof="0">
                    <a:ln>
                      <a:noFill/>
                    </a:ln>
                    <a:solidFill>
                      <a:prstClr val="black"/>
                    </a:solidFill>
                    <a:effectLst/>
                    <a:uLnTx/>
                    <a:uFillTx/>
                    <a:latin typeface="Calibri" panose="020F0502020204030204"/>
                    <a:ea typeface="+mn-ea"/>
                    <a:cs typeface="+mn-cs"/>
                  </a:endParaRPr>
                </a:p>
              </p:txBody>
            </p:sp>
            <p:sp>
              <p:nvSpPr>
                <p:cNvPr id="309" name="Problem_Based_Learning">
                  <a:extLst>
                    <a:ext uri="{FF2B5EF4-FFF2-40B4-BE49-F238E27FC236}">
                      <a16:creationId xmlns:a16="http://schemas.microsoft.com/office/drawing/2014/main" id="{B32C7D6B-D05A-4C15-9849-2259422330C6}"/>
                    </a:ext>
                  </a:extLst>
                </p:cNvPr>
                <p:cNvSpPr>
                  <a:spLocks/>
                </p:cNvSpPr>
                <p:nvPr>
                  <p:custDataLst>
                    <p:tags r:id="rId48"/>
                  </p:custDataLst>
                </p:nvPr>
              </p:nvSpPr>
              <p:spPr bwMode="auto">
                <a:xfrm>
                  <a:off x="85" y="46"/>
                  <a:ext cx="52" cy="60"/>
                </a:xfrm>
                <a:custGeom>
                  <a:avLst/>
                  <a:gdLst>
                    <a:gd name="T0" fmla="*/ 108 w 137"/>
                    <a:gd name="T1" fmla="*/ 160 h 160"/>
                    <a:gd name="T2" fmla="*/ 87 w 137"/>
                    <a:gd name="T3" fmla="*/ 149 h 160"/>
                    <a:gd name="T4" fmla="*/ 9 w 137"/>
                    <a:gd name="T5" fmla="*/ 45 h 160"/>
                    <a:gd name="T6" fmla="*/ 14 w 137"/>
                    <a:gd name="T7" fmla="*/ 9 h 160"/>
                    <a:gd name="T8" fmla="*/ 51 w 137"/>
                    <a:gd name="T9" fmla="*/ 14 h 160"/>
                    <a:gd name="T10" fmla="*/ 129 w 137"/>
                    <a:gd name="T11" fmla="*/ 118 h 160"/>
                    <a:gd name="T12" fmla="*/ 124 w 137"/>
                    <a:gd name="T13" fmla="*/ 155 h 160"/>
                    <a:gd name="T14" fmla="*/ 108 w 137"/>
                    <a:gd name="T15" fmla="*/ 160 h 16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7" h="160">
                      <a:moveTo>
                        <a:pt x="108" y="160"/>
                      </a:moveTo>
                      <a:cubicBezTo>
                        <a:pt x="100" y="160"/>
                        <a:pt x="92" y="156"/>
                        <a:pt x="87" y="149"/>
                      </a:cubicBezTo>
                      <a:lnTo>
                        <a:pt x="9" y="45"/>
                      </a:lnTo>
                      <a:cubicBezTo>
                        <a:pt x="0" y="34"/>
                        <a:pt x="3" y="17"/>
                        <a:pt x="14" y="9"/>
                      </a:cubicBezTo>
                      <a:cubicBezTo>
                        <a:pt x="26" y="0"/>
                        <a:pt x="42" y="2"/>
                        <a:pt x="51" y="14"/>
                      </a:cubicBezTo>
                      <a:lnTo>
                        <a:pt x="129" y="118"/>
                      </a:lnTo>
                      <a:cubicBezTo>
                        <a:pt x="137" y="130"/>
                        <a:pt x="135" y="146"/>
                        <a:pt x="124" y="155"/>
                      </a:cubicBezTo>
                      <a:cubicBezTo>
                        <a:pt x="119" y="158"/>
                        <a:pt x="113" y="160"/>
                        <a:pt x="108" y="16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noProof="0">
                    <a:ln>
                      <a:noFill/>
                    </a:ln>
                    <a:solidFill>
                      <a:prstClr val="black"/>
                    </a:solidFill>
                    <a:effectLst/>
                    <a:uLnTx/>
                    <a:uFillTx/>
                    <a:latin typeface="Calibri" panose="020F0502020204030204"/>
                    <a:ea typeface="+mn-ea"/>
                    <a:cs typeface="+mn-cs"/>
                  </a:endParaRPr>
                </a:p>
              </p:txBody>
            </p:sp>
            <p:sp>
              <p:nvSpPr>
                <p:cNvPr id="310" name="Problem_Based_Learning">
                  <a:extLst>
                    <a:ext uri="{FF2B5EF4-FFF2-40B4-BE49-F238E27FC236}">
                      <a16:creationId xmlns:a16="http://schemas.microsoft.com/office/drawing/2014/main" id="{4B6FA0FE-041B-4414-9853-1D06A08A97B4}"/>
                    </a:ext>
                  </a:extLst>
                </p:cNvPr>
                <p:cNvSpPr>
                  <a:spLocks/>
                </p:cNvSpPr>
                <p:nvPr>
                  <p:custDataLst>
                    <p:tags r:id="rId49"/>
                  </p:custDataLst>
                </p:nvPr>
              </p:nvSpPr>
              <p:spPr bwMode="auto">
                <a:xfrm>
                  <a:off x="7" y="134"/>
                  <a:ext cx="61" cy="41"/>
                </a:xfrm>
                <a:custGeom>
                  <a:avLst/>
                  <a:gdLst>
                    <a:gd name="T0" fmla="*/ 134 w 164"/>
                    <a:gd name="T1" fmla="*/ 108 h 108"/>
                    <a:gd name="T2" fmla="*/ 123 w 164"/>
                    <a:gd name="T3" fmla="*/ 106 h 108"/>
                    <a:gd name="T4" fmla="*/ 18 w 164"/>
                    <a:gd name="T5" fmla="*/ 53 h 108"/>
                    <a:gd name="T6" fmla="*/ 7 w 164"/>
                    <a:gd name="T7" fmla="*/ 18 h 108"/>
                    <a:gd name="T8" fmla="*/ 42 w 164"/>
                    <a:gd name="T9" fmla="*/ 7 h 108"/>
                    <a:gd name="T10" fmla="*/ 146 w 164"/>
                    <a:gd name="T11" fmla="*/ 59 h 108"/>
                    <a:gd name="T12" fmla="*/ 158 w 164"/>
                    <a:gd name="T13" fmla="*/ 94 h 108"/>
                    <a:gd name="T14" fmla="*/ 134 w 164"/>
                    <a:gd name="T15" fmla="*/ 108 h 1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4" h="108">
                      <a:moveTo>
                        <a:pt x="134" y="108"/>
                      </a:moveTo>
                      <a:cubicBezTo>
                        <a:pt x="130" y="108"/>
                        <a:pt x="126" y="107"/>
                        <a:pt x="123" y="106"/>
                      </a:cubicBezTo>
                      <a:lnTo>
                        <a:pt x="18" y="53"/>
                      </a:lnTo>
                      <a:cubicBezTo>
                        <a:pt x="6" y="47"/>
                        <a:pt x="0" y="31"/>
                        <a:pt x="7" y="18"/>
                      </a:cubicBezTo>
                      <a:cubicBezTo>
                        <a:pt x="13" y="6"/>
                        <a:pt x="29" y="0"/>
                        <a:pt x="42" y="7"/>
                      </a:cubicBezTo>
                      <a:lnTo>
                        <a:pt x="146" y="59"/>
                      </a:lnTo>
                      <a:cubicBezTo>
                        <a:pt x="159" y="65"/>
                        <a:pt x="164" y="81"/>
                        <a:pt x="158" y="94"/>
                      </a:cubicBezTo>
                      <a:cubicBezTo>
                        <a:pt x="153" y="103"/>
                        <a:pt x="144" y="108"/>
                        <a:pt x="134" y="108"/>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noProof="0">
                    <a:ln>
                      <a:noFill/>
                    </a:ln>
                    <a:solidFill>
                      <a:prstClr val="black"/>
                    </a:solidFill>
                    <a:effectLst/>
                    <a:uLnTx/>
                    <a:uFillTx/>
                    <a:latin typeface="Calibri" panose="020F0502020204030204"/>
                    <a:ea typeface="+mn-ea"/>
                    <a:cs typeface="+mn-cs"/>
                  </a:endParaRPr>
                </a:p>
              </p:txBody>
            </p:sp>
            <p:sp>
              <p:nvSpPr>
                <p:cNvPr id="311" name="Problem_Based_Learning">
                  <a:extLst>
                    <a:ext uri="{FF2B5EF4-FFF2-40B4-BE49-F238E27FC236}">
                      <a16:creationId xmlns:a16="http://schemas.microsoft.com/office/drawing/2014/main" id="{98FDD339-5CC2-451B-9CCC-A111829BDB2F}"/>
                    </a:ext>
                  </a:extLst>
                </p:cNvPr>
                <p:cNvSpPr>
                  <a:spLocks/>
                </p:cNvSpPr>
                <p:nvPr>
                  <p:custDataLst>
                    <p:tags r:id="rId50"/>
                  </p:custDataLst>
                </p:nvPr>
              </p:nvSpPr>
              <p:spPr bwMode="auto">
                <a:xfrm>
                  <a:off x="369" y="134"/>
                  <a:ext cx="62" cy="41"/>
                </a:xfrm>
                <a:custGeom>
                  <a:avLst/>
                  <a:gdLst>
                    <a:gd name="T0" fmla="*/ 30 w 164"/>
                    <a:gd name="T1" fmla="*/ 108 h 108"/>
                    <a:gd name="T2" fmla="*/ 7 w 164"/>
                    <a:gd name="T3" fmla="*/ 94 h 108"/>
                    <a:gd name="T4" fmla="*/ 18 w 164"/>
                    <a:gd name="T5" fmla="*/ 59 h 108"/>
                    <a:gd name="T6" fmla="*/ 123 w 164"/>
                    <a:gd name="T7" fmla="*/ 7 h 108"/>
                    <a:gd name="T8" fmla="*/ 158 w 164"/>
                    <a:gd name="T9" fmla="*/ 18 h 108"/>
                    <a:gd name="T10" fmla="*/ 146 w 164"/>
                    <a:gd name="T11" fmla="*/ 53 h 108"/>
                    <a:gd name="T12" fmla="*/ 42 w 164"/>
                    <a:gd name="T13" fmla="*/ 106 h 108"/>
                    <a:gd name="T14" fmla="*/ 30 w 164"/>
                    <a:gd name="T15" fmla="*/ 108 h 1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4" h="108">
                      <a:moveTo>
                        <a:pt x="30" y="108"/>
                      </a:moveTo>
                      <a:cubicBezTo>
                        <a:pt x="20" y="108"/>
                        <a:pt x="11" y="103"/>
                        <a:pt x="7" y="94"/>
                      </a:cubicBezTo>
                      <a:cubicBezTo>
                        <a:pt x="0" y="81"/>
                        <a:pt x="5" y="65"/>
                        <a:pt x="18" y="59"/>
                      </a:cubicBezTo>
                      <a:lnTo>
                        <a:pt x="123" y="7"/>
                      </a:lnTo>
                      <a:cubicBezTo>
                        <a:pt x="135" y="0"/>
                        <a:pt x="151" y="6"/>
                        <a:pt x="158" y="18"/>
                      </a:cubicBezTo>
                      <a:cubicBezTo>
                        <a:pt x="164" y="31"/>
                        <a:pt x="159" y="47"/>
                        <a:pt x="146" y="53"/>
                      </a:cubicBezTo>
                      <a:lnTo>
                        <a:pt x="42" y="106"/>
                      </a:lnTo>
                      <a:cubicBezTo>
                        <a:pt x="38" y="107"/>
                        <a:pt x="34" y="108"/>
                        <a:pt x="30" y="108"/>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noProof="0">
                    <a:ln>
                      <a:noFill/>
                    </a:ln>
                    <a:solidFill>
                      <a:prstClr val="black"/>
                    </a:solidFill>
                    <a:effectLst/>
                    <a:uLnTx/>
                    <a:uFillTx/>
                    <a:latin typeface="Calibri" panose="020F0502020204030204"/>
                    <a:ea typeface="+mn-ea"/>
                    <a:cs typeface="+mn-cs"/>
                  </a:endParaRPr>
                </a:p>
              </p:txBody>
            </p:sp>
            <p:sp>
              <p:nvSpPr>
                <p:cNvPr id="312" name="Problem_Based_Learning">
                  <a:extLst>
                    <a:ext uri="{FF2B5EF4-FFF2-40B4-BE49-F238E27FC236}">
                      <a16:creationId xmlns:a16="http://schemas.microsoft.com/office/drawing/2014/main" id="{CE9FD9A3-B333-4482-BC2C-94F961942589}"/>
                    </a:ext>
                  </a:extLst>
                </p:cNvPr>
                <p:cNvSpPr>
                  <a:spLocks noEditPoints="1"/>
                </p:cNvSpPr>
                <p:nvPr>
                  <p:custDataLst>
                    <p:tags r:id="rId51"/>
                  </p:custDataLst>
                </p:nvPr>
              </p:nvSpPr>
              <p:spPr bwMode="auto">
                <a:xfrm>
                  <a:off x="87" y="106"/>
                  <a:ext cx="303" cy="373"/>
                </a:xfrm>
                <a:custGeom>
                  <a:avLst/>
                  <a:gdLst>
                    <a:gd name="T0" fmla="*/ 730 w 808"/>
                    <a:gd name="T1" fmla="*/ 391 h 989"/>
                    <a:gd name="T2" fmla="*/ 730 w 808"/>
                    <a:gd name="T3" fmla="*/ 365 h 989"/>
                    <a:gd name="T4" fmla="*/ 365 w 808"/>
                    <a:gd name="T5" fmla="*/ 0 h 989"/>
                    <a:gd name="T6" fmla="*/ 0 w 808"/>
                    <a:gd name="T7" fmla="*/ 365 h 989"/>
                    <a:gd name="T8" fmla="*/ 78 w 808"/>
                    <a:gd name="T9" fmla="*/ 590 h 989"/>
                    <a:gd name="T10" fmla="*/ 78 w 808"/>
                    <a:gd name="T11" fmla="*/ 989 h 989"/>
                    <a:gd name="T12" fmla="*/ 547 w 808"/>
                    <a:gd name="T13" fmla="*/ 989 h 989"/>
                    <a:gd name="T14" fmla="*/ 547 w 808"/>
                    <a:gd name="T15" fmla="*/ 860 h 989"/>
                    <a:gd name="T16" fmla="*/ 704 w 808"/>
                    <a:gd name="T17" fmla="*/ 704 h 989"/>
                    <a:gd name="T18" fmla="*/ 704 w 808"/>
                    <a:gd name="T19" fmla="*/ 626 h 989"/>
                    <a:gd name="T20" fmla="*/ 782 w 808"/>
                    <a:gd name="T21" fmla="*/ 626 h 989"/>
                    <a:gd name="T22" fmla="*/ 808 w 808"/>
                    <a:gd name="T23" fmla="*/ 600 h 989"/>
                    <a:gd name="T24" fmla="*/ 730 w 808"/>
                    <a:gd name="T25" fmla="*/ 391 h 989"/>
                    <a:gd name="T26" fmla="*/ 587 w 808"/>
                    <a:gd name="T27" fmla="*/ 387 h 989"/>
                    <a:gd name="T28" fmla="*/ 547 w 808"/>
                    <a:gd name="T29" fmla="*/ 365 h 989"/>
                    <a:gd name="T30" fmla="*/ 522 w 808"/>
                    <a:gd name="T31" fmla="*/ 385 h 989"/>
                    <a:gd name="T32" fmla="*/ 520 w 808"/>
                    <a:gd name="T33" fmla="*/ 474 h 989"/>
                    <a:gd name="T34" fmla="*/ 410 w 808"/>
                    <a:gd name="T35" fmla="*/ 473 h 989"/>
                    <a:gd name="T36" fmla="*/ 390 w 808"/>
                    <a:gd name="T37" fmla="*/ 449 h 989"/>
                    <a:gd name="T38" fmla="*/ 412 w 808"/>
                    <a:gd name="T39" fmla="*/ 409 h 989"/>
                    <a:gd name="T40" fmla="*/ 368 w 808"/>
                    <a:gd name="T41" fmla="*/ 364 h 989"/>
                    <a:gd name="T42" fmla="*/ 325 w 808"/>
                    <a:gd name="T43" fmla="*/ 409 h 989"/>
                    <a:gd name="T44" fmla="*/ 347 w 808"/>
                    <a:gd name="T45" fmla="*/ 449 h 989"/>
                    <a:gd name="T46" fmla="*/ 326 w 808"/>
                    <a:gd name="T47" fmla="*/ 473 h 989"/>
                    <a:gd name="T48" fmla="*/ 214 w 808"/>
                    <a:gd name="T49" fmla="*/ 474 h 989"/>
                    <a:gd name="T50" fmla="*/ 213 w 808"/>
                    <a:gd name="T51" fmla="*/ 385 h 989"/>
                    <a:gd name="T52" fmla="*/ 188 w 808"/>
                    <a:gd name="T53" fmla="*/ 365 h 989"/>
                    <a:gd name="T54" fmla="*/ 148 w 808"/>
                    <a:gd name="T55" fmla="*/ 387 h 989"/>
                    <a:gd name="T56" fmla="*/ 104 w 808"/>
                    <a:gd name="T57" fmla="*/ 344 h 989"/>
                    <a:gd name="T58" fmla="*/ 148 w 808"/>
                    <a:gd name="T59" fmla="*/ 300 h 989"/>
                    <a:gd name="T60" fmla="*/ 188 w 808"/>
                    <a:gd name="T61" fmla="*/ 322 h 989"/>
                    <a:gd name="T62" fmla="*/ 213 w 808"/>
                    <a:gd name="T63" fmla="*/ 302 h 989"/>
                    <a:gd name="T64" fmla="*/ 216 w 808"/>
                    <a:gd name="T65" fmla="*/ 213 h 989"/>
                    <a:gd name="T66" fmla="*/ 326 w 808"/>
                    <a:gd name="T67" fmla="*/ 203 h 989"/>
                    <a:gd name="T68" fmla="*/ 347 w 808"/>
                    <a:gd name="T69" fmla="*/ 227 h 989"/>
                    <a:gd name="T70" fmla="*/ 325 w 808"/>
                    <a:gd name="T71" fmla="*/ 267 h 989"/>
                    <a:gd name="T72" fmla="*/ 368 w 808"/>
                    <a:gd name="T73" fmla="*/ 312 h 989"/>
                    <a:gd name="T74" fmla="*/ 412 w 808"/>
                    <a:gd name="T75" fmla="*/ 267 h 989"/>
                    <a:gd name="T76" fmla="*/ 390 w 808"/>
                    <a:gd name="T77" fmla="*/ 227 h 989"/>
                    <a:gd name="T78" fmla="*/ 410 w 808"/>
                    <a:gd name="T79" fmla="*/ 203 h 989"/>
                    <a:gd name="T80" fmla="*/ 521 w 808"/>
                    <a:gd name="T81" fmla="*/ 213 h 989"/>
                    <a:gd name="T82" fmla="*/ 522 w 808"/>
                    <a:gd name="T83" fmla="*/ 302 h 989"/>
                    <a:gd name="T84" fmla="*/ 547 w 808"/>
                    <a:gd name="T85" fmla="*/ 322 h 989"/>
                    <a:gd name="T86" fmla="*/ 587 w 808"/>
                    <a:gd name="T87" fmla="*/ 300 h 989"/>
                    <a:gd name="T88" fmla="*/ 631 w 808"/>
                    <a:gd name="T89" fmla="*/ 344 h 989"/>
                    <a:gd name="T90" fmla="*/ 587 w 808"/>
                    <a:gd name="T91" fmla="*/ 387 h 9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8" h="989">
                      <a:moveTo>
                        <a:pt x="730" y="391"/>
                      </a:moveTo>
                      <a:lnTo>
                        <a:pt x="730" y="365"/>
                      </a:lnTo>
                      <a:cubicBezTo>
                        <a:pt x="730" y="163"/>
                        <a:pt x="566" y="0"/>
                        <a:pt x="365" y="0"/>
                      </a:cubicBezTo>
                      <a:cubicBezTo>
                        <a:pt x="163" y="0"/>
                        <a:pt x="0" y="163"/>
                        <a:pt x="0" y="365"/>
                      </a:cubicBezTo>
                      <a:cubicBezTo>
                        <a:pt x="0" y="450"/>
                        <a:pt x="29" y="528"/>
                        <a:pt x="78" y="590"/>
                      </a:cubicBezTo>
                      <a:lnTo>
                        <a:pt x="78" y="989"/>
                      </a:lnTo>
                      <a:lnTo>
                        <a:pt x="547" y="989"/>
                      </a:lnTo>
                      <a:lnTo>
                        <a:pt x="547" y="860"/>
                      </a:lnTo>
                      <a:cubicBezTo>
                        <a:pt x="634" y="860"/>
                        <a:pt x="704" y="790"/>
                        <a:pt x="704" y="704"/>
                      </a:cubicBezTo>
                      <a:lnTo>
                        <a:pt x="704" y="626"/>
                      </a:lnTo>
                      <a:lnTo>
                        <a:pt x="782" y="626"/>
                      </a:lnTo>
                      <a:cubicBezTo>
                        <a:pt x="796" y="626"/>
                        <a:pt x="808" y="614"/>
                        <a:pt x="808" y="600"/>
                      </a:cubicBezTo>
                      <a:cubicBezTo>
                        <a:pt x="808" y="593"/>
                        <a:pt x="730" y="391"/>
                        <a:pt x="730" y="391"/>
                      </a:cubicBezTo>
                      <a:close/>
                      <a:moveTo>
                        <a:pt x="587" y="387"/>
                      </a:moveTo>
                      <a:cubicBezTo>
                        <a:pt x="562" y="381"/>
                        <a:pt x="566" y="365"/>
                        <a:pt x="547" y="365"/>
                      </a:cubicBezTo>
                      <a:cubicBezTo>
                        <a:pt x="528" y="365"/>
                        <a:pt x="524" y="378"/>
                        <a:pt x="522" y="385"/>
                      </a:cubicBezTo>
                      <a:cubicBezTo>
                        <a:pt x="519" y="407"/>
                        <a:pt x="520" y="474"/>
                        <a:pt x="520" y="474"/>
                      </a:cubicBezTo>
                      <a:cubicBezTo>
                        <a:pt x="520" y="474"/>
                        <a:pt x="432" y="477"/>
                        <a:pt x="410" y="473"/>
                      </a:cubicBezTo>
                      <a:cubicBezTo>
                        <a:pt x="402" y="472"/>
                        <a:pt x="390" y="468"/>
                        <a:pt x="390" y="449"/>
                      </a:cubicBezTo>
                      <a:cubicBezTo>
                        <a:pt x="390" y="430"/>
                        <a:pt x="406" y="434"/>
                        <a:pt x="412" y="409"/>
                      </a:cubicBezTo>
                      <a:cubicBezTo>
                        <a:pt x="414" y="383"/>
                        <a:pt x="392" y="364"/>
                        <a:pt x="368" y="364"/>
                      </a:cubicBezTo>
                      <a:cubicBezTo>
                        <a:pt x="344" y="364"/>
                        <a:pt x="323" y="383"/>
                        <a:pt x="325" y="409"/>
                      </a:cubicBezTo>
                      <a:cubicBezTo>
                        <a:pt x="331" y="434"/>
                        <a:pt x="347" y="430"/>
                        <a:pt x="347" y="449"/>
                      </a:cubicBezTo>
                      <a:cubicBezTo>
                        <a:pt x="347" y="468"/>
                        <a:pt x="334" y="472"/>
                        <a:pt x="326" y="473"/>
                      </a:cubicBezTo>
                      <a:cubicBezTo>
                        <a:pt x="305" y="477"/>
                        <a:pt x="214" y="474"/>
                        <a:pt x="214" y="474"/>
                      </a:cubicBezTo>
                      <a:cubicBezTo>
                        <a:pt x="214" y="474"/>
                        <a:pt x="216" y="407"/>
                        <a:pt x="213" y="385"/>
                      </a:cubicBezTo>
                      <a:cubicBezTo>
                        <a:pt x="212" y="377"/>
                        <a:pt x="207" y="365"/>
                        <a:pt x="188" y="365"/>
                      </a:cubicBezTo>
                      <a:cubicBezTo>
                        <a:pt x="169" y="365"/>
                        <a:pt x="174" y="381"/>
                        <a:pt x="148" y="387"/>
                      </a:cubicBezTo>
                      <a:cubicBezTo>
                        <a:pt x="123" y="389"/>
                        <a:pt x="104" y="368"/>
                        <a:pt x="104" y="344"/>
                      </a:cubicBezTo>
                      <a:cubicBezTo>
                        <a:pt x="104" y="319"/>
                        <a:pt x="123" y="298"/>
                        <a:pt x="148" y="300"/>
                      </a:cubicBezTo>
                      <a:cubicBezTo>
                        <a:pt x="174" y="306"/>
                        <a:pt x="169" y="322"/>
                        <a:pt x="188" y="322"/>
                      </a:cubicBezTo>
                      <a:cubicBezTo>
                        <a:pt x="207" y="322"/>
                        <a:pt x="212" y="310"/>
                        <a:pt x="213" y="302"/>
                      </a:cubicBezTo>
                      <a:cubicBezTo>
                        <a:pt x="216" y="280"/>
                        <a:pt x="216" y="213"/>
                        <a:pt x="216" y="213"/>
                      </a:cubicBezTo>
                      <a:cubicBezTo>
                        <a:pt x="216" y="213"/>
                        <a:pt x="305" y="199"/>
                        <a:pt x="326" y="203"/>
                      </a:cubicBezTo>
                      <a:cubicBezTo>
                        <a:pt x="334" y="204"/>
                        <a:pt x="347" y="208"/>
                        <a:pt x="347" y="227"/>
                      </a:cubicBezTo>
                      <a:cubicBezTo>
                        <a:pt x="347" y="246"/>
                        <a:pt x="331" y="242"/>
                        <a:pt x="325" y="267"/>
                      </a:cubicBezTo>
                      <a:cubicBezTo>
                        <a:pt x="323" y="293"/>
                        <a:pt x="344" y="312"/>
                        <a:pt x="368" y="312"/>
                      </a:cubicBezTo>
                      <a:cubicBezTo>
                        <a:pt x="392" y="312"/>
                        <a:pt x="414" y="293"/>
                        <a:pt x="412" y="267"/>
                      </a:cubicBezTo>
                      <a:cubicBezTo>
                        <a:pt x="406" y="242"/>
                        <a:pt x="390" y="246"/>
                        <a:pt x="390" y="227"/>
                      </a:cubicBezTo>
                      <a:cubicBezTo>
                        <a:pt x="390" y="208"/>
                        <a:pt x="402" y="204"/>
                        <a:pt x="410" y="203"/>
                      </a:cubicBezTo>
                      <a:cubicBezTo>
                        <a:pt x="432" y="199"/>
                        <a:pt x="521" y="213"/>
                        <a:pt x="521" y="213"/>
                      </a:cubicBezTo>
                      <a:cubicBezTo>
                        <a:pt x="521" y="213"/>
                        <a:pt x="519" y="280"/>
                        <a:pt x="522" y="302"/>
                      </a:cubicBezTo>
                      <a:cubicBezTo>
                        <a:pt x="524" y="310"/>
                        <a:pt x="528" y="322"/>
                        <a:pt x="547" y="322"/>
                      </a:cubicBezTo>
                      <a:cubicBezTo>
                        <a:pt x="566" y="322"/>
                        <a:pt x="562" y="306"/>
                        <a:pt x="587" y="300"/>
                      </a:cubicBezTo>
                      <a:cubicBezTo>
                        <a:pt x="613" y="298"/>
                        <a:pt x="631" y="319"/>
                        <a:pt x="631" y="344"/>
                      </a:cubicBezTo>
                      <a:cubicBezTo>
                        <a:pt x="631" y="368"/>
                        <a:pt x="613" y="389"/>
                        <a:pt x="587" y="387"/>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noProof="0">
                    <a:ln>
                      <a:noFill/>
                    </a:ln>
                    <a:solidFill>
                      <a:prstClr val="black"/>
                    </a:solidFill>
                    <a:effectLst/>
                    <a:uLnTx/>
                    <a:uFillTx/>
                    <a:latin typeface="Calibri" panose="020F0502020204030204"/>
                    <a:ea typeface="+mn-ea"/>
                    <a:cs typeface="+mn-cs"/>
                  </a:endParaRPr>
                </a:p>
              </p:txBody>
            </p:sp>
          </p:grpSp>
        </p:grpSp>
      </p:grpSp>
      <p:grpSp>
        <p:nvGrpSpPr>
          <p:cNvPr id="119" name="Group 125">
            <a:extLst>
              <a:ext uri="{FF2B5EF4-FFF2-40B4-BE49-F238E27FC236}">
                <a16:creationId xmlns:a16="http://schemas.microsoft.com/office/drawing/2014/main" id="{C68F85FF-9559-4A23-952A-A04C6F9BB3EE}"/>
              </a:ext>
            </a:extLst>
          </p:cNvPr>
          <p:cNvGrpSpPr/>
          <p:nvPr/>
        </p:nvGrpSpPr>
        <p:grpSpPr>
          <a:xfrm>
            <a:off x="7348770" y="2508891"/>
            <a:ext cx="288000" cy="288000"/>
            <a:chOff x="7095592" y="742073"/>
            <a:chExt cx="329184" cy="329184"/>
          </a:xfrm>
        </p:grpSpPr>
        <p:sp>
          <p:nvSpPr>
            <p:cNvPr id="283" name="Oval 137">
              <a:extLst>
                <a:ext uri="{FF2B5EF4-FFF2-40B4-BE49-F238E27FC236}">
                  <a16:creationId xmlns:a16="http://schemas.microsoft.com/office/drawing/2014/main" id="{ABBCA809-624C-4D8F-9CCB-16705EAD7332}"/>
                </a:ext>
              </a:extLst>
            </p:cNvPr>
            <p:cNvSpPr/>
            <p:nvPr/>
          </p:nvSpPr>
          <p:spPr>
            <a:xfrm>
              <a:off x="7095592" y="742073"/>
              <a:ext cx="329184" cy="329184"/>
            </a:xfrm>
            <a:prstGeom prst="ellipse">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84" name="Group 127">
              <a:extLst>
                <a:ext uri="{FF2B5EF4-FFF2-40B4-BE49-F238E27FC236}">
                  <a16:creationId xmlns:a16="http://schemas.microsoft.com/office/drawing/2014/main" id="{E0DD6608-9564-4198-9AF4-9B1AA9DC29C8}"/>
                </a:ext>
              </a:extLst>
            </p:cNvPr>
            <p:cNvGrpSpPr/>
            <p:nvPr/>
          </p:nvGrpSpPr>
          <p:grpSpPr>
            <a:xfrm>
              <a:off x="7176816" y="778521"/>
              <a:ext cx="179310" cy="244447"/>
              <a:chOff x="7176816" y="778521"/>
              <a:chExt cx="179310" cy="244447"/>
            </a:xfrm>
          </p:grpSpPr>
          <p:sp>
            <p:nvSpPr>
              <p:cNvPr id="285" name="Seed" descr="{&quot;Key&quot;:&quot;POWER_USER_SHAPE_ICON&quot;,&quot;Value&quot;:&quot;POWER_USER_SHAPE_ICON_STYLE_1&quot;}">
                <a:extLst>
                  <a:ext uri="{FF2B5EF4-FFF2-40B4-BE49-F238E27FC236}">
                    <a16:creationId xmlns:a16="http://schemas.microsoft.com/office/drawing/2014/main" id="{F3A4F7C0-A703-47F5-9E16-9C515A071B40}"/>
                  </a:ext>
                </a:extLst>
              </p:cNvPr>
              <p:cNvSpPr>
                <a:spLocks noChangeAspect="1" noEditPoints="1"/>
              </p:cNvSpPr>
              <p:nvPr>
                <p:custDataLst>
                  <p:tags r:id="rId36"/>
                </p:custDataLst>
              </p:nvPr>
            </p:nvSpPr>
            <p:spPr bwMode="auto">
              <a:xfrm>
                <a:off x="7176816" y="878690"/>
                <a:ext cx="162838" cy="144278"/>
              </a:xfrm>
              <a:custGeom>
                <a:avLst/>
                <a:gdLst>
                  <a:gd name="T0" fmla="*/ 6744 w 11364"/>
                  <a:gd name="T1" fmla="*/ 3564 h 10067"/>
                  <a:gd name="T2" fmla="*/ 7042 w 11364"/>
                  <a:gd name="T3" fmla="*/ 3354 h 10067"/>
                  <a:gd name="T4" fmla="*/ 4139 w 11364"/>
                  <a:gd name="T5" fmla="*/ 214 h 10067"/>
                  <a:gd name="T6" fmla="*/ 5282 w 11364"/>
                  <a:gd name="T7" fmla="*/ 2733 h 10067"/>
                  <a:gd name="T8" fmla="*/ 10245 w 11364"/>
                  <a:gd name="T9" fmla="*/ 7311 h 10067"/>
                  <a:gd name="T10" fmla="*/ 7950 w 11364"/>
                  <a:gd name="T11" fmla="*/ 5369 h 10067"/>
                  <a:gd name="T12" fmla="*/ 7665 w 11364"/>
                  <a:gd name="T13" fmla="*/ 5315 h 10067"/>
                  <a:gd name="T14" fmla="*/ 7626 w 11364"/>
                  <a:gd name="T15" fmla="*/ 5310 h 10067"/>
                  <a:gd name="T16" fmla="*/ 7637 w 11364"/>
                  <a:gd name="T17" fmla="*/ 4576 h 10067"/>
                  <a:gd name="T18" fmla="*/ 7646 w 11364"/>
                  <a:gd name="T19" fmla="*/ 4476 h 10067"/>
                  <a:gd name="T20" fmla="*/ 7673 w 11364"/>
                  <a:gd name="T21" fmla="*/ 4234 h 10067"/>
                  <a:gd name="T22" fmla="*/ 8068 w 11364"/>
                  <a:gd name="T23" fmla="*/ 4029 h 10067"/>
                  <a:gd name="T24" fmla="*/ 11244 w 11364"/>
                  <a:gd name="T25" fmla="*/ 0 h 10067"/>
                  <a:gd name="T26" fmla="*/ 7516 w 11364"/>
                  <a:gd name="T27" fmla="*/ 2618 h 10067"/>
                  <a:gd name="T28" fmla="*/ 7233 w 11364"/>
                  <a:gd name="T29" fmla="*/ 4214 h 10067"/>
                  <a:gd name="T30" fmla="*/ 7224 w 11364"/>
                  <a:gd name="T31" fmla="*/ 5280 h 10067"/>
                  <a:gd name="T32" fmla="*/ 7082 w 11364"/>
                  <a:gd name="T33" fmla="*/ 5277 h 10067"/>
                  <a:gd name="T34" fmla="*/ 5070 w 11364"/>
                  <a:gd name="T35" fmla="*/ 6113 h 10067"/>
                  <a:gd name="T36" fmla="*/ 2454 w 11364"/>
                  <a:gd name="T37" fmla="*/ 5748 h 10067"/>
                  <a:gd name="T38" fmla="*/ 1979 w 11364"/>
                  <a:gd name="T39" fmla="*/ 5775 h 10067"/>
                  <a:gd name="T40" fmla="*/ 2514 w 11364"/>
                  <a:gd name="T41" fmla="*/ 6100 h 10067"/>
                  <a:gd name="T42" fmla="*/ 4816 w 11364"/>
                  <a:gd name="T43" fmla="*/ 6387 h 10067"/>
                  <a:gd name="T44" fmla="*/ 6145 w 11364"/>
                  <a:gd name="T45" fmla="*/ 6987 h 10067"/>
                  <a:gd name="T46" fmla="*/ 8301 w 11364"/>
                  <a:gd name="T47" fmla="*/ 7145 h 10067"/>
                  <a:gd name="T48" fmla="*/ 8758 w 11364"/>
                  <a:gd name="T49" fmla="*/ 7918 h 10067"/>
                  <a:gd name="T50" fmla="*/ 8461 w 11364"/>
                  <a:gd name="T51" fmla="*/ 8153 h 10067"/>
                  <a:gd name="T52" fmla="*/ 7099 w 11364"/>
                  <a:gd name="T53" fmla="*/ 8176 h 10067"/>
                  <a:gd name="T54" fmla="*/ 6945 w 11364"/>
                  <a:gd name="T55" fmla="*/ 8155 h 10067"/>
                  <a:gd name="T56" fmla="*/ 6316 w 11364"/>
                  <a:gd name="T57" fmla="*/ 8035 h 10067"/>
                  <a:gd name="T58" fmla="*/ 6020 w 11364"/>
                  <a:gd name="T59" fmla="*/ 7984 h 10067"/>
                  <a:gd name="T60" fmla="*/ 4994 w 11364"/>
                  <a:gd name="T61" fmla="*/ 8127 h 10067"/>
                  <a:gd name="T62" fmla="*/ 4903 w 11364"/>
                  <a:gd name="T63" fmla="*/ 8363 h 10067"/>
                  <a:gd name="T64" fmla="*/ 6233 w 11364"/>
                  <a:gd name="T65" fmla="*/ 8382 h 10067"/>
                  <a:gd name="T66" fmla="*/ 8735 w 11364"/>
                  <a:gd name="T67" fmla="*/ 8429 h 10067"/>
                  <a:gd name="T68" fmla="*/ 9563 w 11364"/>
                  <a:gd name="T69" fmla="*/ 8061 h 10067"/>
                  <a:gd name="T70" fmla="*/ 10404 w 11364"/>
                  <a:gd name="T71" fmla="*/ 7630 h 10067"/>
                  <a:gd name="T72" fmla="*/ 10935 w 11364"/>
                  <a:gd name="T73" fmla="*/ 7937 h 10067"/>
                  <a:gd name="T74" fmla="*/ 10018 w 11364"/>
                  <a:gd name="T75" fmla="*/ 8647 h 10067"/>
                  <a:gd name="T76" fmla="*/ 9086 w 11364"/>
                  <a:gd name="T77" fmla="*/ 9020 h 10067"/>
                  <a:gd name="T78" fmla="*/ 6547 w 11364"/>
                  <a:gd name="T79" fmla="*/ 9626 h 10067"/>
                  <a:gd name="T80" fmla="*/ 2148 w 11364"/>
                  <a:gd name="T81" fmla="*/ 8613 h 10067"/>
                  <a:gd name="T82" fmla="*/ 1979 w 11364"/>
                  <a:gd name="T83" fmla="*/ 8970 h 10067"/>
                  <a:gd name="T84" fmla="*/ 5139 w 11364"/>
                  <a:gd name="T85" fmla="*/ 9875 h 10067"/>
                  <a:gd name="T86" fmla="*/ 6619 w 11364"/>
                  <a:gd name="T87" fmla="*/ 9976 h 10067"/>
                  <a:gd name="T88" fmla="*/ 9235 w 11364"/>
                  <a:gd name="T89" fmla="*/ 9344 h 10067"/>
                  <a:gd name="T90" fmla="*/ 10176 w 11364"/>
                  <a:gd name="T91" fmla="*/ 8967 h 10067"/>
                  <a:gd name="T92" fmla="*/ 11194 w 11364"/>
                  <a:gd name="T93" fmla="*/ 8190 h 10067"/>
                  <a:gd name="T94" fmla="*/ 0 w 11364"/>
                  <a:gd name="T95" fmla="*/ 9309 h 10067"/>
                  <a:gd name="T96" fmla="*/ 1630 w 11364"/>
                  <a:gd name="T97" fmla="*/ 5351 h 10067"/>
                  <a:gd name="T98" fmla="*/ 0 w 11364"/>
                  <a:gd name="T99" fmla="*/ 9309 h 100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1364" h="10067">
                    <a:moveTo>
                      <a:pt x="5282" y="2733"/>
                    </a:moveTo>
                    <a:cubicBezTo>
                      <a:pt x="5856" y="3288"/>
                      <a:pt x="6390" y="3439"/>
                      <a:pt x="6744" y="3564"/>
                    </a:cubicBezTo>
                    <a:cubicBezTo>
                      <a:pt x="6525" y="2306"/>
                      <a:pt x="5827" y="1150"/>
                      <a:pt x="4589" y="609"/>
                    </a:cubicBezTo>
                    <a:cubicBezTo>
                      <a:pt x="5820" y="997"/>
                      <a:pt x="6676" y="2123"/>
                      <a:pt x="7042" y="3354"/>
                    </a:cubicBezTo>
                    <a:cubicBezTo>
                      <a:pt x="7112" y="2949"/>
                      <a:pt x="7216" y="2574"/>
                      <a:pt x="7358" y="2233"/>
                    </a:cubicBezTo>
                    <a:cubicBezTo>
                      <a:pt x="7006" y="1054"/>
                      <a:pt x="5918" y="214"/>
                      <a:pt x="4139" y="214"/>
                    </a:cubicBezTo>
                    <a:cubicBezTo>
                      <a:pt x="3920" y="214"/>
                      <a:pt x="3690" y="227"/>
                      <a:pt x="3450" y="253"/>
                    </a:cubicBezTo>
                    <a:cubicBezTo>
                      <a:pt x="4708" y="954"/>
                      <a:pt x="4033" y="1529"/>
                      <a:pt x="5282" y="2733"/>
                    </a:cubicBezTo>
                    <a:close/>
                    <a:moveTo>
                      <a:pt x="11174" y="7560"/>
                    </a:moveTo>
                    <a:cubicBezTo>
                      <a:pt x="11020" y="7299"/>
                      <a:pt x="10696" y="7094"/>
                      <a:pt x="10245" y="7311"/>
                    </a:cubicBezTo>
                    <a:lnTo>
                      <a:pt x="10145" y="7362"/>
                    </a:lnTo>
                    <a:cubicBezTo>
                      <a:pt x="9750" y="6361"/>
                      <a:pt x="9011" y="5620"/>
                      <a:pt x="7950" y="5369"/>
                    </a:cubicBezTo>
                    <a:cubicBezTo>
                      <a:pt x="7904" y="5358"/>
                      <a:pt x="7855" y="5350"/>
                      <a:pt x="7807" y="5341"/>
                    </a:cubicBezTo>
                    <a:cubicBezTo>
                      <a:pt x="7760" y="5332"/>
                      <a:pt x="7713" y="5323"/>
                      <a:pt x="7665" y="5315"/>
                    </a:cubicBezTo>
                    <a:lnTo>
                      <a:pt x="7665" y="5310"/>
                    </a:lnTo>
                    <a:lnTo>
                      <a:pt x="7626" y="5310"/>
                    </a:lnTo>
                    <a:cubicBezTo>
                      <a:pt x="7615" y="5095"/>
                      <a:pt x="7617" y="4877"/>
                      <a:pt x="7630" y="4658"/>
                    </a:cubicBezTo>
                    <a:cubicBezTo>
                      <a:pt x="7632" y="4631"/>
                      <a:pt x="7635" y="4603"/>
                      <a:pt x="7637" y="4576"/>
                    </a:cubicBezTo>
                    <a:cubicBezTo>
                      <a:pt x="7639" y="4548"/>
                      <a:pt x="7642" y="4521"/>
                      <a:pt x="7645" y="4493"/>
                    </a:cubicBezTo>
                    <a:cubicBezTo>
                      <a:pt x="7645" y="4487"/>
                      <a:pt x="7646" y="4482"/>
                      <a:pt x="7646" y="4476"/>
                    </a:cubicBezTo>
                    <a:cubicBezTo>
                      <a:pt x="7650" y="4440"/>
                      <a:pt x="7653" y="4405"/>
                      <a:pt x="7657" y="4369"/>
                    </a:cubicBezTo>
                    <a:cubicBezTo>
                      <a:pt x="7662" y="4324"/>
                      <a:pt x="7667" y="4279"/>
                      <a:pt x="7673" y="4234"/>
                    </a:cubicBezTo>
                    <a:cubicBezTo>
                      <a:pt x="7872" y="2771"/>
                      <a:pt x="8628" y="1348"/>
                      <a:pt x="9939" y="657"/>
                    </a:cubicBezTo>
                    <a:cubicBezTo>
                      <a:pt x="8766" y="1446"/>
                      <a:pt x="8183" y="2704"/>
                      <a:pt x="8068" y="4029"/>
                    </a:cubicBezTo>
                    <a:cubicBezTo>
                      <a:pt x="8412" y="3957"/>
                      <a:pt x="8947" y="3834"/>
                      <a:pt x="9555" y="3096"/>
                    </a:cubicBezTo>
                    <a:cubicBezTo>
                      <a:pt x="10606" y="1820"/>
                      <a:pt x="10037" y="1108"/>
                      <a:pt x="11244" y="0"/>
                    </a:cubicBezTo>
                    <a:cubicBezTo>
                      <a:pt x="9086" y="152"/>
                      <a:pt x="8041" y="1219"/>
                      <a:pt x="7569" y="2470"/>
                    </a:cubicBezTo>
                    <a:cubicBezTo>
                      <a:pt x="7551" y="2519"/>
                      <a:pt x="7533" y="2568"/>
                      <a:pt x="7516" y="2618"/>
                    </a:cubicBezTo>
                    <a:cubicBezTo>
                      <a:pt x="7499" y="2670"/>
                      <a:pt x="7482" y="2723"/>
                      <a:pt x="7466" y="2776"/>
                    </a:cubicBezTo>
                    <a:cubicBezTo>
                      <a:pt x="7324" y="3251"/>
                      <a:pt x="7255" y="3743"/>
                      <a:pt x="7233" y="4214"/>
                    </a:cubicBezTo>
                    <a:cubicBezTo>
                      <a:pt x="7227" y="4337"/>
                      <a:pt x="7224" y="4458"/>
                      <a:pt x="7224" y="4577"/>
                    </a:cubicBezTo>
                    <a:lnTo>
                      <a:pt x="7224" y="5280"/>
                    </a:lnTo>
                    <a:cubicBezTo>
                      <a:pt x="7190" y="5279"/>
                      <a:pt x="7156" y="5276"/>
                      <a:pt x="7121" y="5276"/>
                    </a:cubicBezTo>
                    <a:cubicBezTo>
                      <a:pt x="7107" y="5276"/>
                      <a:pt x="7095" y="5277"/>
                      <a:pt x="7082" y="5277"/>
                    </a:cubicBezTo>
                    <a:cubicBezTo>
                      <a:pt x="7033" y="5278"/>
                      <a:pt x="6986" y="5280"/>
                      <a:pt x="6939" y="5283"/>
                    </a:cubicBezTo>
                    <a:cubicBezTo>
                      <a:pt x="6217" y="5326"/>
                      <a:pt x="5581" y="5623"/>
                      <a:pt x="5070" y="6113"/>
                    </a:cubicBezTo>
                    <a:cubicBezTo>
                      <a:pt x="4740" y="5948"/>
                      <a:pt x="4382" y="5797"/>
                      <a:pt x="4006" y="5741"/>
                    </a:cubicBezTo>
                    <a:cubicBezTo>
                      <a:pt x="3196" y="5621"/>
                      <a:pt x="2767" y="5694"/>
                      <a:pt x="2454" y="5748"/>
                    </a:cubicBezTo>
                    <a:cubicBezTo>
                      <a:pt x="2277" y="5778"/>
                      <a:pt x="2149" y="5801"/>
                      <a:pt x="2006" y="5779"/>
                    </a:cubicBezTo>
                    <a:lnTo>
                      <a:pt x="1979" y="5775"/>
                    </a:lnTo>
                    <a:lnTo>
                      <a:pt x="1979" y="6135"/>
                    </a:lnTo>
                    <a:cubicBezTo>
                      <a:pt x="2167" y="6158"/>
                      <a:pt x="2329" y="6132"/>
                      <a:pt x="2514" y="6100"/>
                    </a:cubicBezTo>
                    <a:cubicBezTo>
                      <a:pt x="2820" y="6048"/>
                      <a:pt x="3200" y="5983"/>
                      <a:pt x="3953" y="6094"/>
                    </a:cubicBezTo>
                    <a:cubicBezTo>
                      <a:pt x="4247" y="6138"/>
                      <a:pt x="4539" y="6254"/>
                      <a:pt x="4816" y="6387"/>
                    </a:cubicBezTo>
                    <a:cubicBezTo>
                      <a:pt x="4964" y="6458"/>
                      <a:pt x="5108" y="6534"/>
                      <a:pt x="5246" y="6607"/>
                    </a:cubicBezTo>
                    <a:cubicBezTo>
                      <a:pt x="5584" y="6786"/>
                      <a:pt x="5875" y="6940"/>
                      <a:pt x="6145" y="6987"/>
                    </a:cubicBezTo>
                    <a:cubicBezTo>
                      <a:pt x="6374" y="7027"/>
                      <a:pt x="6617" y="7019"/>
                      <a:pt x="6873" y="7011"/>
                    </a:cubicBezTo>
                    <a:cubicBezTo>
                      <a:pt x="7279" y="6999"/>
                      <a:pt x="7740" y="6985"/>
                      <a:pt x="8301" y="7145"/>
                    </a:cubicBezTo>
                    <a:cubicBezTo>
                      <a:pt x="8622" y="7237"/>
                      <a:pt x="8803" y="7401"/>
                      <a:pt x="8825" y="7618"/>
                    </a:cubicBezTo>
                    <a:cubicBezTo>
                      <a:pt x="8835" y="7725"/>
                      <a:pt x="8806" y="7830"/>
                      <a:pt x="8758" y="7918"/>
                    </a:cubicBezTo>
                    <a:cubicBezTo>
                      <a:pt x="8709" y="8005"/>
                      <a:pt x="8640" y="8076"/>
                      <a:pt x="8571" y="8111"/>
                    </a:cubicBezTo>
                    <a:cubicBezTo>
                      <a:pt x="8540" y="8127"/>
                      <a:pt x="8502" y="8141"/>
                      <a:pt x="8461" y="8153"/>
                    </a:cubicBezTo>
                    <a:cubicBezTo>
                      <a:pt x="8371" y="8180"/>
                      <a:pt x="8259" y="8200"/>
                      <a:pt x="8128" y="8211"/>
                    </a:cubicBezTo>
                    <a:cubicBezTo>
                      <a:pt x="7846" y="8235"/>
                      <a:pt x="7483" y="8223"/>
                      <a:pt x="7099" y="8176"/>
                    </a:cubicBezTo>
                    <a:cubicBezTo>
                      <a:pt x="7067" y="8172"/>
                      <a:pt x="7035" y="8168"/>
                      <a:pt x="7003" y="8164"/>
                    </a:cubicBezTo>
                    <a:cubicBezTo>
                      <a:pt x="6984" y="8161"/>
                      <a:pt x="6965" y="8158"/>
                      <a:pt x="6945" y="8155"/>
                    </a:cubicBezTo>
                    <a:cubicBezTo>
                      <a:pt x="6790" y="8133"/>
                      <a:pt x="6633" y="8105"/>
                      <a:pt x="6477" y="8071"/>
                    </a:cubicBezTo>
                    <a:cubicBezTo>
                      <a:pt x="6423" y="8060"/>
                      <a:pt x="6370" y="8048"/>
                      <a:pt x="6316" y="8035"/>
                    </a:cubicBezTo>
                    <a:cubicBezTo>
                      <a:pt x="6270" y="8024"/>
                      <a:pt x="6226" y="8017"/>
                      <a:pt x="6181" y="8008"/>
                    </a:cubicBezTo>
                    <a:cubicBezTo>
                      <a:pt x="6126" y="7998"/>
                      <a:pt x="6072" y="7990"/>
                      <a:pt x="6020" y="7984"/>
                    </a:cubicBezTo>
                    <a:cubicBezTo>
                      <a:pt x="5990" y="7981"/>
                      <a:pt x="5960" y="7977"/>
                      <a:pt x="5931" y="7975"/>
                    </a:cubicBezTo>
                    <a:cubicBezTo>
                      <a:pt x="5524" y="7946"/>
                      <a:pt x="5206" y="8034"/>
                      <a:pt x="4994" y="8127"/>
                    </a:cubicBezTo>
                    <a:cubicBezTo>
                      <a:pt x="4960" y="8142"/>
                      <a:pt x="4936" y="8168"/>
                      <a:pt x="4918" y="8197"/>
                    </a:cubicBezTo>
                    <a:cubicBezTo>
                      <a:pt x="4888" y="8246"/>
                      <a:pt x="4878" y="8306"/>
                      <a:pt x="4903" y="8363"/>
                    </a:cubicBezTo>
                    <a:cubicBezTo>
                      <a:pt x="4943" y="8452"/>
                      <a:pt x="5048" y="8493"/>
                      <a:pt x="5138" y="8454"/>
                    </a:cubicBezTo>
                    <a:cubicBezTo>
                      <a:pt x="5465" y="8310"/>
                      <a:pt x="5833" y="8286"/>
                      <a:pt x="6233" y="8382"/>
                    </a:cubicBezTo>
                    <a:cubicBezTo>
                      <a:pt x="6732" y="8503"/>
                      <a:pt x="7317" y="8582"/>
                      <a:pt x="7817" y="8582"/>
                    </a:cubicBezTo>
                    <a:cubicBezTo>
                      <a:pt x="8196" y="8582"/>
                      <a:pt x="8527" y="8536"/>
                      <a:pt x="8735" y="8429"/>
                    </a:cubicBezTo>
                    <a:cubicBezTo>
                      <a:pt x="8828" y="8381"/>
                      <a:pt x="8910" y="8308"/>
                      <a:pt x="8978" y="8223"/>
                    </a:cubicBezTo>
                    <a:cubicBezTo>
                      <a:pt x="9279" y="8130"/>
                      <a:pt x="9558" y="8062"/>
                      <a:pt x="9563" y="8061"/>
                    </a:cubicBezTo>
                    <a:cubicBezTo>
                      <a:pt x="9577" y="8057"/>
                      <a:pt x="9590" y="8052"/>
                      <a:pt x="9603" y="8045"/>
                    </a:cubicBezTo>
                    <a:lnTo>
                      <a:pt x="10404" y="7630"/>
                    </a:lnTo>
                    <a:cubicBezTo>
                      <a:pt x="10627" y="7523"/>
                      <a:pt x="10731" y="7601"/>
                      <a:pt x="10766" y="7626"/>
                    </a:cubicBezTo>
                    <a:cubicBezTo>
                      <a:pt x="10877" y="7708"/>
                      <a:pt x="10927" y="7862"/>
                      <a:pt x="10935" y="7937"/>
                    </a:cubicBezTo>
                    <a:cubicBezTo>
                      <a:pt x="10867" y="7990"/>
                      <a:pt x="10749" y="8081"/>
                      <a:pt x="10619" y="8183"/>
                    </a:cubicBezTo>
                    <a:cubicBezTo>
                      <a:pt x="10396" y="8357"/>
                      <a:pt x="10058" y="8621"/>
                      <a:pt x="10018" y="8647"/>
                    </a:cubicBezTo>
                    <a:cubicBezTo>
                      <a:pt x="9989" y="8661"/>
                      <a:pt x="9867" y="8708"/>
                      <a:pt x="9720" y="8765"/>
                    </a:cubicBezTo>
                    <a:cubicBezTo>
                      <a:pt x="9489" y="8855"/>
                      <a:pt x="9201" y="8966"/>
                      <a:pt x="9086" y="9020"/>
                    </a:cubicBezTo>
                    <a:cubicBezTo>
                      <a:pt x="8816" y="9144"/>
                      <a:pt x="8300" y="9346"/>
                      <a:pt x="8196" y="9349"/>
                    </a:cubicBezTo>
                    <a:cubicBezTo>
                      <a:pt x="8024" y="9349"/>
                      <a:pt x="7346" y="9463"/>
                      <a:pt x="6547" y="9626"/>
                    </a:cubicBezTo>
                    <a:cubicBezTo>
                      <a:pt x="5919" y="9754"/>
                      <a:pt x="5696" y="9741"/>
                      <a:pt x="5291" y="9552"/>
                    </a:cubicBezTo>
                    <a:cubicBezTo>
                      <a:pt x="4872" y="9356"/>
                      <a:pt x="2441" y="8613"/>
                      <a:pt x="2148" y="8613"/>
                    </a:cubicBezTo>
                    <a:lnTo>
                      <a:pt x="1979" y="8613"/>
                    </a:lnTo>
                    <a:lnTo>
                      <a:pt x="1979" y="8970"/>
                    </a:lnTo>
                    <a:lnTo>
                      <a:pt x="2146" y="8970"/>
                    </a:lnTo>
                    <a:cubicBezTo>
                      <a:pt x="2378" y="8981"/>
                      <a:pt x="4685" y="9662"/>
                      <a:pt x="5139" y="9875"/>
                    </a:cubicBezTo>
                    <a:cubicBezTo>
                      <a:pt x="5427" y="10010"/>
                      <a:pt x="5655" y="10067"/>
                      <a:pt x="5917" y="10067"/>
                    </a:cubicBezTo>
                    <a:cubicBezTo>
                      <a:pt x="6117" y="10067"/>
                      <a:pt x="6337" y="10034"/>
                      <a:pt x="6619" y="9976"/>
                    </a:cubicBezTo>
                    <a:cubicBezTo>
                      <a:pt x="7530" y="9790"/>
                      <a:pt x="8089" y="9706"/>
                      <a:pt x="8196" y="9706"/>
                    </a:cubicBezTo>
                    <a:cubicBezTo>
                      <a:pt x="8437" y="9706"/>
                      <a:pt x="9228" y="9348"/>
                      <a:pt x="9235" y="9344"/>
                    </a:cubicBezTo>
                    <a:cubicBezTo>
                      <a:pt x="9341" y="9296"/>
                      <a:pt x="9635" y="9181"/>
                      <a:pt x="9849" y="9098"/>
                    </a:cubicBezTo>
                    <a:cubicBezTo>
                      <a:pt x="10069" y="9013"/>
                      <a:pt x="10148" y="8982"/>
                      <a:pt x="10176" y="8967"/>
                    </a:cubicBezTo>
                    <a:cubicBezTo>
                      <a:pt x="10216" y="8947"/>
                      <a:pt x="10303" y="8883"/>
                      <a:pt x="10839" y="8464"/>
                    </a:cubicBezTo>
                    <a:cubicBezTo>
                      <a:pt x="11008" y="8332"/>
                      <a:pt x="11155" y="8217"/>
                      <a:pt x="11194" y="8190"/>
                    </a:cubicBezTo>
                    <a:cubicBezTo>
                      <a:pt x="11364" y="8068"/>
                      <a:pt x="11285" y="7748"/>
                      <a:pt x="11174" y="7560"/>
                    </a:cubicBezTo>
                    <a:close/>
                    <a:moveTo>
                      <a:pt x="0" y="9309"/>
                    </a:moveTo>
                    <a:lnTo>
                      <a:pt x="1630" y="9309"/>
                    </a:lnTo>
                    <a:lnTo>
                      <a:pt x="1630" y="5351"/>
                    </a:lnTo>
                    <a:lnTo>
                      <a:pt x="0" y="5351"/>
                    </a:lnTo>
                    <a:lnTo>
                      <a:pt x="0" y="9309"/>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nvGrpSpPr>
              <p:cNvPr id="286" name="Problem_Based_Learning" descr="{&quot;Key&quot;:&quot;POWER_USER_SHAPE_ICON&quot;,&quot;Value&quot;:&quot;POWER_USER_SHAPE_ICON_STYLE_1&quot;}">
                <a:extLst>
                  <a:ext uri="{FF2B5EF4-FFF2-40B4-BE49-F238E27FC236}">
                    <a16:creationId xmlns:a16="http://schemas.microsoft.com/office/drawing/2014/main" id="{36896F07-C5D2-4D76-8A09-2443F74A2658}"/>
                  </a:ext>
                </a:extLst>
              </p:cNvPr>
              <p:cNvGrpSpPr>
                <a:grpSpLocks noChangeAspect="1"/>
              </p:cNvGrpSpPr>
              <p:nvPr>
                <p:custDataLst>
                  <p:tags r:id="rId37"/>
                </p:custDataLst>
              </p:nvPr>
            </p:nvGrpSpPr>
            <p:grpSpPr bwMode="auto">
              <a:xfrm>
                <a:off x="7183815" y="778521"/>
                <a:ext cx="172311" cy="185669"/>
                <a:chOff x="7" y="8"/>
                <a:chExt cx="424" cy="471"/>
              </a:xfrm>
              <a:solidFill>
                <a:schemeClr val="bg1"/>
              </a:solidFill>
            </p:grpSpPr>
            <p:sp>
              <p:nvSpPr>
                <p:cNvPr id="287" name="Problem_Based_Learning">
                  <a:extLst>
                    <a:ext uri="{FF2B5EF4-FFF2-40B4-BE49-F238E27FC236}">
                      <a16:creationId xmlns:a16="http://schemas.microsoft.com/office/drawing/2014/main" id="{0901AC37-BBCE-4BFD-A961-08FEE365046E}"/>
                    </a:ext>
                  </a:extLst>
                </p:cNvPr>
                <p:cNvSpPr>
                  <a:spLocks/>
                </p:cNvSpPr>
                <p:nvPr>
                  <p:custDataLst>
                    <p:tags r:id="rId38"/>
                  </p:custDataLst>
                </p:nvPr>
              </p:nvSpPr>
              <p:spPr bwMode="auto">
                <a:xfrm>
                  <a:off x="214" y="8"/>
                  <a:ext cx="20" cy="69"/>
                </a:xfrm>
                <a:custGeom>
                  <a:avLst/>
                  <a:gdLst>
                    <a:gd name="T0" fmla="*/ 26 w 52"/>
                    <a:gd name="T1" fmla="*/ 183 h 183"/>
                    <a:gd name="T2" fmla="*/ 0 w 52"/>
                    <a:gd name="T3" fmla="*/ 156 h 183"/>
                    <a:gd name="T4" fmla="*/ 0 w 52"/>
                    <a:gd name="T5" fmla="*/ 26 h 183"/>
                    <a:gd name="T6" fmla="*/ 26 w 52"/>
                    <a:gd name="T7" fmla="*/ 0 h 183"/>
                    <a:gd name="T8" fmla="*/ 52 w 52"/>
                    <a:gd name="T9" fmla="*/ 26 h 183"/>
                    <a:gd name="T10" fmla="*/ 52 w 52"/>
                    <a:gd name="T11" fmla="*/ 156 h 183"/>
                    <a:gd name="T12" fmla="*/ 26 w 52"/>
                    <a:gd name="T13" fmla="*/ 183 h 183"/>
                  </a:gdLst>
                  <a:ahLst/>
                  <a:cxnLst>
                    <a:cxn ang="0">
                      <a:pos x="T0" y="T1"/>
                    </a:cxn>
                    <a:cxn ang="0">
                      <a:pos x="T2" y="T3"/>
                    </a:cxn>
                    <a:cxn ang="0">
                      <a:pos x="T4" y="T5"/>
                    </a:cxn>
                    <a:cxn ang="0">
                      <a:pos x="T6" y="T7"/>
                    </a:cxn>
                    <a:cxn ang="0">
                      <a:pos x="T8" y="T9"/>
                    </a:cxn>
                    <a:cxn ang="0">
                      <a:pos x="T10" y="T11"/>
                    </a:cxn>
                    <a:cxn ang="0">
                      <a:pos x="T12" y="T13"/>
                    </a:cxn>
                  </a:cxnLst>
                  <a:rect l="0" t="0" r="r" b="b"/>
                  <a:pathLst>
                    <a:path w="52" h="183">
                      <a:moveTo>
                        <a:pt x="26" y="183"/>
                      </a:moveTo>
                      <a:cubicBezTo>
                        <a:pt x="11" y="183"/>
                        <a:pt x="0" y="171"/>
                        <a:pt x="0" y="156"/>
                      </a:cubicBezTo>
                      <a:lnTo>
                        <a:pt x="0" y="26"/>
                      </a:lnTo>
                      <a:cubicBezTo>
                        <a:pt x="0" y="12"/>
                        <a:pt x="11" y="0"/>
                        <a:pt x="26" y="0"/>
                      </a:cubicBezTo>
                      <a:cubicBezTo>
                        <a:pt x="40" y="0"/>
                        <a:pt x="52" y="12"/>
                        <a:pt x="52" y="26"/>
                      </a:cubicBezTo>
                      <a:lnTo>
                        <a:pt x="52" y="156"/>
                      </a:lnTo>
                      <a:cubicBezTo>
                        <a:pt x="52" y="171"/>
                        <a:pt x="40" y="183"/>
                        <a:pt x="26" y="183"/>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noProof="0">
                    <a:ln>
                      <a:noFill/>
                    </a:ln>
                    <a:solidFill>
                      <a:prstClr val="black"/>
                    </a:solidFill>
                    <a:effectLst/>
                    <a:uLnTx/>
                    <a:uFillTx/>
                    <a:latin typeface="Calibri" panose="020F0502020204030204"/>
                    <a:ea typeface="+mn-ea"/>
                    <a:cs typeface="+mn-cs"/>
                  </a:endParaRPr>
                </a:p>
              </p:txBody>
            </p:sp>
            <p:sp>
              <p:nvSpPr>
                <p:cNvPr id="288" name="Problem_Based_Learning">
                  <a:extLst>
                    <a:ext uri="{FF2B5EF4-FFF2-40B4-BE49-F238E27FC236}">
                      <a16:creationId xmlns:a16="http://schemas.microsoft.com/office/drawing/2014/main" id="{622D1A94-4DAC-4ECC-9354-FC0DDCBB25B6}"/>
                    </a:ext>
                  </a:extLst>
                </p:cNvPr>
                <p:cNvSpPr>
                  <a:spLocks/>
                </p:cNvSpPr>
                <p:nvPr>
                  <p:custDataLst>
                    <p:tags r:id="rId39"/>
                  </p:custDataLst>
                </p:nvPr>
              </p:nvSpPr>
              <p:spPr bwMode="auto">
                <a:xfrm>
                  <a:off x="301" y="46"/>
                  <a:ext cx="51" cy="60"/>
                </a:xfrm>
                <a:custGeom>
                  <a:avLst/>
                  <a:gdLst>
                    <a:gd name="T0" fmla="*/ 29 w 137"/>
                    <a:gd name="T1" fmla="*/ 160 h 160"/>
                    <a:gd name="T2" fmla="*/ 14 w 137"/>
                    <a:gd name="T3" fmla="*/ 155 h 160"/>
                    <a:gd name="T4" fmla="*/ 9 w 137"/>
                    <a:gd name="T5" fmla="*/ 118 h 160"/>
                    <a:gd name="T6" fmla="*/ 87 w 137"/>
                    <a:gd name="T7" fmla="*/ 14 h 160"/>
                    <a:gd name="T8" fmla="*/ 123 w 137"/>
                    <a:gd name="T9" fmla="*/ 9 h 160"/>
                    <a:gd name="T10" fmla="*/ 128 w 137"/>
                    <a:gd name="T11" fmla="*/ 45 h 160"/>
                    <a:gd name="T12" fmla="*/ 50 w 137"/>
                    <a:gd name="T13" fmla="*/ 149 h 160"/>
                    <a:gd name="T14" fmla="*/ 29 w 137"/>
                    <a:gd name="T15" fmla="*/ 160 h 16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7" h="160">
                      <a:moveTo>
                        <a:pt x="29" y="160"/>
                      </a:moveTo>
                      <a:cubicBezTo>
                        <a:pt x="24" y="160"/>
                        <a:pt x="18" y="158"/>
                        <a:pt x="14" y="155"/>
                      </a:cubicBezTo>
                      <a:cubicBezTo>
                        <a:pt x="2" y="146"/>
                        <a:pt x="0" y="130"/>
                        <a:pt x="9" y="118"/>
                      </a:cubicBezTo>
                      <a:lnTo>
                        <a:pt x="87" y="14"/>
                      </a:lnTo>
                      <a:cubicBezTo>
                        <a:pt x="95" y="2"/>
                        <a:pt x="112" y="0"/>
                        <a:pt x="123" y="9"/>
                      </a:cubicBezTo>
                      <a:cubicBezTo>
                        <a:pt x="135" y="17"/>
                        <a:pt x="137" y="34"/>
                        <a:pt x="128" y="45"/>
                      </a:cubicBezTo>
                      <a:lnTo>
                        <a:pt x="50" y="149"/>
                      </a:lnTo>
                      <a:cubicBezTo>
                        <a:pt x="45" y="156"/>
                        <a:pt x="37" y="160"/>
                        <a:pt x="29" y="16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noProof="0">
                    <a:ln>
                      <a:noFill/>
                    </a:ln>
                    <a:solidFill>
                      <a:prstClr val="black"/>
                    </a:solidFill>
                    <a:effectLst/>
                    <a:uLnTx/>
                    <a:uFillTx/>
                    <a:latin typeface="Calibri" panose="020F0502020204030204"/>
                    <a:ea typeface="+mn-ea"/>
                    <a:cs typeface="+mn-cs"/>
                  </a:endParaRPr>
                </a:p>
              </p:txBody>
            </p:sp>
            <p:sp>
              <p:nvSpPr>
                <p:cNvPr id="289" name="Problem_Based_Learning">
                  <a:extLst>
                    <a:ext uri="{FF2B5EF4-FFF2-40B4-BE49-F238E27FC236}">
                      <a16:creationId xmlns:a16="http://schemas.microsoft.com/office/drawing/2014/main" id="{CCBF8A93-E7F9-401F-9316-921F3CE0B6AD}"/>
                    </a:ext>
                  </a:extLst>
                </p:cNvPr>
                <p:cNvSpPr>
                  <a:spLocks/>
                </p:cNvSpPr>
                <p:nvPr>
                  <p:custDataLst>
                    <p:tags r:id="rId40"/>
                  </p:custDataLst>
                </p:nvPr>
              </p:nvSpPr>
              <p:spPr bwMode="auto">
                <a:xfrm>
                  <a:off x="85" y="46"/>
                  <a:ext cx="52" cy="60"/>
                </a:xfrm>
                <a:custGeom>
                  <a:avLst/>
                  <a:gdLst>
                    <a:gd name="T0" fmla="*/ 108 w 137"/>
                    <a:gd name="T1" fmla="*/ 160 h 160"/>
                    <a:gd name="T2" fmla="*/ 87 w 137"/>
                    <a:gd name="T3" fmla="*/ 149 h 160"/>
                    <a:gd name="T4" fmla="*/ 9 w 137"/>
                    <a:gd name="T5" fmla="*/ 45 h 160"/>
                    <a:gd name="T6" fmla="*/ 14 w 137"/>
                    <a:gd name="T7" fmla="*/ 9 h 160"/>
                    <a:gd name="T8" fmla="*/ 51 w 137"/>
                    <a:gd name="T9" fmla="*/ 14 h 160"/>
                    <a:gd name="T10" fmla="*/ 129 w 137"/>
                    <a:gd name="T11" fmla="*/ 118 h 160"/>
                    <a:gd name="T12" fmla="*/ 124 w 137"/>
                    <a:gd name="T13" fmla="*/ 155 h 160"/>
                    <a:gd name="T14" fmla="*/ 108 w 137"/>
                    <a:gd name="T15" fmla="*/ 160 h 16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7" h="160">
                      <a:moveTo>
                        <a:pt x="108" y="160"/>
                      </a:moveTo>
                      <a:cubicBezTo>
                        <a:pt x="100" y="160"/>
                        <a:pt x="92" y="156"/>
                        <a:pt x="87" y="149"/>
                      </a:cubicBezTo>
                      <a:lnTo>
                        <a:pt x="9" y="45"/>
                      </a:lnTo>
                      <a:cubicBezTo>
                        <a:pt x="0" y="34"/>
                        <a:pt x="3" y="17"/>
                        <a:pt x="14" y="9"/>
                      </a:cubicBezTo>
                      <a:cubicBezTo>
                        <a:pt x="26" y="0"/>
                        <a:pt x="42" y="2"/>
                        <a:pt x="51" y="14"/>
                      </a:cubicBezTo>
                      <a:lnTo>
                        <a:pt x="129" y="118"/>
                      </a:lnTo>
                      <a:cubicBezTo>
                        <a:pt x="137" y="130"/>
                        <a:pt x="135" y="146"/>
                        <a:pt x="124" y="155"/>
                      </a:cubicBezTo>
                      <a:cubicBezTo>
                        <a:pt x="119" y="158"/>
                        <a:pt x="113" y="160"/>
                        <a:pt x="108" y="16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noProof="0">
                    <a:ln>
                      <a:noFill/>
                    </a:ln>
                    <a:solidFill>
                      <a:prstClr val="black"/>
                    </a:solidFill>
                    <a:effectLst/>
                    <a:uLnTx/>
                    <a:uFillTx/>
                    <a:latin typeface="Calibri" panose="020F0502020204030204"/>
                    <a:ea typeface="+mn-ea"/>
                    <a:cs typeface="+mn-cs"/>
                  </a:endParaRPr>
                </a:p>
              </p:txBody>
            </p:sp>
            <p:sp>
              <p:nvSpPr>
                <p:cNvPr id="290" name="Problem_Based_Learning">
                  <a:extLst>
                    <a:ext uri="{FF2B5EF4-FFF2-40B4-BE49-F238E27FC236}">
                      <a16:creationId xmlns:a16="http://schemas.microsoft.com/office/drawing/2014/main" id="{0F6EF47F-7856-42D4-B114-8058E3345417}"/>
                    </a:ext>
                  </a:extLst>
                </p:cNvPr>
                <p:cNvSpPr>
                  <a:spLocks/>
                </p:cNvSpPr>
                <p:nvPr>
                  <p:custDataLst>
                    <p:tags r:id="rId41"/>
                  </p:custDataLst>
                </p:nvPr>
              </p:nvSpPr>
              <p:spPr bwMode="auto">
                <a:xfrm>
                  <a:off x="7" y="134"/>
                  <a:ext cx="61" cy="41"/>
                </a:xfrm>
                <a:custGeom>
                  <a:avLst/>
                  <a:gdLst>
                    <a:gd name="T0" fmla="*/ 134 w 164"/>
                    <a:gd name="T1" fmla="*/ 108 h 108"/>
                    <a:gd name="T2" fmla="*/ 123 w 164"/>
                    <a:gd name="T3" fmla="*/ 106 h 108"/>
                    <a:gd name="T4" fmla="*/ 18 w 164"/>
                    <a:gd name="T5" fmla="*/ 53 h 108"/>
                    <a:gd name="T6" fmla="*/ 7 w 164"/>
                    <a:gd name="T7" fmla="*/ 18 h 108"/>
                    <a:gd name="T8" fmla="*/ 42 w 164"/>
                    <a:gd name="T9" fmla="*/ 7 h 108"/>
                    <a:gd name="T10" fmla="*/ 146 w 164"/>
                    <a:gd name="T11" fmla="*/ 59 h 108"/>
                    <a:gd name="T12" fmla="*/ 158 w 164"/>
                    <a:gd name="T13" fmla="*/ 94 h 108"/>
                    <a:gd name="T14" fmla="*/ 134 w 164"/>
                    <a:gd name="T15" fmla="*/ 108 h 1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4" h="108">
                      <a:moveTo>
                        <a:pt x="134" y="108"/>
                      </a:moveTo>
                      <a:cubicBezTo>
                        <a:pt x="130" y="108"/>
                        <a:pt x="126" y="107"/>
                        <a:pt x="123" y="106"/>
                      </a:cubicBezTo>
                      <a:lnTo>
                        <a:pt x="18" y="53"/>
                      </a:lnTo>
                      <a:cubicBezTo>
                        <a:pt x="6" y="47"/>
                        <a:pt x="0" y="31"/>
                        <a:pt x="7" y="18"/>
                      </a:cubicBezTo>
                      <a:cubicBezTo>
                        <a:pt x="13" y="6"/>
                        <a:pt x="29" y="0"/>
                        <a:pt x="42" y="7"/>
                      </a:cubicBezTo>
                      <a:lnTo>
                        <a:pt x="146" y="59"/>
                      </a:lnTo>
                      <a:cubicBezTo>
                        <a:pt x="159" y="65"/>
                        <a:pt x="164" y="81"/>
                        <a:pt x="158" y="94"/>
                      </a:cubicBezTo>
                      <a:cubicBezTo>
                        <a:pt x="153" y="103"/>
                        <a:pt x="144" y="108"/>
                        <a:pt x="134" y="108"/>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noProof="0">
                    <a:ln>
                      <a:noFill/>
                    </a:ln>
                    <a:solidFill>
                      <a:prstClr val="black"/>
                    </a:solidFill>
                    <a:effectLst/>
                    <a:uLnTx/>
                    <a:uFillTx/>
                    <a:latin typeface="Calibri" panose="020F0502020204030204"/>
                    <a:ea typeface="+mn-ea"/>
                    <a:cs typeface="+mn-cs"/>
                  </a:endParaRPr>
                </a:p>
              </p:txBody>
            </p:sp>
            <p:sp>
              <p:nvSpPr>
                <p:cNvPr id="291" name="Problem_Based_Learning">
                  <a:extLst>
                    <a:ext uri="{FF2B5EF4-FFF2-40B4-BE49-F238E27FC236}">
                      <a16:creationId xmlns:a16="http://schemas.microsoft.com/office/drawing/2014/main" id="{13EC7994-562A-40BF-BD11-7A9E81BDD2A5}"/>
                    </a:ext>
                  </a:extLst>
                </p:cNvPr>
                <p:cNvSpPr>
                  <a:spLocks/>
                </p:cNvSpPr>
                <p:nvPr>
                  <p:custDataLst>
                    <p:tags r:id="rId42"/>
                  </p:custDataLst>
                </p:nvPr>
              </p:nvSpPr>
              <p:spPr bwMode="auto">
                <a:xfrm>
                  <a:off x="369" y="134"/>
                  <a:ext cx="62" cy="41"/>
                </a:xfrm>
                <a:custGeom>
                  <a:avLst/>
                  <a:gdLst>
                    <a:gd name="T0" fmla="*/ 30 w 164"/>
                    <a:gd name="T1" fmla="*/ 108 h 108"/>
                    <a:gd name="T2" fmla="*/ 7 w 164"/>
                    <a:gd name="T3" fmla="*/ 94 h 108"/>
                    <a:gd name="T4" fmla="*/ 18 w 164"/>
                    <a:gd name="T5" fmla="*/ 59 h 108"/>
                    <a:gd name="T6" fmla="*/ 123 w 164"/>
                    <a:gd name="T7" fmla="*/ 7 h 108"/>
                    <a:gd name="T8" fmla="*/ 158 w 164"/>
                    <a:gd name="T9" fmla="*/ 18 h 108"/>
                    <a:gd name="T10" fmla="*/ 146 w 164"/>
                    <a:gd name="T11" fmla="*/ 53 h 108"/>
                    <a:gd name="T12" fmla="*/ 42 w 164"/>
                    <a:gd name="T13" fmla="*/ 106 h 108"/>
                    <a:gd name="T14" fmla="*/ 30 w 164"/>
                    <a:gd name="T15" fmla="*/ 108 h 1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4" h="108">
                      <a:moveTo>
                        <a:pt x="30" y="108"/>
                      </a:moveTo>
                      <a:cubicBezTo>
                        <a:pt x="20" y="108"/>
                        <a:pt x="11" y="103"/>
                        <a:pt x="7" y="94"/>
                      </a:cubicBezTo>
                      <a:cubicBezTo>
                        <a:pt x="0" y="81"/>
                        <a:pt x="5" y="65"/>
                        <a:pt x="18" y="59"/>
                      </a:cubicBezTo>
                      <a:lnTo>
                        <a:pt x="123" y="7"/>
                      </a:lnTo>
                      <a:cubicBezTo>
                        <a:pt x="135" y="0"/>
                        <a:pt x="151" y="6"/>
                        <a:pt x="158" y="18"/>
                      </a:cubicBezTo>
                      <a:cubicBezTo>
                        <a:pt x="164" y="31"/>
                        <a:pt x="159" y="47"/>
                        <a:pt x="146" y="53"/>
                      </a:cubicBezTo>
                      <a:lnTo>
                        <a:pt x="42" y="106"/>
                      </a:lnTo>
                      <a:cubicBezTo>
                        <a:pt x="38" y="107"/>
                        <a:pt x="34" y="108"/>
                        <a:pt x="30" y="108"/>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noProof="0">
                    <a:ln>
                      <a:noFill/>
                    </a:ln>
                    <a:solidFill>
                      <a:prstClr val="black"/>
                    </a:solidFill>
                    <a:effectLst/>
                    <a:uLnTx/>
                    <a:uFillTx/>
                    <a:latin typeface="Calibri" panose="020F0502020204030204"/>
                    <a:ea typeface="+mn-ea"/>
                    <a:cs typeface="+mn-cs"/>
                  </a:endParaRPr>
                </a:p>
              </p:txBody>
            </p:sp>
            <p:sp>
              <p:nvSpPr>
                <p:cNvPr id="292" name="Problem_Based_Learning">
                  <a:extLst>
                    <a:ext uri="{FF2B5EF4-FFF2-40B4-BE49-F238E27FC236}">
                      <a16:creationId xmlns:a16="http://schemas.microsoft.com/office/drawing/2014/main" id="{F71AA1B3-7CCB-458D-92B5-C19519FB1216}"/>
                    </a:ext>
                  </a:extLst>
                </p:cNvPr>
                <p:cNvSpPr>
                  <a:spLocks noEditPoints="1"/>
                </p:cNvSpPr>
                <p:nvPr>
                  <p:custDataLst>
                    <p:tags r:id="rId43"/>
                  </p:custDataLst>
                </p:nvPr>
              </p:nvSpPr>
              <p:spPr bwMode="auto">
                <a:xfrm>
                  <a:off x="87" y="106"/>
                  <a:ext cx="303" cy="373"/>
                </a:xfrm>
                <a:custGeom>
                  <a:avLst/>
                  <a:gdLst>
                    <a:gd name="T0" fmla="*/ 730 w 808"/>
                    <a:gd name="T1" fmla="*/ 391 h 989"/>
                    <a:gd name="T2" fmla="*/ 730 w 808"/>
                    <a:gd name="T3" fmla="*/ 365 h 989"/>
                    <a:gd name="T4" fmla="*/ 365 w 808"/>
                    <a:gd name="T5" fmla="*/ 0 h 989"/>
                    <a:gd name="T6" fmla="*/ 0 w 808"/>
                    <a:gd name="T7" fmla="*/ 365 h 989"/>
                    <a:gd name="T8" fmla="*/ 78 w 808"/>
                    <a:gd name="T9" fmla="*/ 590 h 989"/>
                    <a:gd name="T10" fmla="*/ 78 w 808"/>
                    <a:gd name="T11" fmla="*/ 989 h 989"/>
                    <a:gd name="T12" fmla="*/ 547 w 808"/>
                    <a:gd name="T13" fmla="*/ 989 h 989"/>
                    <a:gd name="T14" fmla="*/ 547 w 808"/>
                    <a:gd name="T15" fmla="*/ 860 h 989"/>
                    <a:gd name="T16" fmla="*/ 704 w 808"/>
                    <a:gd name="T17" fmla="*/ 704 h 989"/>
                    <a:gd name="T18" fmla="*/ 704 w 808"/>
                    <a:gd name="T19" fmla="*/ 626 h 989"/>
                    <a:gd name="T20" fmla="*/ 782 w 808"/>
                    <a:gd name="T21" fmla="*/ 626 h 989"/>
                    <a:gd name="T22" fmla="*/ 808 w 808"/>
                    <a:gd name="T23" fmla="*/ 600 h 989"/>
                    <a:gd name="T24" fmla="*/ 730 w 808"/>
                    <a:gd name="T25" fmla="*/ 391 h 989"/>
                    <a:gd name="T26" fmla="*/ 587 w 808"/>
                    <a:gd name="T27" fmla="*/ 387 h 989"/>
                    <a:gd name="T28" fmla="*/ 547 w 808"/>
                    <a:gd name="T29" fmla="*/ 365 h 989"/>
                    <a:gd name="T30" fmla="*/ 522 w 808"/>
                    <a:gd name="T31" fmla="*/ 385 h 989"/>
                    <a:gd name="T32" fmla="*/ 520 w 808"/>
                    <a:gd name="T33" fmla="*/ 474 h 989"/>
                    <a:gd name="T34" fmla="*/ 410 w 808"/>
                    <a:gd name="T35" fmla="*/ 473 h 989"/>
                    <a:gd name="T36" fmla="*/ 390 w 808"/>
                    <a:gd name="T37" fmla="*/ 449 h 989"/>
                    <a:gd name="T38" fmla="*/ 412 w 808"/>
                    <a:gd name="T39" fmla="*/ 409 h 989"/>
                    <a:gd name="T40" fmla="*/ 368 w 808"/>
                    <a:gd name="T41" fmla="*/ 364 h 989"/>
                    <a:gd name="T42" fmla="*/ 325 w 808"/>
                    <a:gd name="T43" fmla="*/ 409 h 989"/>
                    <a:gd name="T44" fmla="*/ 347 w 808"/>
                    <a:gd name="T45" fmla="*/ 449 h 989"/>
                    <a:gd name="T46" fmla="*/ 326 w 808"/>
                    <a:gd name="T47" fmla="*/ 473 h 989"/>
                    <a:gd name="T48" fmla="*/ 214 w 808"/>
                    <a:gd name="T49" fmla="*/ 474 h 989"/>
                    <a:gd name="T50" fmla="*/ 213 w 808"/>
                    <a:gd name="T51" fmla="*/ 385 h 989"/>
                    <a:gd name="T52" fmla="*/ 188 w 808"/>
                    <a:gd name="T53" fmla="*/ 365 h 989"/>
                    <a:gd name="T54" fmla="*/ 148 w 808"/>
                    <a:gd name="T55" fmla="*/ 387 h 989"/>
                    <a:gd name="T56" fmla="*/ 104 w 808"/>
                    <a:gd name="T57" fmla="*/ 344 h 989"/>
                    <a:gd name="T58" fmla="*/ 148 w 808"/>
                    <a:gd name="T59" fmla="*/ 300 h 989"/>
                    <a:gd name="T60" fmla="*/ 188 w 808"/>
                    <a:gd name="T61" fmla="*/ 322 h 989"/>
                    <a:gd name="T62" fmla="*/ 213 w 808"/>
                    <a:gd name="T63" fmla="*/ 302 h 989"/>
                    <a:gd name="T64" fmla="*/ 216 w 808"/>
                    <a:gd name="T65" fmla="*/ 213 h 989"/>
                    <a:gd name="T66" fmla="*/ 326 w 808"/>
                    <a:gd name="T67" fmla="*/ 203 h 989"/>
                    <a:gd name="T68" fmla="*/ 347 w 808"/>
                    <a:gd name="T69" fmla="*/ 227 h 989"/>
                    <a:gd name="T70" fmla="*/ 325 w 808"/>
                    <a:gd name="T71" fmla="*/ 267 h 989"/>
                    <a:gd name="T72" fmla="*/ 368 w 808"/>
                    <a:gd name="T73" fmla="*/ 312 h 989"/>
                    <a:gd name="T74" fmla="*/ 412 w 808"/>
                    <a:gd name="T75" fmla="*/ 267 h 989"/>
                    <a:gd name="T76" fmla="*/ 390 w 808"/>
                    <a:gd name="T77" fmla="*/ 227 h 989"/>
                    <a:gd name="T78" fmla="*/ 410 w 808"/>
                    <a:gd name="T79" fmla="*/ 203 h 989"/>
                    <a:gd name="T80" fmla="*/ 521 w 808"/>
                    <a:gd name="T81" fmla="*/ 213 h 989"/>
                    <a:gd name="T82" fmla="*/ 522 w 808"/>
                    <a:gd name="T83" fmla="*/ 302 h 989"/>
                    <a:gd name="T84" fmla="*/ 547 w 808"/>
                    <a:gd name="T85" fmla="*/ 322 h 989"/>
                    <a:gd name="T86" fmla="*/ 587 w 808"/>
                    <a:gd name="T87" fmla="*/ 300 h 989"/>
                    <a:gd name="T88" fmla="*/ 631 w 808"/>
                    <a:gd name="T89" fmla="*/ 344 h 989"/>
                    <a:gd name="T90" fmla="*/ 587 w 808"/>
                    <a:gd name="T91" fmla="*/ 387 h 9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8" h="989">
                      <a:moveTo>
                        <a:pt x="730" y="391"/>
                      </a:moveTo>
                      <a:lnTo>
                        <a:pt x="730" y="365"/>
                      </a:lnTo>
                      <a:cubicBezTo>
                        <a:pt x="730" y="163"/>
                        <a:pt x="566" y="0"/>
                        <a:pt x="365" y="0"/>
                      </a:cubicBezTo>
                      <a:cubicBezTo>
                        <a:pt x="163" y="0"/>
                        <a:pt x="0" y="163"/>
                        <a:pt x="0" y="365"/>
                      </a:cubicBezTo>
                      <a:cubicBezTo>
                        <a:pt x="0" y="450"/>
                        <a:pt x="29" y="528"/>
                        <a:pt x="78" y="590"/>
                      </a:cubicBezTo>
                      <a:lnTo>
                        <a:pt x="78" y="989"/>
                      </a:lnTo>
                      <a:lnTo>
                        <a:pt x="547" y="989"/>
                      </a:lnTo>
                      <a:lnTo>
                        <a:pt x="547" y="860"/>
                      </a:lnTo>
                      <a:cubicBezTo>
                        <a:pt x="634" y="860"/>
                        <a:pt x="704" y="790"/>
                        <a:pt x="704" y="704"/>
                      </a:cubicBezTo>
                      <a:lnTo>
                        <a:pt x="704" y="626"/>
                      </a:lnTo>
                      <a:lnTo>
                        <a:pt x="782" y="626"/>
                      </a:lnTo>
                      <a:cubicBezTo>
                        <a:pt x="796" y="626"/>
                        <a:pt x="808" y="614"/>
                        <a:pt x="808" y="600"/>
                      </a:cubicBezTo>
                      <a:cubicBezTo>
                        <a:pt x="808" y="593"/>
                        <a:pt x="730" y="391"/>
                        <a:pt x="730" y="391"/>
                      </a:cubicBezTo>
                      <a:close/>
                      <a:moveTo>
                        <a:pt x="587" y="387"/>
                      </a:moveTo>
                      <a:cubicBezTo>
                        <a:pt x="562" y="381"/>
                        <a:pt x="566" y="365"/>
                        <a:pt x="547" y="365"/>
                      </a:cubicBezTo>
                      <a:cubicBezTo>
                        <a:pt x="528" y="365"/>
                        <a:pt x="524" y="378"/>
                        <a:pt x="522" y="385"/>
                      </a:cubicBezTo>
                      <a:cubicBezTo>
                        <a:pt x="519" y="407"/>
                        <a:pt x="520" y="474"/>
                        <a:pt x="520" y="474"/>
                      </a:cubicBezTo>
                      <a:cubicBezTo>
                        <a:pt x="520" y="474"/>
                        <a:pt x="432" y="477"/>
                        <a:pt x="410" y="473"/>
                      </a:cubicBezTo>
                      <a:cubicBezTo>
                        <a:pt x="402" y="472"/>
                        <a:pt x="390" y="468"/>
                        <a:pt x="390" y="449"/>
                      </a:cubicBezTo>
                      <a:cubicBezTo>
                        <a:pt x="390" y="430"/>
                        <a:pt x="406" y="434"/>
                        <a:pt x="412" y="409"/>
                      </a:cubicBezTo>
                      <a:cubicBezTo>
                        <a:pt x="414" y="383"/>
                        <a:pt x="392" y="364"/>
                        <a:pt x="368" y="364"/>
                      </a:cubicBezTo>
                      <a:cubicBezTo>
                        <a:pt x="344" y="364"/>
                        <a:pt x="323" y="383"/>
                        <a:pt x="325" y="409"/>
                      </a:cubicBezTo>
                      <a:cubicBezTo>
                        <a:pt x="331" y="434"/>
                        <a:pt x="347" y="430"/>
                        <a:pt x="347" y="449"/>
                      </a:cubicBezTo>
                      <a:cubicBezTo>
                        <a:pt x="347" y="468"/>
                        <a:pt x="334" y="472"/>
                        <a:pt x="326" y="473"/>
                      </a:cubicBezTo>
                      <a:cubicBezTo>
                        <a:pt x="305" y="477"/>
                        <a:pt x="214" y="474"/>
                        <a:pt x="214" y="474"/>
                      </a:cubicBezTo>
                      <a:cubicBezTo>
                        <a:pt x="214" y="474"/>
                        <a:pt x="216" y="407"/>
                        <a:pt x="213" y="385"/>
                      </a:cubicBezTo>
                      <a:cubicBezTo>
                        <a:pt x="212" y="377"/>
                        <a:pt x="207" y="365"/>
                        <a:pt x="188" y="365"/>
                      </a:cubicBezTo>
                      <a:cubicBezTo>
                        <a:pt x="169" y="365"/>
                        <a:pt x="174" y="381"/>
                        <a:pt x="148" y="387"/>
                      </a:cubicBezTo>
                      <a:cubicBezTo>
                        <a:pt x="123" y="389"/>
                        <a:pt x="104" y="368"/>
                        <a:pt x="104" y="344"/>
                      </a:cubicBezTo>
                      <a:cubicBezTo>
                        <a:pt x="104" y="319"/>
                        <a:pt x="123" y="298"/>
                        <a:pt x="148" y="300"/>
                      </a:cubicBezTo>
                      <a:cubicBezTo>
                        <a:pt x="174" y="306"/>
                        <a:pt x="169" y="322"/>
                        <a:pt x="188" y="322"/>
                      </a:cubicBezTo>
                      <a:cubicBezTo>
                        <a:pt x="207" y="322"/>
                        <a:pt x="212" y="310"/>
                        <a:pt x="213" y="302"/>
                      </a:cubicBezTo>
                      <a:cubicBezTo>
                        <a:pt x="216" y="280"/>
                        <a:pt x="216" y="213"/>
                        <a:pt x="216" y="213"/>
                      </a:cubicBezTo>
                      <a:cubicBezTo>
                        <a:pt x="216" y="213"/>
                        <a:pt x="305" y="199"/>
                        <a:pt x="326" y="203"/>
                      </a:cubicBezTo>
                      <a:cubicBezTo>
                        <a:pt x="334" y="204"/>
                        <a:pt x="347" y="208"/>
                        <a:pt x="347" y="227"/>
                      </a:cubicBezTo>
                      <a:cubicBezTo>
                        <a:pt x="347" y="246"/>
                        <a:pt x="331" y="242"/>
                        <a:pt x="325" y="267"/>
                      </a:cubicBezTo>
                      <a:cubicBezTo>
                        <a:pt x="323" y="293"/>
                        <a:pt x="344" y="312"/>
                        <a:pt x="368" y="312"/>
                      </a:cubicBezTo>
                      <a:cubicBezTo>
                        <a:pt x="392" y="312"/>
                        <a:pt x="414" y="293"/>
                        <a:pt x="412" y="267"/>
                      </a:cubicBezTo>
                      <a:cubicBezTo>
                        <a:pt x="406" y="242"/>
                        <a:pt x="390" y="246"/>
                        <a:pt x="390" y="227"/>
                      </a:cubicBezTo>
                      <a:cubicBezTo>
                        <a:pt x="390" y="208"/>
                        <a:pt x="402" y="204"/>
                        <a:pt x="410" y="203"/>
                      </a:cubicBezTo>
                      <a:cubicBezTo>
                        <a:pt x="432" y="199"/>
                        <a:pt x="521" y="213"/>
                        <a:pt x="521" y="213"/>
                      </a:cubicBezTo>
                      <a:cubicBezTo>
                        <a:pt x="521" y="213"/>
                        <a:pt x="519" y="280"/>
                        <a:pt x="522" y="302"/>
                      </a:cubicBezTo>
                      <a:cubicBezTo>
                        <a:pt x="524" y="310"/>
                        <a:pt x="528" y="322"/>
                        <a:pt x="547" y="322"/>
                      </a:cubicBezTo>
                      <a:cubicBezTo>
                        <a:pt x="566" y="322"/>
                        <a:pt x="562" y="306"/>
                        <a:pt x="587" y="300"/>
                      </a:cubicBezTo>
                      <a:cubicBezTo>
                        <a:pt x="613" y="298"/>
                        <a:pt x="631" y="319"/>
                        <a:pt x="631" y="344"/>
                      </a:cubicBezTo>
                      <a:cubicBezTo>
                        <a:pt x="631" y="368"/>
                        <a:pt x="613" y="389"/>
                        <a:pt x="587" y="387"/>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noProof="0">
                    <a:ln>
                      <a:noFill/>
                    </a:ln>
                    <a:solidFill>
                      <a:prstClr val="black"/>
                    </a:solidFill>
                    <a:effectLst/>
                    <a:uLnTx/>
                    <a:uFillTx/>
                    <a:latin typeface="Calibri" panose="020F0502020204030204"/>
                    <a:ea typeface="+mn-ea"/>
                    <a:cs typeface="+mn-cs"/>
                  </a:endParaRPr>
                </a:p>
              </p:txBody>
            </p:sp>
          </p:grpSp>
        </p:grpSp>
      </p:grpSp>
      <p:grpSp>
        <p:nvGrpSpPr>
          <p:cNvPr id="120" name="Group 125">
            <a:extLst>
              <a:ext uri="{FF2B5EF4-FFF2-40B4-BE49-F238E27FC236}">
                <a16:creationId xmlns:a16="http://schemas.microsoft.com/office/drawing/2014/main" id="{E4E95F1F-FC9E-4B4F-9B68-80924CD43198}"/>
              </a:ext>
            </a:extLst>
          </p:cNvPr>
          <p:cNvGrpSpPr/>
          <p:nvPr/>
        </p:nvGrpSpPr>
        <p:grpSpPr>
          <a:xfrm>
            <a:off x="7141067" y="3693925"/>
            <a:ext cx="288000" cy="288000"/>
            <a:chOff x="7095592" y="742073"/>
            <a:chExt cx="329184" cy="329184"/>
          </a:xfrm>
        </p:grpSpPr>
        <p:sp>
          <p:nvSpPr>
            <p:cNvPr id="273" name="Oval 137">
              <a:extLst>
                <a:ext uri="{FF2B5EF4-FFF2-40B4-BE49-F238E27FC236}">
                  <a16:creationId xmlns:a16="http://schemas.microsoft.com/office/drawing/2014/main" id="{67CF94CE-034A-48F0-8581-6A3A60CCCE6A}"/>
                </a:ext>
              </a:extLst>
            </p:cNvPr>
            <p:cNvSpPr/>
            <p:nvPr/>
          </p:nvSpPr>
          <p:spPr>
            <a:xfrm>
              <a:off x="7095592" y="742073"/>
              <a:ext cx="329184" cy="329184"/>
            </a:xfrm>
            <a:prstGeom prst="ellipse">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74" name="Group 127">
              <a:extLst>
                <a:ext uri="{FF2B5EF4-FFF2-40B4-BE49-F238E27FC236}">
                  <a16:creationId xmlns:a16="http://schemas.microsoft.com/office/drawing/2014/main" id="{E9D954AF-C467-4DA6-95CB-DC266204DC6A}"/>
                </a:ext>
              </a:extLst>
            </p:cNvPr>
            <p:cNvGrpSpPr/>
            <p:nvPr/>
          </p:nvGrpSpPr>
          <p:grpSpPr>
            <a:xfrm>
              <a:off x="7176816" y="778521"/>
              <a:ext cx="179310" cy="244447"/>
              <a:chOff x="7176816" y="778521"/>
              <a:chExt cx="179310" cy="244447"/>
            </a:xfrm>
          </p:grpSpPr>
          <p:sp>
            <p:nvSpPr>
              <p:cNvPr id="275" name="Seed" descr="{&quot;Key&quot;:&quot;POWER_USER_SHAPE_ICON&quot;,&quot;Value&quot;:&quot;POWER_USER_SHAPE_ICON_STYLE_1&quot;}">
                <a:extLst>
                  <a:ext uri="{FF2B5EF4-FFF2-40B4-BE49-F238E27FC236}">
                    <a16:creationId xmlns:a16="http://schemas.microsoft.com/office/drawing/2014/main" id="{5AAB0531-4C05-4628-AB0B-164AC308FCF0}"/>
                  </a:ext>
                </a:extLst>
              </p:cNvPr>
              <p:cNvSpPr>
                <a:spLocks noChangeAspect="1" noEditPoints="1"/>
              </p:cNvSpPr>
              <p:nvPr>
                <p:custDataLst>
                  <p:tags r:id="rId28"/>
                </p:custDataLst>
              </p:nvPr>
            </p:nvSpPr>
            <p:spPr bwMode="auto">
              <a:xfrm>
                <a:off x="7176816" y="878690"/>
                <a:ext cx="162838" cy="144278"/>
              </a:xfrm>
              <a:custGeom>
                <a:avLst/>
                <a:gdLst>
                  <a:gd name="T0" fmla="*/ 6744 w 11364"/>
                  <a:gd name="T1" fmla="*/ 3564 h 10067"/>
                  <a:gd name="T2" fmla="*/ 7042 w 11364"/>
                  <a:gd name="T3" fmla="*/ 3354 h 10067"/>
                  <a:gd name="T4" fmla="*/ 4139 w 11364"/>
                  <a:gd name="T5" fmla="*/ 214 h 10067"/>
                  <a:gd name="T6" fmla="*/ 5282 w 11364"/>
                  <a:gd name="T7" fmla="*/ 2733 h 10067"/>
                  <a:gd name="T8" fmla="*/ 10245 w 11364"/>
                  <a:gd name="T9" fmla="*/ 7311 h 10067"/>
                  <a:gd name="T10" fmla="*/ 7950 w 11364"/>
                  <a:gd name="T11" fmla="*/ 5369 h 10067"/>
                  <a:gd name="T12" fmla="*/ 7665 w 11364"/>
                  <a:gd name="T13" fmla="*/ 5315 h 10067"/>
                  <a:gd name="T14" fmla="*/ 7626 w 11364"/>
                  <a:gd name="T15" fmla="*/ 5310 h 10067"/>
                  <a:gd name="T16" fmla="*/ 7637 w 11364"/>
                  <a:gd name="T17" fmla="*/ 4576 h 10067"/>
                  <a:gd name="T18" fmla="*/ 7646 w 11364"/>
                  <a:gd name="T19" fmla="*/ 4476 h 10067"/>
                  <a:gd name="T20" fmla="*/ 7673 w 11364"/>
                  <a:gd name="T21" fmla="*/ 4234 h 10067"/>
                  <a:gd name="T22" fmla="*/ 8068 w 11364"/>
                  <a:gd name="T23" fmla="*/ 4029 h 10067"/>
                  <a:gd name="T24" fmla="*/ 11244 w 11364"/>
                  <a:gd name="T25" fmla="*/ 0 h 10067"/>
                  <a:gd name="T26" fmla="*/ 7516 w 11364"/>
                  <a:gd name="T27" fmla="*/ 2618 h 10067"/>
                  <a:gd name="T28" fmla="*/ 7233 w 11364"/>
                  <a:gd name="T29" fmla="*/ 4214 h 10067"/>
                  <a:gd name="T30" fmla="*/ 7224 w 11364"/>
                  <a:gd name="T31" fmla="*/ 5280 h 10067"/>
                  <a:gd name="T32" fmla="*/ 7082 w 11364"/>
                  <a:gd name="T33" fmla="*/ 5277 h 10067"/>
                  <a:gd name="T34" fmla="*/ 5070 w 11364"/>
                  <a:gd name="T35" fmla="*/ 6113 h 10067"/>
                  <a:gd name="T36" fmla="*/ 2454 w 11364"/>
                  <a:gd name="T37" fmla="*/ 5748 h 10067"/>
                  <a:gd name="T38" fmla="*/ 1979 w 11364"/>
                  <a:gd name="T39" fmla="*/ 5775 h 10067"/>
                  <a:gd name="T40" fmla="*/ 2514 w 11364"/>
                  <a:gd name="T41" fmla="*/ 6100 h 10067"/>
                  <a:gd name="T42" fmla="*/ 4816 w 11364"/>
                  <a:gd name="T43" fmla="*/ 6387 h 10067"/>
                  <a:gd name="T44" fmla="*/ 6145 w 11364"/>
                  <a:gd name="T45" fmla="*/ 6987 h 10067"/>
                  <a:gd name="T46" fmla="*/ 8301 w 11364"/>
                  <a:gd name="T47" fmla="*/ 7145 h 10067"/>
                  <a:gd name="T48" fmla="*/ 8758 w 11364"/>
                  <a:gd name="T49" fmla="*/ 7918 h 10067"/>
                  <a:gd name="T50" fmla="*/ 8461 w 11364"/>
                  <a:gd name="T51" fmla="*/ 8153 h 10067"/>
                  <a:gd name="T52" fmla="*/ 7099 w 11364"/>
                  <a:gd name="T53" fmla="*/ 8176 h 10067"/>
                  <a:gd name="T54" fmla="*/ 6945 w 11364"/>
                  <a:gd name="T55" fmla="*/ 8155 h 10067"/>
                  <a:gd name="T56" fmla="*/ 6316 w 11364"/>
                  <a:gd name="T57" fmla="*/ 8035 h 10067"/>
                  <a:gd name="T58" fmla="*/ 6020 w 11364"/>
                  <a:gd name="T59" fmla="*/ 7984 h 10067"/>
                  <a:gd name="T60" fmla="*/ 4994 w 11364"/>
                  <a:gd name="T61" fmla="*/ 8127 h 10067"/>
                  <a:gd name="T62" fmla="*/ 4903 w 11364"/>
                  <a:gd name="T63" fmla="*/ 8363 h 10067"/>
                  <a:gd name="T64" fmla="*/ 6233 w 11364"/>
                  <a:gd name="T65" fmla="*/ 8382 h 10067"/>
                  <a:gd name="T66" fmla="*/ 8735 w 11364"/>
                  <a:gd name="T67" fmla="*/ 8429 h 10067"/>
                  <a:gd name="T68" fmla="*/ 9563 w 11364"/>
                  <a:gd name="T69" fmla="*/ 8061 h 10067"/>
                  <a:gd name="T70" fmla="*/ 10404 w 11364"/>
                  <a:gd name="T71" fmla="*/ 7630 h 10067"/>
                  <a:gd name="T72" fmla="*/ 10935 w 11364"/>
                  <a:gd name="T73" fmla="*/ 7937 h 10067"/>
                  <a:gd name="T74" fmla="*/ 10018 w 11364"/>
                  <a:gd name="T75" fmla="*/ 8647 h 10067"/>
                  <a:gd name="T76" fmla="*/ 9086 w 11364"/>
                  <a:gd name="T77" fmla="*/ 9020 h 10067"/>
                  <a:gd name="T78" fmla="*/ 6547 w 11364"/>
                  <a:gd name="T79" fmla="*/ 9626 h 10067"/>
                  <a:gd name="T80" fmla="*/ 2148 w 11364"/>
                  <a:gd name="T81" fmla="*/ 8613 h 10067"/>
                  <a:gd name="T82" fmla="*/ 1979 w 11364"/>
                  <a:gd name="T83" fmla="*/ 8970 h 10067"/>
                  <a:gd name="T84" fmla="*/ 5139 w 11364"/>
                  <a:gd name="T85" fmla="*/ 9875 h 10067"/>
                  <a:gd name="T86" fmla="*/ 6619 w 11364"/>
                  <a:gd name="T87" fmla="*/ 9976 h 10067"/>
                  <a:gd name="T88" fmla="*/ 9235 w 11364"/>
                  <a:gd name="T89" fmla="*/ 9344 h 10067"/>
                  <a:gd name="T90" fmla="*/ 10176 w 11364"/>
                  <a:gd name="T91" fmla="*/ 8967 h 10067"/>
                  <a:gd name="T92" fmla="*/ 11194 w 11364"/>
                  <a:gd name="T93" fmla="*/ 8190 h 10067"/>
                  <a:gd name="T94" fmla="*/ 0 w 11364"/>
                  <a:gd name="T95" fmla="*/ 9309 h 10067"/>
                  <a:gd name="T96" fmla="*/ 1630 w 11364"/>
                  <a:gd name="T97" fmla="*/ 5351 h 10067"/>
                  <a:gd name="T98" fmla="*/ 0 w 11364"/>
                  <a:gd name="T99" fmla="*/ 9309 h 100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1364" h="10067">
                    <a:moveTo>
                      <a:pt x="5282" y="2733"/>
                    </a:moveTo>
                    <a:cubicBezTo>
                      <a:pt x="5856" y="3288"/>
                      <a:pt x="6390" y="3439"/>
                      <a:pt x="6744" y="3564"/>
                    </a:cubicBezTo>
                    <a:cubicBezTo>
                      <a:pt x="6525" y="2306"/>
                      <a:pt x="5827" y="1150"/>
                      <a:pt x="4589" y="609"/>
                    </a:cubicBezTo>
                    <a:cubicBezTo>
                      <a:pt x="5820" y="997"/>
                      <a:pt x="6676" y="2123"/>
                      <a:pt x="7042" y="3354"/>
                    </a:cubicBezTo>
                    <a:cubicBezTo>
                      <a:pt x="7112" y="2949"/>
                      <a:pt x="7216" y="2574"/>
                      <a:pt x="7358" y="2233"/>
                    </a:cubicBezTo>
                    <a:cubicBezTo>
                      <a:pt x="7006" y="1054"/>
                      <a:pt x="5918" y="214"/>
                      <a:pt x="4139" y="214"/>
                    </a:cubicBezTo>
                    <a:cubicBezTo>
                      <a:pt x="3920" y="214"/>
                      <a:pt x="3690" y="227"/>
                      <a:pt x="3450" y="253"/>
                    </a:cubicBezTo>
                    <a:cubicBezTo>
                      <a:pt x="4708" y="954"/>
                      <a:pt x="4033" y="1529"/>
                      <a:pt x="5282" y="2733"/>
                    </a:cubicBezTo>
                    <a:close/>
                    <a:moveTo>
                      <a:pt x="11174" y="7560"/>
                    </a:moveTo>
                    <a:cubicBezTo>
                      <a:pt x="11020" y="7299"/>
                      <a:pt x="10696" y="7094"/>
                      <a:pt x="10245" y="7311"/>
                    </a:cubicBezTo>
                    <a:lnTo>
                      <a:pt x="10145" y="7362"/>
                    </a:lnTo>
                    <a:cubicBezTo>
                      <a:pt x="9750" y="6361"/>
                      <a:pt x="9011" y="5620"/>
                      <a:pt x="7950" y="5369"/>
                    </a:cubicBezTo>
                    <a:cubicBezTo>
                      <a:pt x="7904" y="5358"/>
                      <a:pt x="7855" y="5350"/>
                      <a:pt x="7807" y="5341"/>
                    </a:cubicBezTo>
                    <a:cubicBezTo>
                      <a:pt x="7760" y="5332"/>
                      <a:pt x="7713" y="5323"/>
                      <a:pt x="7665" y="5315"/>
                    </a:cubicBezTo>
                    <a:lnTo>
                      <a:pt x="7665" y="5310"/>
                    </a:lnTo>
                    <a:lnTo>
                      <a:pt x="7626" y="5310"/>
                    </a:lnTo>
                    <a:cubicBezTo>
                      <a:pt x="7615" y="5095"/>
                      <a:pt x="7617" y="4877"/>
                      <a:pt x="7630" y="4658"/>
                    </a:cubicBezTo>
                    <a:cubicBezTo>
                      <a:pt x="7632" y="4631"/>
                      <a:pt x="7635" y="4603"/>
                      <a:pt x="7637" y="4576"/>
                    </a:cubicBezTo>
                    <a:cubicBezTo>
                      <a:pt x="7639" y="4548"/>
                      <a:pt x="7642" y="4521"/>
                      <a:pt x="7645" y="4493"/>
                    </a:cubicBezTo>
                    <a:cubicBezTo>
                      <a:pt x="7645" y="4487"/>
                      <a:pt x="7646" y="4482"/>
                      <a:pt x="7646" y="4476"/>
                    </a:cubicBezTo>
                    <a:cubicBezTo>
                      <a:pt x="7650" y="4440"/>
                      <a:pt x="7653" y="4405"/>
                      <a:pt x="7657" y="4369"/>
                    </a:cubicBezTo>
                    <a:cubicBezTo>
                      <a:pt x="7662" y="4324"/>
                      <a:pt x="7667" y="4279"/>
                      <a:pt x="7673" y="4234"/>
                    </a:cubicBezTo>
                    <a:cubicBezTo>
                      <a:pt x="7872" y="2771"/>
                      <a:pt x="8628" y="1348"/>
                      <a:pt x="9939" y="657"/>
                    </a:cubicBezTo>
                    <a:cubicBezTo>
                      <a:pt x="8766" y="1446"/>
                      <a:pt x="8183" y="2704"/>
                      <a:pt x="8068" y="4029"/>
                    </a:cubicBezTo>
                    <a:cubicBezTo>
                      <a:pt x="8412" y="3957"/>
                      <a:pt x="8947" y="3834"/>
                      <a:pt x="9555" y="3096"/>
                    </a:cubicBezTo>
                    <a:cubicBezTo>
                      <a:pt x="10606" y="1820"/>
                      <a:pt x="10037" y="1108"/>
                      <a:pt x="11244" y="0"/>
                    </a:cubicBezTo>
                    <a:cubicBezTo>
                      <a:pt x="9086" y="152"/>
                      <a:pt x="8041" y="1219"/>
                      <a:pt x="7569" y="2470"/>
                    </a:cubicBezTo>
                    <a:cubicBezTo>
                      <a:pt x="7551" y="2519"/>
                      <a:pt x="7533" y="2568"/>
                      <a:pt x="7516" y="2618"/>
                    </a:cubicBezTo>
                    <a:cubicBezTo>
                      <a:pt x="7499" y="2670"/>
                      <a:pt x="7482" y="2723"/>
                      <a:pt x="7466" y="2776"/>
                    </a:cubicBezTo>
                    <a:cubicBezTo>
                      <a:pt x="7324" y="3251"/>
                      <a:pt x="7255" y="3743"/>
                      <a:pt x="7233" y="4214"/>
                    </a:cubicBezTo>
                    <a:cubicBezTo>
                      <a:pt x="7227" y="4337"/>
                      <a:pt x="7224" y="4458"/>
                      <a:pt x="7224" y="4577"/>
                    </a:cubicBezTo>
                    <a:lnTo>
                      <a:pt x="7224" y="5280"/>
                    </a:lnTo>
                    <a:cubicBezTo>
                      <a:pt x="7190" y="5279"/>
                      <a:pt x="7156" y="5276"/>
                      <a:pt x="7121" y="5276"/>
                    </a:cubicBezTo>
                    <a:cubicBezTo>
                      <a:pt x="7107" y="5276"/>
                      <a:pt x="7095" y="5277"/>
                      <a:pt x="7082" y="5277"/>
                    </a:cubicBezTo>
                    <a:cubicBezTo>
                      <a:pt x="7033" y="5278"/>
                      <a:pt x="6986" y="5280"/>
                      <a:pt x="6939" y="5283"/>
                    </a:cubicBezTo>
                    <a:cubicBezTo>
                      <a:pt x="6217" y="5326"/>
                      <a:pt x="5581" y="5623"/>
                      <a:pt x="5070" y="6113"/>
                    </a:cubicBezTo>
                    <a:cubicBezTo>
                      <a:pt x="4740" y="5948"/>
                      <a:pt x="4382" y="5797"/>
                      <a:pt x="4006" y="5741"/>
                    </a:cubicBezTo>
                    <a:cubicBezTo>
                      <a:pt x="3196" y="5621"/>
                      <a:pt x="2767" y="5694"/>
                      <a:pt x="2454" y="5748"/>
                    </a:cubicBezTo>
                    <a:cubicBezTo>
                      <a:pt x="2277" y="5778"/>
                      <a:pt x="2149" y="5801"/>
                      <a:pt x="2006" y="5779"/>
                    </a:cubicBezTo>
                    <a:lnTo>
                      <a:pt x="1979" y="5775"/>
                    </a:lnTo>
                    <a:lnTo>
                      <a:pt x="1979" y="6135"/>
                    </a:lnTo>
                    <a:cubicBezTo>
                      <a:pt x="2167" y="6158"/>
                      <a:pt x="2329" y="6132"/>
                      <a:pt x="2514" y="6100"/>
                    </a:cubicBezTo>
                    <a:cubicBezTo>
                      <a:pt x="2820" y="6048"/>
                      <a:pt x="3200" y="5983"/>
                      <a:pt x="3953" y="6094"/>
                    </a:cubicBezTo>
                    <a:cubicBezTo>
                      <a:pt x="4247" y="6138"/>
                      <a:pt x="4539" y="6254"/>
                      <a:pt x="4816" y="6387"/>
                    </a:cubicBezTo>
                    <a:cubicBezTo>
                      <a:pt x="4964" y="6458"/>
                      <a:pt x="5108" y="6534"/>
                      <a:pt x="5246" y="6607"/>
                    </a:cubicBezTo>
                    <a:cubicBezTo>
                      <a:pt x="5584" y="6786"/>
                      <a:pt x="5875" y="6940"/>
                      <a:pt x="6145" y="6987"/>
                    </a:cubicBezTo>
                    <a:cubicBezTo>
                      <a:pt x="6374" y="7027"/>
                      <a:pt x="6617" y="7019"/>
                      <a:pt x="6873" y="7011"/>
                    </a:cubicBezTo>
                    <a:cubicBezTo>
                      <a:pt x="7279" y="6999"/>
                      <a:pt x="7740" y="6985"/>
                      <a:pt x="8301" y="7145"/>
                    </a:cubicBezTo>
                    <a:cubicBezTo>
                      <a:pt x="8622" y="7237"/>
                      <a:pt x="8803" y="7401"/>
                      <a:pt x="8825" y="7618"/>
                    </a:cubicBezTo>
                    <a:cubicBezTo>
                      <a:pt x="8835" y="7725"/>
                      <a:pt x="8806" y="7830"/>
                      <a:pt x="8758" y="7918"/>
                    </a:cubicBezTo>
                    <a:cubicBezTo>
                      <a:pt x="8709" y="8005"/>
                      <a:pt x="8640" y="8076"/>
                      <a:pt x="8571" y="8111"/>
                    </a:cubicBezTo>
                    <a:cubicBezTo>
                      <a:pt x="8540" y="8127"/>
                      <a:pt x="8502" y="8141"/>
                      <a:pt x="8461" y="8153"/>
                    </a:cubicBezTo>
                    <a:cubicBezTo>
                      <a:pt x="8371" y="8180"/>
                      <a:pt x="8259" y="8200"/>
                      <a:pt x="8128" y="8211"/>
                    </a:cubicBezTo>
                    <a:cubicBezTo>
                      <a:pt x="7846" y="8235"/>
                      <a:pt x="7483" y="8223"/>
                      <a:pt x="7099" y="8176"/>
                    </a:cubicBezTo>
                    <a:cubicBezTo>
                      <a:pt x="7067" y="8172"/>
                      <a:pt x="7035" y="8168"/>
                      <a:pt x="7003" y="8164"/>
                    </a:cubicBezTo>
                    <a:cubicBezTo>
                      <a:pt x="6984" y="8161"/>
                      <a:pt x="6965" y="8158"/>
                      <a:pt x="6945" y="8155"/>
                    </a:cubicBezTo>
                    <a:cubicBezTo>
                      <a:pt x="6790" y="8133"/>
                      <a:pt x="6633" y="8105"/>
                      <a:pt x="6477" y="8071"/>
                    </a:cubicBezTo>
                    <a:cubicBezTo>
                      <a:pt x="6423" y="8060"/>
                      <a:pt x="6370" y="8048"/>
                      <a:pt x="6316" y="8035"/>
                    </a:cubicBezTo>
                    <a:cubicBezTo>
                      <a:pt x="6270" y="8024"/>
                      <a:pt x="6226" y="8017"/>
                      <a:pt x="6181" y="8008"/>
                    </a:cubicBezTo>
                    <a:cubicBezTo>
                      <a:pt x="6126" y="7998"/>
                      <a:pt x="6072" y="7990"/>
                      <a:pt x="6020" y="7984"/>
                    </a:cubicBezTo>
                    <a:cubicBezTo>
                      <a:pt x="5990" y="7981"/>
                      <a:pt x="5960" y="7977"/>
                      <a:pt x="5931" y="7975"/>
                    </a:cubicBezTo>
                    <a:cubicBezTo>
                      <a:pt x="5524" y="7946"/>
                      <a:pt x="5206" y="8034"/>
                      <a:pt x="4994" y="8127"/>
                    </a:cubicBezTo>
                    <a:cubicBezTo>
                      <a:pt x="4960" y="8142"/>
                      <a:pt x="4936" y="8168"/>
                      <a:pt x="4918" y="8197"/>
                    </a:cubicBezTo>
                    <a:cubicBezTo>
                      <a:pt x="4888" y="8246"/>
                      <a:pt x="4878" y="8306"/>
                      <a:pt x="4903" y="8363"/>
                    </a:cubicBezTo>
                    <a:cubicBezTo>
                      <a:pt x="4943" y="8452"/>
                      <a:pt x="5048" y="8493"/>
                      <a:pt x="5138" y="8454"/>
                    </a:cubicBezTo>
                    <a:cubicBezTo>
                      <a:pt x="5465" y="8310"/>
                      <a:pt x="5833" y="8286"/>
                      <a:pt x="6233" y="8382"/>
                    </a:cubicBezTo>
                    <a:cubicBezTo>
                      <a:pt x="6732" y="8503"/>
                      <a:pt x="7317" y="8582"/>
                      <a:pt x="7817" y="8582"/>
                    </a:cubicBezTo>
                    <a:cubicBezTo>
                      <a:pt x="8196" y="8582"/>
                      <a:pt x="8527" y="8536"/>
                      <a:pt x="8735" y="8429"/>
                    </a:cubicBezTo>
                    <a:cubicBezTo>
                      <a:pt x="8828" y="8381"/>
                      <a:pt x="8910" y="8308"/>
                      <a:pt x="8978" y="8223"/>
                    </a:cubicBezTo>
                    <a:cubicBezTo>
                      <a:pt x="9279" y="8130"/>
                      <a:pt x="9558" y="8062"/>
                      <a:pt x="9563" y="8061"/>
                    </a:cubicBezTo>
                    <a:cubicBezTo>
                      <a:pt x="9577" y="8057"/>
                      <a:pt x="9590" y="8052"/>
                      <a:pt x="9603" y="8045"/>
                    </a:cubicBezTo>
                    <a:lnTo>
                      <a:pt x="10404" y="7630"/>
                    </a:lnTo>
                    <a:cubicBezTo>
                      <a:pt x="10627" y="7523"/>
                      <a:pt x="10731" y="7601"/>
                      <a:pt x="10766" y="7626"/>
                    </a:cubicBezTo>
                    <a:cubicBezTo>
                      <a:pt x="10877" y="7708"/>
                      <a:pt x="10927" y="7862"/>
                      <a:pt x="10935" y="7937"/>
                    </a:cubicBezTo>
                    <a:cubicBezTo>
                      <a:pt x="10867" y="7990"/>
                      <a:pt x="10749" y="8081"/>
                      <a:pt x="10619" y="8183"/>
                    </a:cubicBezTo>
                    <a:cubicBezTo>
                      <a:pt x="10396" y="8357"/>
                      <a:pt x="10058" y="8621"/>
                      <a:pt x="10018" y="8647"/>
                    </a:cubicBezTo>
                    <a:cubicBezTo>
                      <a:pt x="9989" y="8661"/>
                      <a:pt x="9867" y="8708"/>
                      <a:pt x="9720" y="8765"/>
                    </a:cubicBezTo>
                    <a:cubicBezTo>
                      <a:pt x="9489" y="8855"/>
                      <a:pt x="9201" y="8966"/>
                      <a:pt x="9086" y="9020"/>
                    </a:cubicBezTo>
                    <a:cubicBezTo>
                      <a:pt x="8816" y="9144"/>
                      <a:pt x="8300" y="9346"/>
                      <a:pt x="8196" y="9349"/>
                    </a:cubicBezTo>
                    <a:cubicBezTo>
                      <a:pt x="8024" y="9349"/>
                      <a:pt x="7346" y="9463"/>
                      <a:pt x="6547" y="9626"/>
                    </a:cubicBezTo>
                    <a:cubicBezTo>
                      <a:pt x="5919" y="9754"/>
                      <a:pt x="5696" y="9741"/>
                      <a:pt x="5291" y="9552"/>
                    </a:cubicBezTo>
                    <a:cubicBezTo>
                      <a:pt x="4872" y="9356"/>
                      <a:pt x="2441" y="8613"/>
                      <a:pt x="2148" y="8613"/>
                    </a:cubicBezTo>
                    <a:lnTo>
                      <a:pt x="1979" y="8613"/>
                    </a:lnTo>
                    <a:lnTo>
                      <a:pt x="1979" y="8970"/>
                    </a:lnTo>
                    <a:lnTo>
                      <a:pt x="2146" y="8970"/>
                    </a:lnTo>
                    <a:cubicBezTo>
                      <a:pt x="2378" y="8981"/>
                      <a:pt x="4685" y="9662"/>
                      <a:pt x="5139" y="9875"/>
                    </a:cubicBezTo>
                    <a:cubicBezTo>
                      <a:pt x="5427" y="10010"/>
                      <a:pt x="5655" y="10067"/>
                      <a:pt x="5917" y="10067"/>
                    </a:cubicBezTo>
                    <a:cubicBezTo>
                      <a:pt x="6117" y="10067"/>
                      <a:pt x="6337" y="10034"/>
                      <a:pt x="6619" y="9976"/>
                    </a:cubicBezTo>
                    <a:cubicBezTo>
                      <a:pt x="7530" y="9790"/>
                      <a:pt x="8089" y="9706"/>
                      <a:pt x="8196" y="9706"/>
                    </a:cubicBezTo>
                    <a:cubicBezTo>
                      <a:pt x="8437" y="9706"/>
                      <a:pt x="9228" y="9348"/>
                      <a:pt x="9235" y="9344"/>
                    </a:cubicBezTo>
                    <a:cubicBezTo>
                      <a:pt x="9341" y="9296"/>
                      <a:pt x="9635" y="9181"/>
                      <a:pt x="9849" y="9098"/>
                    </a:cubicBezTo>
                    <a:cubicBezTo>
                      <a:pt x="10069" y="9013"/>
                      <a:pt x="10148" y="8982"/>
                      <a:pt x="10176" y="8967"/>
                    </a:cubicBezTo>
                    <a:cubicBezTo>
                      <a:pt x="10216" y="8947"/>
                      <a:pt x="10303" y="8883"/>
                      <a:pt x="10839" y="8464"/>
                    </a:cubicBezTo>
                    <a:cubicBezTo>
                      <a:pt x="11008" y="8332"/>
                      <a:pt x="11155" y="8217"/>
                      <a:pt x="11194" y="8190"/>
                    </a:cubicBezTo>
                    <a:cubicBezTo>
                      <a:pt x="11364" y="8068"/>
                      <a:pt x="11285" y="7748"/>
                      <a:pt x="11174" y="7560"/>
                    </a:cubicBezTo>
                    <a:close/>
                    <a:moveTo>
                      <a:pt x="0" y="9309"/>
                    </a:moveTo>
                    <a:lnTo>
                      <a:pt x="1630" y="9309"/>
                    </a:lnTo>
                    <a:lnTo>
                      <a:pt x="1630" y="5351"/>
                    </a:lnTo>
                    <a:lnTo>
                      <a:pt x="0" y="5351"/>
                    </a:lnTo>
                    <a:lnTo>
                      <a:pt x="0" y="9309"/>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nvGrpSpPr>
              <p:cNvPr id="276" name="Problem_Based_Learning" descr="{&quot;Key&quot;:&quot;POWER_USER_SHAPE_ICON&quot;,&quot;Value&quot;:&quot;POWER_USER_SHAPE_ICON_STYLE_1&quot;}">
                <a:extLst>
                  <a:ext uri="{FF2B5EF4-FFF2-40B4-BE49-F238E27FC236}">
                    <a16:creationId xmlns:a16="http://schemas.microsoft.com/office/drawing/2014/main" id="{7AC5FB0E-0675-4095-9C8D-4DCEF45A756F}"/>
                  </a:ext>
                </a:extLst>
              </p:cNvPr>
              <p:cNvGrpSpPr>
                <a:grpSpLocks noChangeAspect="1"/>
              </p:cNvGrpSpPr>
              <p:nvPr>
                <p:custDataLst>
                  <p:tags r:id="rId29"/>
                </p:custDataLst>
              </p:nvPr>
            </p:nvGrpSpPr>
            <p:grpSpPr bwMode="auto">
              <a:xfrm>
                <a:off x="7183815" y="778521"/>
                <a:ext cx="172311" cy="185669"/>
                <a:chOff x="7" y="8"/>
                <a:chExt cx="424" cy="471"/>
              </a:xfrm>
              <a:solidFill>
                <a:schemeClr val="bg1"/>
              </a:solidFill>
            </p:grpSpPr>
            <p:sp>
              <p:nvSpPr>
                <p:cNvPr id="277" name="Problem_Based_Learning">
                  <a:extLst>
                    <a:ext uri="{FF2B5EF4-FFF2-40B4-BE49-F238E27FC236}">
                      <a16:creationId xmlns:a16="http://schemas.microsoft.com/office/drawing/2014/main" id="{4C8C088B-0C25-4324-B644-D36CBA00FACF}"/>
                    </a:ext>
                  </a:extLst>
                </p:cNvPr>
                <p:cNvSpPr>
                  <a:spLocks/>
                </p:cNvSpPr>
                <p:nvPr>
                  <p:custDataLst>
                    <p:tags r:id="rId30"/>
                  </p:custDataLst>
                </p:nvPr>
              </p:nvSpPr>
              <p:spPr bwMode="auto">
                <a:xfrm>
                  <a:off x="214" y="8"/>
                  <a:ext cx="20" cy="69"/>
                </a:xfrm>
                <a:custGeom>
                  <a:avLst/>
                  <a:gdLst>
                    <a:gd name="T0" fmla="*/ 26 w 52"/>
                    <a:gd name="T1" fmla="*/ 183 h 183"/>
                    <a:gd name="T2" fmla="*/ 0 w 52"/>
                    <a:gd name="T3" fmla="*/ 156 h 183"/>
                    <a:gd name="T4" fmla="*/ 0 w 52"/>
                    <a:gd name="T5" fmla="*/ 26 h 183"/>
                    <a:gd name="T6" fmla="*/ 26 w 52"/>
                    <a:gd name="T7" fmla="*/ 0 h 183"/>
                    <a:gd name="T8" fmla="*/ 52 w 52"/>
                    <a:gd name="T9" fmla="*/ 26 h 183"/>
                    <a:gd name="T10" fmla="*/ 52 w 52"/>
                    <a:gd name="T11" fmla="*/ 156 h 183"/>
                    <a:gd name="T12" fmla="*/ 26 w 52"/>
                    <a:gd name="T13" fmla="*/ 183 h 183"/>
                  </a:gdLst>
                  <a:ahLst/>
                  <a:cxnLst>
                    <a:cxn ang="0">
                      <a:pos x="T0" y="T1"/>
                    </a:cxn>
                    <a:cxn ang="0">
                      <a:pos x="T2" y="T3"/>
                    </a:cxn>
                    <a:cxn ang="0">
                      <a:pos x="T4" y="T5"/>
                    </a:cxn>
                    <a:cxn ang="0">
                      <a:pos x="T6" y="T7"/>
                    </a:cxn>
                    <a:cxn ang="0">
                      <a:pos x="T8" y="T9"/>
                    </a:cxn>
                    <a:cxn ang="0">
                      <a:pos x="T10" y="T11"/>
                    </a:cxn>
                    <a:cxn ang="0">
                      <a:pos x="T12" y="T13"/>
                    </a:cxn>
                  </a:cxnLst>
                  <a:rect l="0" t="0" r="r" b="b"/>
                  <a:pathLst>
                    <a:path w="52" h="183">
                      <a:moveTo>
                        <a:pt x="26" y="183"/>
                      </a:moveTo>
                      <a:cubicBezTo>
                        <a:pt x="11" y="183"/>
                        <a:pt x="0" y="171"/>
                        <a:pt x="0" y="156"/>
                      </a:cubicBezTo>
                      <a:lnTo>
                        <a:pt x="0" y="26"/>
                      </a:lnTo>
                      <a:cubicBezTo>
                        <a:pt x="0" y="12"/>
                        <a:pt x="11" y="0"/>
                        <a:pt x="26" y="0"/>
                      </a:cubicBezTo>
                      <a:cubicBezTo>
                        <a:pt x="40" y="0"/>
                        <a:pt x="52" y="12"/>
                        <a:pt x="52" y="26"/>
                      </a:cubicBezTo>
                      <a:lnTo>
                        <a:pt x="52" y="156"/>
                      </a:lnTo>
                      <a:cubicBezTo>
                        <a:pt x="52" y="171"/>
                        <a:pt x="40" y="183"/>
                        <a:pt x="26" y="183"/>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noProof="0">
                    <a:ln>
                      <a:noFill/>
                    </a:ln>
                    <a:solidFill>
                      <a:prstClr val="black"/>
                    </a:solidFill>
                    <a:effectLst/>
                    <a:uLnTx/>
                    <a:uFillTx/>
                    <a:latin typeface="Calibri" panose="020F0502020204030204"/>
                    <a:ea typeface="+mn-ea"/>
                    <a:cs typeface="+mn-cs"/>
                  </a:endParaRPr>
                </a:p>
              </p:txBody>
            </p:sp>
            <p:sp>
              <p:nvSpPr>
                <p:cNvPr id="278" name="Problem_Based_Learning">
                  <a:extLst>
                    <a:ext uri="{FF2B5EF4-FFF2-40B4-BE49-F238E27FC236}">
                      <a16:creationId xmlns:a16="http://schemas.microsoft.com/office/drawing/2014/main" id="{19B75173-02FA-4394-A09D-5C2DA218C2C8}"/>
                    </a:ext>
                  </a:extLst>
                </p:cNvPr>
                <p:cNvSpPr>
                  <a:spLocks/>
                </p:cNvSpPr>
                <p:nvPr>
                  <p:custDataLst>
                    <p:tags r:id="rId31"/>
                  </p:custDataLst>
                </p:nvPr>
              </p:nvSpPr>
              <p:spPr bwMode="auto">
                <a:xfrm>
                  <a:off x="301" y="46"/>
                  <a:ext cx="51" cy="60"/>
                </a:xfrm>
                <a:custGeom>
                  <a:avLst/>
                  <a:gdLst>
                    <a:gd name="T0" fmla="*/ 29 w 137"/>
                    <a:gd name="T1" fmla="*/ 160 h 160"/>
                    <a:gd name="T2" fmla="*/ 14 w 137"/>
                    <a:gd name="T3" fmla="*/ 155 h 160"/>
                    <a:gd name="T4" fmla="*/ 9 w 137"/>
                    <a:gd name="T5" fmla="*/ 118 h 160"/>
                    <a:gd name="T6" fmla="*/ 87 w 137"/>
                    <a:gd name="T7" fmla="*/ 14 h 160"/>
                    <a:gd name="T8" fmla="*/ 123 w 137"/>
                    <a:gd name="T9" fmla="*/ 9 h 160"/>
                    <a:gd name="T10" fmla="*/ 128 w 137"/>
                    <a:gd name="T11" fmla="*/ 45 h 160"/>
                    <a:gd name="T12" fmla="*/ 50 w 137"/>
                    <a:gd name="T13" fmla="*/ 149 h 160"/>
                    <a:gd name="T14" fmla="*/ 29 w 137"/>
                    <a:gd name="T15" fmla="*/ 160 h 16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7" h="160">
                      <a:moveTo>
                        <a:pt x="29" y="160"/>
                      </a:moveTo>
                      <a:cubicBezTo>
                        <a:pt x="24" y="160"/>
                        <a:pt x="18" y="158"/>
                        <a:pt x="14" y="155"/>
                      </a:cubicBezTo>
                      <a:cubicBezTo>
                        <a:pt x="2" y="146"/>
                        <a:pt x="0" y="130"/>
                        <a:pt x="9" y="118"/>
                      </a:cubicBezTo>
                      <a:lnTo>
                        <a:pt x="87" y="14"/>
                      </a:lnTo>
                      <a:cubicBezTo>
                        <a:pt x="95" y="2"/>
                        <a:pt x="112" y="0"/>
                        <a:pt x="123" y="9"/>
                      </a:cubicBezTo>
                      <a:cubicBezTo>
                        <a:pt x="135" y="17"/>
                        <a:pt x="137" y="34"/>
                        <a:pt x="128" y="45"/>
                      </a:cubicBezTo>
                      <a:lnTo>
                        <a:pt x="50" y="149"/>
                      </a:lnTo>
                      <a:cubicBezTo>
                        <a:pt x="45" y="156"/>
                        <a:pt x="37" y="160"/>
                        <a:pt x="29" y="16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noProof="0">
                    <a:ln>
                      <a:noFill/>
                    </a:ln>
                    <a:solidFill>
                      <a:prstClr val="black"/>
                    </a:solidFill>
                    <a:effectLst/>
                    <a:uLnTx/>
                    <a:uFillTx/>
                    <a:latin typeface="Calibri" panose="020F0502020204030204"/>
                    <a:ea typeface="+mn-ea"/>
                    <a:cs typeface="+mn-cs"/>
                  </a:endParaRPr>
                </a:p>
              </p:txBody>
            </p:sp>
            <p:sp>
              <p:nvSpPr>
                <p:cNvPr id="279" name="Problem_Based_Learning">
                  <a:extLst>
                    <a:ext uri="{FF2B5EF4-FFF2-40B4-BE49-F238E27FC236}">
                      <a16:creationId xmlns:a16="http://schemas.microsoft.com/office/drawing/2014/main" id="{C96C1044-F86E-410D-AD40-16895F18DA50}"/>
                    </a:ext>
                  </a:extLst>
                </p:cNvPr>
                <p:cNvSpPr>
                  <a:spLocks/>
                </p:cNvSpPr>
                <p:nvPr>
                  <p:custDataLst>
                    <p:tags r:id="rId32"/>
                  </p:custDataLst>
                </p:nvPr>
              </p:nvSpPr>
              <p:spPr bwMode="auto">
                <a:xfrm>
                  <a:off x="85" y="46"/>
                  <a:ext cx="52" cy="60"/>
                </a:xfrm>
                <a:custGeom>
                  <a:avLst/>
                  <a:gdLst>
                    <a:gd name="T0" fmla="*/ 108 w 137"/>
                    <a:gd name="T1" fmla="*/ 160 h 160"/>
                    <a:gd name="T2" fmla="*/ 87 w 137"/>
                    <a:gd name="T3" fmla="*/ 149 h 160"/>
                    <a:gd name="T4" fmla="*/ 9 w 137"/>
                    <a:gd name="T5" fmla="*/ 45 h 160"/>
                    <a:gd name="T6" fmla="*/ 14 w 137"/>
                    <a:gd name="T7" fmla="*/ 9 h 160"/>
                    <a:gd name="T8" fmla="*/ 51 w 137"/>
                    <a:gd name="T9" fmla="*/ 14 h 160"/>
                    <a:gd name="T10" fmla="*/ 129 w 137"/>
                    <a:gd name="T11" fmla="*/ 118 h 160"/>
                    <a:gd name="T12" fmla="*/ 124 w 137"/>
                    <a:gd name="T13" fmla="*/ 155 h 160"/>
                    <a:gd name="T14" fmla="*/ 108 w 137"/>
                    <a:gd name="T15" fmla="*/ 160 h 16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7" h="160">
                      <a:moveTo>
                        <a:pt x="108" y="160"/>
                      </a:moveTo>
                      <a:cubicBezTo>
                        <a:pt x="100" y="160"/>
                        <a:pt x="92" y="156"/>
                        <a:pt x="87" y="149"/>
                      </a:cubicBezTo>
                      <a:lnTo>
                        <a:pt x="9" y="45"/>
                      </a:lnTo>
                      <a:cubicBezTo>
                        <a:pt x="0" y="34"/>
                        <a:pt x="3" y="17"/>
                        <a:pt x="14" y="9"/>
                      </a:cubicBezTo>
                      <a:cubicBezTo>
                        <a:pt x="26" y="0"/>
                        <a:pt x="42" y="2"/>
                        <a:pt x="51" y="14"/>
                      </a:cubicBezTo>
                      <a:lnTo>
                        <a:pt x="129" y="118"/>
                      </a:lnTo>
                      <a:cubicBezTo>
                        <a:pt x="137" y="130"/>
                        <a:pt x="135" y="146"/>
                        <a:pt x="124" y="155"/>
                      </a:cubicBezTo>
                      <a:cubicBezTo>
                        <a:pt x="119" y="158"/>
                        <a:pt x="113" y="160"/>
                        <a:pt x="108" y="16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noProof="0">
                    <a:ln>
                      <a:noFill/>
                    </a:ln>
                    <a:solidFill>
                      <a:prstClr val="black"/>
                    </a:solidFill>
                    <a:effectLst/>
                    <a:uLnTx/>
                    <a:uFillTx/>
                    <a:latin typeface="Calibri" panose="020F0502020204030204"/>
                    <a:ea typeface="+mn-ea"/>
                    <a:cs typeface="+mn-cs"/>
                  </a:endParaRPr>
                </a:p>
              </p:txBody>
            </p:sp>
            <p:sp>
              <p:nvSpPr>
                <p:cNvPr id="280" name="Problem_Based_Learning">
                  <a:extLst>
                    <a:ext uri="{FF2B5EF4-FFF2-40B4-BE49-F238E27FC236}">
                      <a16:creationId xmlns:a16="http://schemas.microsoft.com/office/drawing/2014/main" id="{B5468B2A-37FC-432E-A9EA-9A4927DEAEA3}"/>
                    </a:ext>
                  </a:extLst>
                </p:cNvPr>
                <p:cNvSpPr>
                  <a:spLocks/>
                </p:cNvSpPr>
                <p:nvPr>
                  <p:custDataLst>
                    <p:tags r:id="rId33"/>
                  </p:custDataLst>
                </p:nvPr>
              </p:nvSpPr>
              <p:spPr bwMode="auto">
                <a:xfrm>
                  <a:off x="7" y="134"/>
                  <a:ext cx="61" cy="41"/>
                </a:xfrm>
                <a:custGeom>
                  <a:avLst/>
                  <a:gdLst>
                    <a:gd name="T0" fmla="*/ 134 w 164"/>
                    <a:gd name="T1" fmla="*/ 108 h 108"/>
                    <a:gd name="T2" fmla="*/ 123 w 164"/>
                    <a:gd name="T3" fmla="*/ 106 h 108"/>
                    <a:gd name="T4" fmla="*/ 18 w 164"/>
                    <a:gd name="T5" fmla="*/ 53 h 108"/>
                    <a:gd name="T6" fmla="*/ 7 w 164"/>
                    <a:gd name="T7" fmla="*/ 18 h 108"/>
                    <a:gd name="T8" fmla="*/ 42 w 164"/>
                    <a:gd name="T9" fmla="*/ 7 h 108"/>
                    <a:gd name="T10" fmla="*/ 146 w 164"/>
                    <a:gd name="T11" fmla="*/ 59 h 108"/>
                    <a:gd name="T12" fmla="*/ 158 w 164"/>
                    <a:gd name="T13" fmla="*/ 94 h 108"/>
                    <a:gd name="T14" fmla="*/ 134 w 164"/>
                    <a:gd name="T15" fmla="*/ 108 h 1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4" h="108">
                      <a:moveTo>
                        <a:pt x="134" y="108"/>
                      </a:moveTo>
                      <a:cubicBezTo>
                        <a:pt x="130" y="108"/>
                        <a:pt x="126" y="107"/>
                        <a:pt x="123" y="106"/>
                      </a:cubicBezTo>
                      <a:lnTo>
                        <a:pt x="18" y="53"/>
                      </a:lnTo>
                      <a:cubicBezTo>
                        <a:pt x="6" y="47"/>
                        <a:pt x="0" y="31"/>
                        <a:pt x="7" y="18"/>
                      </a:cubicBezTo>
                      <a:cubicBezTo>
                        <a:pt x="13" y="6"/>
                        <a:pt x="29" y="0"/>
                        <a:pt x="42" y="7"/>
                      </a:cubicBezTo>
                      <a:lnTo>
                        <a:pt x="146" y="59"/>
                      </a:lnTo>
                      <a:cubicBezTo>
                        <a:pt x="159" y="65"/>
                        <a:pt x="164" y="81"/>
                        <a:pt x="158" y="94"/>
                      </a:cubicBezTo>
                      <a:cubicBezTo>
                        <a:pt x="153" y="103"/>
                        <a:pt x="144" y="108"/>
                        <a:pt x="134" y="108"/>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noProof="0">
                    <a:ln>
                      <a:noFill/>
                    </a:ln>
                    <a:solidFill>
                      <a:prstClr val="black"/>
                    </a:solidFill>
                    <a:effectLst/>
                    <a:uLnTx/>
                    <a:uFillTx/>
                    <a:latin typeface="Calibri" panose="020F0502020204030204"/>
                    <a:ea typeface="+mn-ea"/>
                    <a:cs typeface="+mn-cs"/>
                  </a:endParaRPr>
                </a:p>
              </p:txBody>
            </p:sp>
            <p:sp>
              <p:nvSpPr>
                <p:cNvPr id="281" name="Problem_Based_Learning">
                  <a:extLst>
                    <a:ext uri="{FF2B5EF4-FFF2-40B4-BE49-F238E27FC236}">
                      <a16:creationId xmlns:a16="http://schemas.microsoft.com/office/drawing/2014/main" id="{2F014879-B747-4E17-B183-4770D5655A95}"/>
                    </a:ext>
                  </a:extLst>
                </p:cNvPr>
                <p:cNvSpPr>
                  <a:spLocks/>
                </p:cNvSpPr>
                <p:nvPr>
                  <p:custDataLst>
                    <p:tags r:id="rId34"/>
                  </p:custDataLst>
                </p:nvPr>
              </p:nvSpPr>
              <p:spPr bwMode="auto">
                <a:xfrm>
                  <a:off x="369" y="134"/>
                  <a:ext cx="62" cy="41"/>
                </a:xfrm>
                <a:custGeom>
                  <a:avLst/>
                  <a:gdLst>
                    <a:gd name="T0" fmla="*/ 30 w 164"/>
                    <a:gd name="T1" fmla="*/ 108 h 108"/>
                    <a:gd name="T2" fmla="*/ 7 w 164"/>
                    <a:gd name="T3" fmla="*/ 94 h 108"/>
                    <a:gd name="T4" fmla="*/ 18 w 164"/>
                    <a:gd name="T5" fmla="*/ 59 h 108"/>
                    <a:gd name="T6" fmla="*/ 123 w 164"/>
                    <a:gd name="T7" fmla="*/ 7 h 108"/>
                    <a:gd name="T8" fmla="*/ 158 w 164"/>
                    <a:gd name="T9" fmla="*/ 18 h 108"/>
                    <a:gd name="T10" fmla="*/ 146 w 164"/>
                    <a:gd name="T11" fmla="*/ 53 h 108"/>
                    <a:gd name="T12" fmla="*/ 42 w 164"/>
                    <a:gd name="T13" fmla="*/ 106 h 108"/>
                    <a:gd name="T14" fmla="*/ 30 w 164"/>
                    <a:gd name="T15" fmla="*/ 108 h 1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4" h="108">
                      <a:moveTo>
                        <a:pt x="30" y="108"/>
                      </a:moveTo>
                      <a:cubicBezTo>
                        <a:pt x="20" y="108"/>
                        <a:pt x="11" y="103"/>
                        <a:pt x="7" y="94"/>
                      </a:cubicBezTo>
                      <a:cubicBezTo>
                        <a:pt x="0" y="81"/>
                        <a:pt x="5" y="65"/>
                        <a:pt x="18" y="59"/>
                      </a:cubicBezTo>
                      <a:lnTo>
                        <a:pt x="123" y="7"/>
                      </a:lnTo>
                      <a:cubicBezTo>
                        <a:pt x="135" y="0"/>
                        <a:pt x="151" y="6"/>
                        <a:pt x="158" y="18"/>
                      </a:cubicBezTo>
                      <a:cubicBezTo>
                        <a:pt x="164" y="31"/>
                        <a:pt x="159" y="47"/>
                        <a:pt x="146" y="53"/>
                      </a:cubicBezTo>
                      <a:lnTo>
                        <a:pt x="42" y="106"/>
                      </a:lnTo>
                      <a:cubicBezTo>
                        <a:pt x="38" y="107"/>
                        <a:pt x="34" y="108"/>
                        <a:pt x="30" y="108"/>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noProof="0">
                    <a:ln>
                      <a:noFill/>
                    </a:ln>
                    <a:solidFill>
                      <a:prstClr val="black"/>
                    </a:solidFill>
                    <a:effectLst/>
                    <a:uLnTx/>
                    <a:uFillTx/>
                    <a:latin typeface="Calibri" panose="020F0502020204030204"/>
                    <a:ea typeface="+mn-ea"/>
                    <a:cs typeface="+mn-cs"/>
                  </a:endParaRPr>
                </a:p>
              </p:txBody>
            </p:sp>
            <p:sp>
              <p:nvSpPr>
                <p:cNvPr id="282" name="Problem_Based_Learning">
                  <a:extLst>
                    <a:ext uri="{FF2B5EF4-FFF2-40B4-BE49-F238E27FC236}">
                      <a16:creationId xmlns:a16="http://schemas.microsoft.com/office/drawing/2014/main" id="{049973DB-A914-4E21-B322-4CD795805486}"/>
                    </a:ext>
                  </a:extLst>
                </p:cNvPr>
                <p:cNvSpPr>
                  <a:spLocks noEditPoints="1"/>
                </p:cNvSpPr>
                <p:nvPr>
                  <p:custDataLst>
                    <p:tags r:id="rId35"/>
                  </p:custDataLst>
                </p:nvPr>
              </p:nvSpPr>
              <p:spPr bwMode="auto">
                <a:xfrm>
                  <a:off x="87" y="106"/>
                  <a:ext cx="303" cy="373"/>
                </a:xfrm>
                <a:custGeom>
                  <a:avLst/>
                  <a:gdLst>
                    <a:gd name="T0" fmla="*/ 730 w 808"/>
                    <a:gd name="T1" fmla="*/ 391 h 989"/>
                    <a:gd name="T2" fmla="*/ 730 w 808"/>
                    <a:gd name="T3" fmla="*/ 365 h 989"/>
                    <a:gd name="T4" fmla="*/ 365 w 808"/>
                    <a:gd name="T5" fmla="*/ 0 h 989"/>
                    <a:gd name="T6" fmla="*/ 0 w 808"/>
                    <a:gd name="T7" fmla="*/ 365 h 989"/>
                    <a:gd name="T8" fmla="*/ 78 w 808"/>
                    <a:gd name="T9" fmla="*/ 590 h 989"/>
                    <a:gd name="T10" fmla="*/ 78 w 808"/>
                    <a:gd name="T11" fmla="*/ 989 h 989"/>
                    <a:gd name="T12" fmla="*/ 547 w 808"/>
                    <a:gd name="T13" fmla="*/ 989 h 989"/>
                    <a:gd name="T14" fmla="*/ 547 w 808"/>
                    <a:gd name="T15" fmla="*/ 860 h 989"/>
                    <a:gd name="T16" fmla="*/ 704 w 808"/>
                    <a:gd name="T17" fmla="*/ 704 h 989"/>
                    <a:gd name="T18" fmla="*/ 704 w 808"/>
                    <a:gd name="T19" fmla="*/ 626 h 989"/>
                    <a:gd name="T20" fmla="*/ 782 w 808"/>
                    <a:gd name="T21" fmla="*/ 626 h 989"/>
                    <a:gd name="T22" fmla="*/ 808 w 808"/>
                    <a:gd name="T23" fmla="*/ 600 h 989"/>
                    <a:gd name="T24" fmla="*/ 730 w 808"/>
                    <a:gd name="T25" fmla="*/ 391 h 989"/>
                    <a:gd name="T26" fmla="*/ 587 w 808"/>
                    <a:gd name="T27" fmla="*/ 387 h 989"/>
                    <a:gd name="T28" fmla="*/ 547 w 808"/>
                    <a:gd name="T29" fmla="*/ 365 h 989"/>
                    <a:gd name="T30" fmla="*/ 522 w 808"/>
                    <a:gd name="T31" fmla="*/ 385 h 989"/>
                    <a:gd name="T32" fmla="*/ 520 w 808"/>
                    <a:gd name="T33" fmla="*/ 474 h 989"/>
                    <a:gd name="T34" fmla="*/ 410 w 808"/>
                    <a:gd name="T35" fmla="*/ 473 h 989"/>
                    <a:gd name="T36" fmla="*/ 390 w 808"/>
                    <a:gd name="T37" fmla="*/ 449 h 989"/>
                    <a:gd name="T38" fmla="*/ 412 w 808"/>
                    <a:gd name="T39" fmla="*/ 409 h 989"/>
                    <a:gd name="T40" fmla="*/ 368 w 808"/>
                    <a:gd name="T41" fmla="*/ 364 h 989"/>
                    <a:gd name="T42" fmla="*/ 325 w 808"/>
                    <a:gd name="T43" fmla="*/ 409 h 989"/>
                    <a:gd name="T44" fmla="*/ 347 w 808"/>
                    <a:gd name="T45" fmla="*/ 449 h 989"/>
                    <a:gd name="T46" fmla="*/ 326 w 808"/>
                    <a:gd name="T47" fmla="*/ 473 h 989"/>
                    <a:gd name="T48" fmla="*/ 214 w 808"/>
                    <a:gd name="T49" fmla="*/ 474 h 989"/>
                    <a:gd name="T50" fmla="*/ 213 w 808"/>
                    <a:gd name="T51" fmla="*/ 385 h 989"/>
                    <a:gd name="T52" fmla="*/ 188 w 808"/>
                    <a:gd name="T53" fmla="*/ 365 h 989"/>
                    <a:gd name="T54" fmla="*/ 148 w 808"/>
                    <a:gd name="T55" fmla="*/ 387 h 989"/>
                    <a:gd name="T56" fmla="*/ 104 w 808"/>
                    <a:gd name="T57" fmla="*/ 344 h 989"/>
                    <a:gd name="T58" fmla="*/ 148 w 808"/>
                    <a:gd name="T59" fmla="*/ 300 h 989"/>
                    <a:gd name="T60" fmla="*/ 188 w 808"/>
                    <a:gd name="T61" fmla="*/ 322 h 989"/>
                    <a:gd name="T62" fmla="*/ 213 w 808"/>
                    <a:gd name="T63" fmla="*/ 302 h 989"/>
                    <a:gd name="T64" fmla="*/ 216 w 808"/>
                    <a:gd name="T65" fmla="*/ 213 h 989"/>
                    <a:gd name="T66" fmla="*/ 326 w 808"/>
                    <a:gd name="T67" fmla="*/ 203 h 989"/>
                    <a:gd name="T68" fmla="*/ 347 w 808"/>
                    <a:gd name="T69" fmla="*/ 227 h 989"/>
                    <a:gd name="T70" fmla="*/ 325 w 808"/>
                    <a:gd name="T71" fmla="*/ 267 h 989"/>
                    <a:gd name="T72" fmla="*/ 368 w 808"/>
                    <a:gd name="T73" fmla="*/ 312 h 989"/>
                    <a:gd name="T74" fmla="*/ 412 w 808"/>
                    <a:gd name="T75" fmla="*/ 267 h 989"/>
                    <a:gd name="T76" fmla="*/ 390 w 808"/>
                    <a:gd name="T77" fmla="*/ 227 h 989"/>
                    <a:gd name="T78" fmla="*/ 410 w 808"/>
                    <a:gd name="T79" fmla="*/ 203 h 989"/>
                    <a:gd name="T80" fmla="*/ 521 w 808"/>
                    <a:gd name="T81" fmla="*/ 213 h 989"/>
                    <a:gd name="T82" fmla="*/ 522 w 808"/>
                    <a:gd name="T83" fmla="*/ 302 h 989"/>
                    <a:gd name="T84" fmla="*/ 547 w 808"/>
                    <a:gd name="T85" fmla="*/ 322 h 989"/>
                    <a:gd name="T86" fmla="*/ 587 w 808"/>
                    <a:gd name="T87" fmla="*/ 300 h 989"/>
                    <a:gd name="T88" fmla="*/ 631 w 808"/>
                    <a:gd name="T89" fmla="*/ 344 h 989"/>
                    <a:gd name="T90" fmla="*/ 587 w 808"/>
                    <a:gd name="T91" fmla="*/ 387 h 9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8" h="989">
                      <a:moveTo>
                        <a:pt x="730" y="391"/>
                      </a:moveTo>
                      <a:lnTo>
                        <a:pt x="730" y="365"/>
                      </a:lnTo>
                      <a:cubicBezTo>
                        <a:pt x="730" y="163"/>
                        <a:pt x="566" y="0"/>
                        <a:pt x="365" y="0"/>
                      </a:cubicBezTo>
                      <a:cubicBezTo>
                        <a:pt x="163" y="0"/>
                        <a:pt x="0" y="163"/>
                        <a:pt x="0" y="365"/>
                      </a:cubicBezTo>
                      <a:cubicBezTo>
                        <a:pt x="0" y="450"/>
                        <a:pt x="29" y="528"/>
                        <a:pt x="78" y="590"/>
                      </a:cubicBezTo>
                      <a:lnTo>
                        <a:pt x="78" y="989"/>
                      </a:lnTo>
                      <a:lnTo>
                        <a:pt x="547" y="989"/>
                      </a:lnTo>
                      <a:lnTo>
                        <a:pt x="547" y="860"/>
                      </a:lnTo>
                      <a:cubicBezTo>
                        <a:pt x="634" y="860"/>
                        <a:pt x="704" y="790"/>
                        <a:pt x="704" y="704"/>
                      </a:cubicBezTo>
                      <a:lnTo>
                        <a:pt x="704" y="626"/>
                      </a:lnTo>
                      <a:lnTo>
                        <a:pt x="782" y="626"/>
                      </a:lnTo>
                      <a:cubicBezTo>
                        <a:pt x="796" y="626"/>
                        <a:pt x="808" y="614"/>
                        <a:pt x="808" y="600"/>
                      </a:cubicBezTo>
                      <a:cubicBezTo>
                        <a:pt x="808" y="593"/>
                        <a:pt x="730" y="391"/>
                        <a:pt x="730" y="391"/>
                      </a:cubicBezTo>
                      <a:close/>
                      <a:moveTo>
                        <a:pt x="587" y="387"/>
                      </a:moveTo>
                      <a:cubicBezTo>
                        <a:pt x="562" y="381"/>
                        <a:pt x="566" y="365"/>
                        <a:pt x="547" y="365"/>
                      </a:cubicBezTo>
                      <a:cubicBezTo>
                        <a:pt x="528" y="365"/>
                        <a:pt x="524" y="378"/>
                        <a:pt x="522" y="385"/>
                      </a:cubicBezTo>
                      <a:cubicBezTo>
                        <a:pt x="519" y="407"/>
                        <a:pt x="520" y="474"/>
                        <a:pt x="520" y="474"/>
                      </a:cubicBezTo>
                      <a:cubicBezTo>
                        <a:pt x="520" y="474"/>
                        <a:pt x="432" y="477"/>
                        <a:pt x="410" y="473"/>
                      </a:cubicBezTo>
                      <a:cubicBezTo>
                        <a:pt x="402" y="472"/>
                        <a:pt x="390" y="468"/>
                        <a:pt x="390" y="449"/>
                      </a:cubicBezTo>
                      <a:cubicBezTo>
                        <a:pt x="390" y="430"/>
                        <a:pt x="406" y="434"/>
                        <a:pt x="412" y="409"/>
                      </a:cubicBezTo>
                      <a:cubicBezTo>
                        <a:pt x="414" y="383"/>
                        <a:pt x="392" y="364"/>
                        <a:pt x="368" y="364"/>
                      </a:cubicBezTo>
                      <a:cubicBezTo>
                        <a:pt x="344" y="364"/>
                        <a:pt x="323" y="383"/>
                        <a:pt x="325" y="409"/>
                      </a:cubicBezTo>
                      <a:cubicBezTo>
                        <a:pt x="331" y="434"/>
                        <a:pt x="347" y="430"/>
                        <a:pt x="347" y="449"/>
                      </a:cubicBezTo>
                      <a:cubicBezTo>
                        <a:pt x="347" y="468"/>
                        <a:pt x="334" y="472"/>
                        <a:pt x="326" y="473"/>
                      </a:cubicBezTo>
                      <a:cubicBezTo>
                        <a:pt x="305" y="477"/>
                        <a:pt x="214" y="474"/>
                        <a:pt x="214" y="474"/>
                      </a:cubicBezTo>
                      <a:cubicBezTo>
                        <a:pt x="214" y="474"/>
                        <a:pt x="216" y="407"/>
                        <a:pt x="213" y="385"/>
                      </a:cubicBezTo>
                      <a:cubicBezTo>
                        <a:pt x="212" y="377"/>
                        <a:pt x="207" y="365"/>
                        <a:pt x="188" y="365"/>
                      </a:cubicBezTo>
                      <a:cubicBezTo>
                        <a:pt x="169" y="365"/>
                        <a:pt x="174" y="381"/>
                        <a:pt x="148" y="387"/>
                      </a:cubicBezTo>
                      <a:cubicBezTo>
                        <a:pt x="123" y="389"/>
                        <a:pt x="104" y="368"/>
                        <a:pt x="104" y="344"/>
                      </a:cubicBezTo>
                      <a:cubicBezTo>
                        <a:pt x="104" y="319"/>
                        <a:pt x="123" y="298"/>
                        <a:pt x="148" y="300"/>
                      </a:cubicBezTo>
                      <a:cubicBezTo>
                        <a:pt x="174" y="306"/>
                        <a:pt x="169" y="322"/>
                        <a:pt x="188" y="322"/>
                      </a:cubicBezTo>
                      <a:cubicBezTo>
                        <a:pt x="207" y="322"/>
                        <a:pt x="212" y="310"/>
                        <a:pt x="213" y="302"/>
                      </a:cubicBezTo>
                      <a:cubicBezTo>
                        <a:pt x="216" y="280"/>
                        <a:pt x="216" y="213"/>
                        <a:pt x="216" y="213"/>
                      </a:cubicBezTo>
                      <a:cubicBezTo>
                        <a:pt x="216" y="213"/>
                        <a:pt x="305" y="199"/>
                        <a:pt x="326" y="203"/>
                      </a:cubicBezTo>
                      <a:cubicBezTo>
                        <a:pt x="334" y="204"/>
                        <a:pt x="347" y="208"/>
                        <a:pt x="347" y="227"/>
                      </a:cubicBezTo>
                      <a:cubicBezTo>
                        <a:pt x="347" y="246"/>
                        <a:pt x="331" y="242"/>
                        <a:pt x="325" y="267"/>
                      </a:cubicBezTo>
                      <a:cubicBezTo>
                        <a:pt x="323" y="293"/>
                        <a:pt x="344" y="312"/>
                        <a:pt x="368" y="312"/>
                      </a:cubicBezTo>
                      <a:cubicBezTo>
                        <a:pt x="392" y="312"/>
                        <a:pt x="414" y="293"/>
                        <a:pt x="412" y="267"/>
                      </a:cubicBezTo>
                      <a:cubicBezTo>
                        <a:pt x="406" y="242"/>
                        <a:pt x="390" y="246"/>
                        <a:pt x="390" y="227"/>
                      </a:cubicBezTo>
                      <a:cubicBezTo>
                        <a:pt x="390" y="208"/>
                        <a:pt x="402" y="204"/>
                        <a:pt x="410" y="203"/>
                      </a:cubicBezTo>
                      <a:cubicBezTo>
                        <a:pt x="432" y="199"/>
                        <a:pt x="521" y="213"/>
                        <a:pt x="521" y="213"/>
                      </a:cubicBezTo>
                      <a:cubicBezTo>
                        <a:pt x="521" y="213"/>
                        <a:pt x="519" y="280"/>
                        <a:pt x="522" y="302"/>
                      </a:cubicBezTo>
                      <a:cubicBezTo>
                        <a:pt x="524" y="310"/>
                        <a:pt x="528" y="322"/>
                        <a:pt x="547" y="322"/>
                      </a:cubicBezTo>
                      <a:cubicBezTo>
                        <a:pt x="566" y="322"/>
                        <a:pt x="562" y="306"/>
                        <a:pt x="587" y="300"/>
                      </a:cubicBezTo>
                      <a:cubicBezTo>
                        <a:pt x="613" y="298"/>
                        <a:pt x="631" y="319"/>
                        <a:pt x="631" y="344"/>
                      </a:cubicBezTo>
                      <a:cubicBezTo>
                        <a:pt x="631" y="368"/>
                        <a:pt x="613" y="389"/>
                        <a:pt x="587" y="387"/>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noProof="0">
                    <a:ln>
                      <a:noFill/>
                    </a:ln>
                    <a:solidFill>
                      <a:prstClr val="black"/>
                    </a:solidFill>
                    <a:effectLst/>
                    <a:uLnTx/>
                    <a:uFillTx/>
                    <a:latin typeface="Calibri" panose="020F0502020204030204"/>
                    <a:ea typeface="+mn-ea"/>
                    <a:cs typeface="+mn-cs"/>
                  </a:endParaRPr>
                </a:p>
              </p:txBody>
            </p:sp>
          </p:grpSp>
        </p:grpSp>
      </p:grpSp>
      <p:grpSp>
        <p:nvGrpSpPr>
          <p:cNvPr id="121" name="Groep 120">
            <a:extLst>
              <a:ext uri="{FF2B5EF4-FFF2-40B4-BE49-F238E27FC236}">
                <a16:creationId xmlns:a16="http://schemas.microsoft.com/office/drawing/2014/main" id="{49B9A544-F0D6-45B1-ABF0-B24732F0AFBB}"/>
              </a:ext>
            </a:extLst>
          </p:cNvPr>
          <p:cNvGrpSpPr/>
          <p:nvPr/>
        </p:nvGrpSpPr>
        <p:grpSpPr>
          <a:xfrm>
            <a:off x="7995639" y="3971869"/>
            <a:ext cx="288000" cy="288000"/>
            <a:chOff x="7536161" y="3828294"/>
            <a:chExt cx="329184" cy="329184"/>
          </a:xfrm>
        </p:grpSpPr>
        <p:sp>
          <p:nvSpPr>
            <p:cNvPr id="269" name="Oval 221">
              <a:extLst>
                <a:ext uri="{FF2B5EF4-FFF2-40B4-BE49-F238E27FC236}">
                  <a16:creationId xmlns:a16="http://schemas.microsoft.com/office/drawing/2014/main" id="{39293B5A-0A52-4E11-821E-CB1332EDB023}"/>
                </a:ext>
              </a:extLst>
            </p:cNvPr>
            <p:cNvSpPr/>
            <p:nvPr/>
          </p:nvSpPr>
          <p:spPr>
            <a:xfrm>
              <a:off x="7536161" y="3828294"/>
              <a:ext cx="329184" cy="329184"/>
            </a:xfrm>
            <a:prstGeom prst="ellipse">
              <a:avLst/>
            </a:prstGeom>
            <a:solidFill>
              <a:srgbClr val="7D2B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70" name="Group 1">
              <a:extLst>
                <a:ext uri="{FF2B5EF4-FFF2-40B4-BE49-F238E27FC236}">
                  <a16:creationId xmlns:a16="http://schemas.microsoft.com/office/drawing/2014/main" id="{454167FC-C076-4D47-855B-BFE3A50B53DD}"/>
                </a:ext>
              </a:extLst>
            </p:cNvPr>
            <p:cNvGrpSpPr/>
            <p:nvPr/>
          </p:nvGrpSpPr>
          <p:grpSpPr>
            <a:xfrm>
              <a:off x="7558082" y="3918651"/>
              <a:ext cx="268066" cy="148469"/>
              <a:chOff x="4827318" y="3775979"/>
              <a:chExt cx="371092" cy="205530"/>
            </a:xfrm>
          </p:grpSpPr>
          <p:sp>
            <p:nvSpPr>
              <p:cNvPr id="271" name="Tag2" descr="{&quot;Key&quot;:&quot;POWER_USER_SHAPE_ICON&quot;,&quot;Value&quot;:&quot;POWER_USER_SHAPE_ICON_STYLE_1&quot;}">
                <a:extLst>
                  <a:ext uri="{FF2B5EF4-FFF2-40B4-BE49-F238E27FC236}">
                    <a16:creationId xmlns:a16="http://schemas.microsoft.com/office/drawing/2014/main" id="{6FBA3D49-F1BD-4DE4-991A-62D0CBDD6DCA}"/>
                  </a:ext>
                </a:extLst>
              </p:cNvPr>
              <p:cNvSpPr>
                <a:spLocks noChangeAspect="1" noEditPoints="1"/>
              </p:cNvSpPr>
              <p:nvPr>
                <p:custDataLst>
                  <p:tags r:id="rId26"/>
                </p:custDataLst>
              </p:nvPr>
            </p:nvSpPr>
            <p:spPr bwMode="auto">
              <a:xfrm>
                <a:off x="4827318" y="3775979"/>
                <a:ext cx="179598" cy="178796"/>
              </a:xfrm>
              <a:custGeom>
                <a:avLst/>
                <a:gdLst>
                  <a:gd name="T0" fmla="*/ 537 w 621"/>
                  <a:gd name="T1" fmla="*/ 117 h 617"/>
                  <a:gd name="T2" fmla="*/ 504 w 621"/>
                  <a:gd name="T3" fmla="*/ 83 h 617"/>
                  <a:gd name="T4" fmla="*/ 537 w 621"/>
                  <a:gd name="T5" fmla="*/ 50 h 617"/>
                  <a:gd name="T6" fmla="*/ 571 w 621"/>
                  <a:gd name="T7" fmla="*/ 83 h 617"/>
                  <a:gd name="T8" fmla="*/ 537 w 621"/>
                  <a:gd name="T9" fmla="*/ 117 h 617"/>
                  <a:gd name="T10" fmla="*/ 601 w 621"/>
                  <a:gd name="T11" fmla="*/ 0 h 617"/>
                  <a:gd name="T12" fmla="*/ 600 w 621"/>
                  <a:gd name="T13" fmla="*/ 0 h 617"/>
                  <a:gd name="T14" fmla="*/ 599 w 621"/>
                  <a:gd name="T15" fmla="*/ 0 h 617"/>
                  <a:gd name="T16" fmla="*/ 341 w 621"/>
                  <a:gd name="T17" fmla="*/ 0 h 617"/>
                  <a:gd name="T18" fmla="*/ 318 w 621"/>
                  <a:gd name="T19" fmla="*/ 12 h 617"/>
                  <a:gd name="T20" fmla="*/ 16 w 621"/>
                  <a:gd name="T21" fmla="*/ 314 h 617"/>
                  <a:gd name="T22" fmla="*/ 16 w 621"/>
                  <a:gd name="T23" fmla="*/ 372 h 617"/>
                  <a:gd name="T24" fmla="*/ 248 w 621"/>
                  <a:gd name="T25" fmla="*/ 605 h 617"/>
                  <a:gd name="T26" fmla="*/ 277 w 621"/>
                  <a:gd name="T27" fmla="*/ 617 h 617"/>
                  <a:gd name="T28" fmla="*/ 306 w 621"/>
                  <a:gd name="T29" fmla="*/ 605 h 617"/>
                  <a:gd name="T30" fmla="*/ 608 w 621"/>
                  <a:gd name="T31" fmla="*/ 302 h 617"/>
                  <a:gd name="T32" fmla="*/ 621 w 621"/>
                  <a:gd name="T33" fmla="*/ 280 h 617"/>
                  <a:gd name="T34" fmla="*/ 621 w 621"/>
                  <a:gd name="T35" fmla="*/ 20 h 617"/>
                  <a:gd name="T36" fmla="*/ 601 w 621"/>
                  <a:gd name="T37" fmla="*/ 0 h 6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21" h="617">
                    <a:moveTo>
                      <a:pt x="537" y="117"/>
                    </a:moveTo>
                    <a:cubicBezTo>
                      <a:pt x="519" y="117"/>
                      <a:pt x="504" y="102"/>
                      <a:pt x="504" y="83"/>
                    </a:cubicBezTo>
                    <a:cubicBezTo>
                      <a:pt x="504" y="65"/>
                      <a:pt x="519" y="50"/>
                      <a:pt x="537" y="50"/>
                    </a:cubicBezTo>
                    <a:cubicBezTo>
                      <a:pt x="556" y="50"/>
                      <a:pt x="571" y="65"/>
                      <a:pt x="571" y="83"/>
                    </a:cubicBezTo>
                    <a:cubicBezTo>
                      <a:pt x="571" y="102"/>
                      <a:pt x="556" y="117"/>
                      <a:pt x="537" y="117"/>
                    </a:cubicBezTo>
                    <a:close/>
                    <a:moveTo>
                      <a:pt x="601" y="0"/>
                    </a:moveTo>
                    <a:lnTo>
                      <a:pt x="600" y="0"/>
                    </a:lnTo>
                    <a:cubicBezTo>
                      <a:pt x="600" y="0"/>
                      <a:pt x="600" y="0"/>
                      <a:pt x="599" y="0"/>
                    </a:cubicBezTo>
                    <a:lnTo>
                      <a:pt x="341" y="0"/>
                    </a:lnTo>
                    <a:cubicBezTo>
                      <a:pt x="334" y="0"/>
                      <a:pt x="320" y="10"/>
                      <a:pt x="318" y="12"/>
                    </a:cubicBezTo>
                    <a:lnTo>
                      <a:pt x="16" y="314"/>
                    </a:lnTo>
                    <a:cubicBezTo>
                      <a:pt x="0" y="330"/>
                      <a:pt x="0" y="356"/>
                      <a:pt x="16" y="372"/>
                    </a:cubicBezTo>
                    <a:lnTo>
                      <a:pt x="248" y="605"/>
                    </a:lnTo>
                    <a:cubicBezTo>
                      <a:pt x="256" y="613"/>
                      <a:pt x="267" y="617"/>
                      <a:pt x="277" y="617"/>
                    </a:cubicBezTo>
                    <a:cubicBezTo>
                      <a:pt x="288" y="617"/>
                      <a:pt x="298" y="613"/>
                      <a:pt x="306" y="605"/>
                    </a:cubicBezTo>
                    <a:lnTo>
                      <a:pt x="608" y="302"/>
                    </a:lnTo>
                    <a:cubicBezTo>
                      <a:pt x="610" y="300"/>
                      <a:pt x="621" y="288"/>
                      <a:pt x="621" y="280"/>
                    </a:cubicBezTo>
                    <a:lnTo>
                      <a:pt x="621" y="20"/>
                    </a:lnTo>
                    <a:cubicBezTo>
                      <a:pt x="621" y="9"/>
                      <a:pt x="613" y="0"/>
                      <a:pt x="601"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72" name="Shopping_Basket2" descr="{&quot;Key&quot;:&quot;POWER_USER_SHAPE_ICON&quot;,&quot;Value&quot;:&quot;POWER_USER_SHAPE_ICON_STYLE_1&quot;}">
                <a:extLst>
                  <a:ext uri="{FF2B5EF4-FFF2-40B4-BE49-F238E27FC236}">
                    <a16:creationId xmlns:a16="http://schemas.microsoft.com/office/drawing/2014/main" id="{ECED8DAE-1C8B-4B3F-BF51-6474A8D86000}"/>
                  </a:ext>
                </a:extLst>
              </p:cNvPr>
              <p:cNvSpPr>
                <a:spLocks noChangeAspect="1" noChangeArrowheads="1"/>
              </p:cNvSpPr>
              <p:nvPr>
                <p:custDataLst>
                  <p:tags r:id="rId27"/>
                </p:custDataLst>
              </p:nvPr>
            </p:nvSpPr>
            <p:spPr bwMode="auto">
              <a:xfrm>
                <a:off x="4994952" y="3802713"/>
                <a:ext cx="203458" cy="178796"/>
              </a:xfrm>
              <a:custGeom>
                <a:avLst/>
                <a:gdLst>
                  <a:gd name="T0" fmla="*/ 429 w 583"/>
                  <a:gd name="T1" fmla="*/ 183 h 512"/>
                  <a:gd name="T2" fmla="*/ 312 w 583"/>
                  <a:gd name="T3" fmla="*/ 10 h 512"/>
                  <a:gd name="T4" fmla="*/ 291 w 583"/>
                  <a:gd name="T5" fmla="*/ 0 h 512"/>
                  <a:gd name="T6" fmla="*/ 271 w 583"/>
                  <a:gd name="T7" fmla="*/ 10 h 512"/>
                  <a:gd name="T8" fmla="*/ 153 w 583"/>
                  <a:gd name="T9" fmla="*/ 183 h 512"/>
                  <a:gd name="T10" fmla="*/ 26 w 583"/>
                  <a:gd name="T11" fmla="*/ 183 h 512"/>
                  <a:gd name="T12" fmla="*/ 0 w 583"/>
                  <a:gd name="T13" fmla="*/ 214 h 512"/>
                  <a:gd name="T14" fmla="*/ 0 w 583"/>
                  <a:gd name="T15" fmla="*/ 219 h 512"/>
                  <a:gd name="T16" fmla="*/ 66 w 583"/>
                  <a:gd name="T17" fmla="*/ 470 h 512"/>
                  <a:gd name="T18" fmla="*/ 117 w 583"/>
                  <a:gd name="T19" fmla="*/ 511 h 512"/>
                  <a:gd name="T20" fmla="*/ 465 w 583"/>
                  <a:gd name="T21" fmla="*/ 511 h 512"/>
                  <a:gd name="T22" fmla="*/ 516 w 583"/>
                  <a:gd name="T23" fmla="*/ 470 h 512"/>
                  <a:gd name="T24" fmla="*/ 582 w 583"/>
                  <a:gd name="T25" fmla="*/ 219 h 512"/>
                  <a:gd name="T26" fmla="*/ 582 w 583"/>
                  <a:gd name="T27" fmla="*/ 214 h 512"/>
                  <a:gd name="T28" fmla="*/ 552 w 583"/>
                  <a:gd name="T29" fmla="*/ 183 h 512"/>
                  <a:gd name="T30" fmla="*/ 429 w 583"/>
                  <a:gd name="T31" fmla="*/ 183 h 512"/>
                  <a:gd name="T32" fmla="*/ 209 w 583"/>
                  <a:gd name="T33" fmla="*/ 183 h 512"/>
                  <a:gd name="T34" fmla="*/ 291 w 583"/>
                  <a:gd name="T35" fmla="*/ 66 h 512"/>
                  <a:gd name="T36" fmla="*/ 373 w 583"/>
                  <a:gd name="T37" fmla="*/ 183 h 512"/>
                  <a:gd name="T38" fmla="*/ 209 w 583"/>
                  <a:gd name="T39" fmla="*/ 183 h 512"/>
                  <a:gd name="T40" fmla="*/ 291 w 583"/>
                  <a:gd name="T41" fmla="*/ 398 h 512"/>
                  <a:gd name="T42" fmla="*/ 240 w 583"/>
                  <a:gd name="T43" fmla="*/ 347 h 512"/>
                  <a:gd name="T44" fmla="*/ 291 w 583"/>
                  <a:gd name="T45" fmla="*/ 291 h 512"/>
                  <a:gd name="T46" fmla="*/ 347 w 583"/>
                  <a:gd name="T47" fmla="*/ 347 h 512"/>
                  <a:gd name="T48" fmla="*/ 291 w 583"/>
                  <a:gd name="T49" fmla="*/ 39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83" h="512">
                    <a:moveTo>
                      <a:pt x="429" y="183"/>
                    </a:moveTo>
                    <a:lnTo>
                      <a:pt x="312" y="10"/>
                    </a:lnTo>
                    <a:cubicBezTo>
                      <a:pt x="307" y="5"/>
                      <a:pt x="299" y="0"/>
                      <a:pt x="291" y="0"/>
                    </a:cubicBezTo>
                    <a:cubicBezTo>
                      <a:pt x="284" y="0"/>
                      <a:pt x="276" y="0"/>
                      <a:pt x="271" y="10"/>
                    </a:cubicBezTo>
                    <a:lnTo>
                      <a:pt x="153" y="183"/>
                    </a:lnTo>
                    <a:lnTo>
                      <a:pt x="26" y="183"/>
                    </a:lnTo>
                    <a:cubicBezTo>
                      <a:pt x="10" y="183"/>
                      <a:pt x="0" y="194"/>
                      <a:pt x="0" y="214"/>
                    </a:cubicBezTo>
                    <a:lnTo>
                      <a:pt x="0" y="219"/>
                    </a:lnTo>
                    <a:lnTo>
                      <a:pt x="66" y="470"/>
                    </a:lnTo>
                    <a:cubicBezTo>
                      <a:pt x="72" y="490"/>
                      <a:pt x="92" y="511"/>
                      <a:pt x="117" y="511"/>
                    </a:cubicBezTo>
                    <a:lnTo>
                      <a:pt x="465" y="511"/>
                    </a:lnTo>
                    <a:cubicBezTo>
                      <a:pt x="485" y="511"/>
                      <a:pt x="506" y="490"/>
                      <a:pt x="516" y="470"/>
                    </a:cubicBezTo>
                    <a:lnTo>
                      <a:pt x="582" y="219"/>
                    </a:lnTo>
                    <a:lnTo>
                      <a:pt x="582" y="214"/>
                    </a:lnTo>
                    <a:cubicBezTo>
                      <a:pt x="582" y="194"/>
                      <a:pt x="572" y="183"/>
                      <a:pt x="552" y="183"/>
                    </a:cubicBezTo>
                    <a:lnTo>
                      <a:pt x="429" y="183"/>
                    </a:lnTo>
                    <a:close/>
                    <a:moveTo>
                      <a:pt x="209" y="183"/>
                    </a:moveTo>
                    <a:lnTo>
                      <a:pt x="291" y="66"/>
                    </a:lnTo>
                    <a:lnTo>
                      <a:pt x="373" y="183"/>
                    </a:lnTo>
                    <a:lnTo>
                      <a:pt x="209" y="183"/>
                    </a:lnTo>
                    <a:close/>
                    <a:moveTo>
                      <a:pt x="291" y="398"/>
                    </a:moveTo>
                    <a:cubicBezTo>
                      <a:pt x="261" y="398"/>
                      <a:pt x="240" y="375"/>
                      <a:pt x="240" y="347"/>
                    </a:cubicBezTo>
                    <a:cubicBezTo>
                      <a:pt x="240" y="319"/>
                      <a:pt x="261" y="291"/>
                      <a:pt x="291" y="291"/>
                    </a:cubicBezTo>
                    <a:cubicBezTo>
                      <a:pt x="322" y="291"/>
                      <a:pt x="347" y="319"/>
                      <a:pt x="347" y="347"/>
                    </a:cubicBezTo>
                    <a:cubicBezTo>
                      <a:pt x="347" y="375"/>
                      <a:pt x="322" y="398"/>
                      <a:pt x="291" y="398"/>
                    </a:cubicBezTo>
                    <a:close/>
                  </a:path>
                </a:pathLst>
              </a:custGeom>
              <a:solidFill>
                <a:schemeClr val="bg1"/>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grpSp>
        <p:nvGrpSpPr>
          <p:cNvPr id="122" name="Groep 121">
            <a:extLst>
              <a:ext uri="{FF2B5EF4-FFF2-40B4-BE49-F238E27FC236}">
                <a16:creationId xmlns:a16="http://schemas.microsoft.com/office/drawing/2014/main" id="{3C9239F6-B794-4BAA-8FBF-6DE6AB8FD8F8}"/>
              </a:ext>
            </a:extLst>
          </p:cNvPr>
          <p:cNvGrpSpPr/>
          <p:nvPr/>
        </p:nvGrpSpPr>
        <p:grpSpPr>
          <a:xfrm>
            <a:off x="8779933" y="2246435"/>
            <a:ext cx="252000" cy="252000"/>
            <a:chOff x="8342489" y="1970656"/>
            <a:chExt cx="329184" cy="329184"/>
          </a:xfrm>
        </p:grpSpPr>
        <p:sp>
          <p:nvSpPr>
            <p:cNvPr id="264" name="Oval 53">
              <a:extLst>
                <a:ext uri="{FF2B5EF4-FFF2-40B4-BE49-F238E27FC236}">
                  <a16:creationId xmlns:a16="http://schemas.microsoft.com/office/drawing/2014/main" id="{B43E1D59-E999-44F2-80DD-A33AE5221FE2}"/>
                </a:ext>
              </a:extLst>
            </p:cNvPr>
            <p:cNvSpPr/>
            <p:nvPr/>
          </p:nvSpPr>
          <p:spPr>
            <a:xfrm>
              <a:off x="8342489" y="1970656"/>
              <a:ext cx="329184" cy="329184"/>
            </a:xfrm>
            <a:prstGeom prst="ellipse">
              <a:avLst/>
            </a:prstGeom>
            <a:solidFill>
              <a:srgbClr val="62366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65" name="Shopping_cart" descr="{&quot;Key&quot;:&quot;POWER_USER_SHAPE_ICON&quot;,&quot;Value&quot;:&quot;POWER_USER_SHAPE_ICON_STYLE_1&quot;}">
              <a:extLst>
                <a:ext uri="{FF2B5EF4-FFF2-40B4-BE49-F238E27FC236}">
                  <a16:creationId xmlns:a16="http://schemas.microsoft.com/office/drawing/2014/main" id="{7F7AFD4A-6EC6-4D15-B4DE-A6751A1C24E1}"/>
                </a:ext>
              </a:extLst>
            </p:cNvPr>
            <p:cNvGrpSpPr>
              <a:grpSpLocks noChangeAspect="1"/>
            </p:cNvGrpSpPr>
            <p:nvPr>
              <p:custDataLst>
                <p:tags r:id="rId25"/>
              </p:custDataLst>
            </p:nvPr>
          </p:nvGrpSpPr>
          <p:grpSpPr>
            <a:xfrm>
              <a:off x="8380012" y="2028686"/>
              <a:ext cx="235088" cy="232174"/>
              <a:chOff x="4646614" y="2062164"/>
              <a:chExt cx="384175" cy="379413"/>
            </a:xfrm>
            <a:solidFill>
              <a:schemeClr val="bg1"/>
            </a:solidFill>
          </p:grpSpPr>
          <p:sp>
            <p:nvSpPr>
              <p:cNvPr id="266" name="Freeform 198">
                <a:extLst>
                  <a:ext uri="{FF2B5EF4-FFF2-40B4-BE49-F238E27FC236}">
                    <a16:creationId xmlns:a16="http://schemas.microsoft.com/office/drawing/2014/main" id="{EDD29937-A5FB-48EC-8C47-36860AA3AA71}"/>
                  </a:ext>
                </a:extLst>
              </p:cNvPr>
              <p:cNvSpPr>
                <a:spLocks noEditPoints="1"/>
              </p:cNvSpPr>
              <p:nvPr/>
            </p:nvSpPr>
            <p:spPr bwMode="auto">
              <a:xfrm>
                <a:off x="4773614" y="2386014"/>
                <a:ext cx="55563" cy="55563"/>
              </a:xfrm>
              <a:custGeom>
                <a:avLst/>
                <a:gdLst>
                  <a:gd name="T0" fmla="*/ 40 w 80"/>
                  <a:gd name="T1" fmla="*/ 55 h 80"/>
                  <a:gd name="T2" fmla="*/ 25 w 80"/>
                  <a:gd name="T3" fmla="*/ 40 h 80"/>
                  <a:gd name="T4" fmla="*/ 40 w 80"/>
                  <a:gd name="T5" fmla="*/ 25 h 80"/>
                  <a:gd name="T6" fmla="*/ 55 w 80"/>
                  <a:gd name="T7" fmla="*/ 40 h 80"/>
                  <a:gd name="T8" fmla="*/ 40 w 80"/>
                  <a:gd name="T9" fmla="*/ 55 h 80"/>
                  <a:gd name="T10" fmla="*/ 40 w 80"/>
                  <a:gd name="T11" fmla="*/ 0 h 80"/>
                  <a:gd name="T12" fmla="*/ 0 w 80"/>
                  <a:gd name="T13" fmla="*/ 40 h 80"/>
                  <a:gd name="T14" fmla="*/ 40 w 80"/>
                  <a:gd name="T15" fmla="*/ 80 h 80"/>
                  <a:gd name="T16" fmla="*/ 80 w 80"/>
                  <a:gd name="T17" fmla="*/ 40 h 80"/>
                  <a:gd name="T18" fmla="*/ 40 w 80"/>
                  <a:gd name="T19"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0" h="80">
                    <a:moveTo>
                      <a:pt x="40" y="55"/>
                    </a:moveTo>
                    <a:cubicBezTo>
                      <a:pt x="32" y="55"/>
                      <a:pt x="25" y="48"/>
                      <a:pt x="25" y="40"/>
                    </a:cubicBezTo>
                    <a:cubicBezTo>
                      <a:pt x="25" y="32"/>
                      <a:pt x="32" y="25"/>
                      <a:pt x="40" y="25"/>
                    </a:cubicBezTo>
                    <a:cubicBezTo>
                      <a:pt x="48" y="25"/>
                      <a:pt x="55" y="32"/>
                      <a:pt x="55" y="40"/>
                    </a:cubicBezTo>
                    <a:cubicBezTo>
                      <a:pt x="55" y="48"/>
                      <a:pt x="48" y="55"/>
                      <a:pt x="40" y="55"/>
                    </a:cubicBezTo>
                    <a:close/>
                    <a:moveTo>
                      <a:pt x="40" y="0"/>
                    </a:moveTo>
                    <a:cubicBezTo>
                      <a:pt x="18" y="0"/>
                      <a:pt x="0" y="18"/>
                      <a:pt x="0" y="40"/>
                    </a:cubicBezTo>
                    <a:cubicBezTo>
                      <a:pt x="0" y="62"/>
                      <a:pt x="18" y="80"/>
                      <a:pt x="40" y="80"/>
                    </a:cubicBezTo>
                    <a:cubicBezTo>
                      <a:pt x="62" y="80"/>
                      <a:pt x="80" y="62"/>
                      <a:pt x="80" y="40"/>
                    </a:cubicBezTo>
                    <a:cubicBezTo>
                      <a:pt x="80" y="18"/>
                      <a:pt x="62" y="0"/>
                      <a:pt x="40"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67" name="Freeform 199">
                <a:extLst>
                  <a:ext uri="{FF2B5EF4-FFF2-40B4-BE49-F238E27FC236}">
                    <a16:creationId xmlns:a16="http://schemas.microsoft.com/office/drawing/2014/main" id="{E4FFD049-73DF-4777-802D-955BA048C106}"/>
                  </a:ext>
                </a:extLst>
              </p:cNvPr>
              <p:cNvSpPr>
                <a:spLocks noEditPoints="1"/>
              </p:cNvSpPr>
              <p:nvPr/>
            </p:nvSpPr>
            <p:spPr bwMode="auto">
              <a:xfrm>
                <a:off x="4929189" y="2386014"/>
                <a:ext cx="55563" cy="55563"/>
              </a:xfrm>
              <a:custGeom>
                <a:avLst/>
                <a:gdLst>
                  <a:gd name="T0" fmla="*/ 40 w 80"/>
                  <a:gd name="T1" fmla="*/ 55 h 80"/>
                  <a:gd name="T2" fmla="*/ 25 w 80"/>
                  <a:gd name="T3" fmla="*/ 40 h 80"/>
                  <a:gd name="T4" fmla="*/ 40 w 80"/>
                  <a:gd name="T5" fmla="*/ 25 h 80"/>
                  <a:gd name="T6" fmla="*/ 55 w 80"/>
                  <a:gd name="T7" fmla="*/ 40 h 80"/>
                  <a:gd name="T8" fmla="*/ 40 w 80"/>
                  <a:gd name="T9" fmla="*/ 55 h 80"/>
                  <a:gd name="T10" fmla="*/ 40 w 80"/>
                  <a:gd name="T11" fmla="*/ 0 h 80"/>
                  <a:gd name="T12" fmla="*/ 0 w 80"/>
                  <a:gd name="T13" fmla="*/ 40 h 80"/>
                  <a:gd name="T14" fmla="*/ 40 w 80"/>
                  <a:gd name="T15" fmla="*/ 80 h 80"/>
                  <a:gd name="T16" fmla="*/ 80 w 80"/>
                  <a:gd name="T17" fmla="*/ 40 h 80"/>
                  <a:gd name="T18" fmla="*/ 40 w 80"/>
                  <a:gd name="T19"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0" h="80">
                    <a:moveTo>
                      <a:pt x="40" y="55"/>
                    </a:moveTo>
                    <a:cubicBezTo>
                      <a:pt x="32" y="55"/>
                      <a:pt x="25" y="48"/>
                      <a:pt x="25" y="40"/>
                    </a:cubicBezTo>
                    <a:cubicBezTo>
                      <a:pt x="25" y="32"/>
                      <a:pt x="32" y="25"/>
                      <a:pt x="40" y="25"/>
                    </a:cubicBezTo>
                    <a:cubicBezTo>
                      <a:pt x="48" y="25"/>
                      <a:pt x="55" y="32"/>
                      <a:pt x="55" y="40"/>
                    </a:cubicBezTo>
                    <a:cubicBezTo>
                      <a:pt x="55" y="48"/>
                      <a:pt x="48" y="55"/>
                      <a:pt x="40" y="55"/>
                    </a:cubicBezTo>
                    <a:close/>
                    <a:moveTo>
                      <a:pt x="40" y="0"/>
                    </a:moveTo>
                    <a:cubicBezTo>
                      <a:pt x="18" y="0"/>
                      <a:pt x="0" y="18"/>
                      <a:pt x="0" y="40"/>
                    </a:cubicBezTo>
                    <a:cubicBezTo>
                      <a:pt x="0" y="62"/>
                      <a:pt x="18" y="80"/>
                      <a:pt x="40" y="80"/>
                    </a:cubicBezTo>
                    <a:cubicBezTo>
                      <a:pt x="62" y="80"/>
                      <a:pt x="80" y="62"/>
                      <a:pt x="80" y="40"/>
                    </a:cubicBezTo>
                    <a:cubicBezTo>
                      <a:pt x="80" y="18"/>
                      <a:pt x="62" y="0"/>
                      <a:pt x="40"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68" name="Freeform 200">
                <a:extLst>
                  <a:ext uri="{FF2B5EF4-FFF2-40B4-BE49-F238E27FC236}">
                    <a16:creationId xmlns:a16="http://schemas.microsoft.com/office/drawing/2014/main" id="{61A3747E-BD68-4A01-A837-FF0BEAA67080}"/>
                  </a:ext>
                </a:extLst>
              </p:cNvPr>
              <p:cNvSpPr>
                <a:spLocks noEditPoints="1"/>
              </p:cNvSpPr>
              <p:nvPr/>
            </p:nvSpPr>
            <p:spPr bwMode="auto">
              <a:xfrm>
                <a:off x="4646614" y="2062164"/>
                <a:ext cx="384175" cy="311150"/>
              </a:xfrm>
              <a:custGeom>
                <a:avLst/>
                <a:gdLst>
                  <a:gd name="T0" fmla="*/ 465 w 554"/>
                  <a:gd name="T1" fmla="*/ 168 h 450"/>
                  <a:gd name="T2" fmla="*/ 530 w 554"/>
                  <a:gd name="T3" fmla="*/ 88 h 450"/>
                  <a:gd name="T4" fmla="*/ 483 w 554"/>
                  <a:gd name="T5" fmla="*/ 257 h 450"/>
                  <a:gd name="T6" fmla="*/ 447 w 554"/>
                  <a:gd name="T7" fmla="*/ 273 h 450"/>
                  <a:gd name="T8" fmla="*/ 505 w 554"/>
                  <a:gd name="T9" fmla="*/ 177 h 450"/>
                  <a:gd name="T10" fmla="*/ 432 w 554"/>
                  <a:gd name="T11" fmla="*/ 273 h 450"/>
                  <a:gd name="T12" fmla="*/ 407 w 554"/>
                  <a:gd name="T13" fmla="*/ 177 h 450"/>
                  <a:gd name="T14" fmla="*/ 432 w 554"/>
                  <a:gd name="T15" fmla="*/ 273 h 450"/>
                  <a:gd name="T16" fmla="*/ 352 w 554"/>
                  <a:gd name="T17" fmla="*/ 88 h 450"/>
                  <a:gd name="T18" fmla="*/ 393 w 554"/>
                  <a:gd name="T19" fmla="*/ 168 h 450"/>
                  <a:gd name="T20" fmla="*/ 383 w 554"/>
                  <a:gd name="T21" fmla="*/ 273 h 450"/>
                  <a:gd name="T22" fmla="*/ 352 w 554"/>
                  <a:gd name="T23" fmla="*/ 177 h 450"/>
                  <a:gd name="T24" fmla="*/ 383 w 554"/>
                  <a:gd name="T25" fmla="*/ 273 h 450"/>
                  <a:gd name="T26" fmla="*/ 297 w 554"/>
                  <a:gd name="T27" fmla="*/ 168 h 450"/>
                  <a:gd name="T28" fmla="*/ 337 w 554"/>
                  <a:gd name="T29" fmla="*/ 88 h 450"/>
                  <a:gd name="T30" fmla="*/ 337 w 554"/>
                  <a:gd name="T31" fmla="*/ 273 h 450"/>
                  <a:gd name="T32" fmla="*/ 298 w 554"/>
                  <a:gd name="T33" fmla="*/ 177 h 450"/>
                  <a:gd name="T34" fmla="*/ 337 w 554"/>
                  <a:gd name="T35" fmla="*/ 273 h 450"/>
                  <a:gd name="T36" fmla="*/ 242 w 554"/>
                  <a:gd name="T37" fmla="*/ 177 h 450"/>
                  <a:gd name="T38" fmla="*/ 292 w 554"/>
                  <a:gd name="T39" fmla="*/ 273 h 450"/>
                  <a:gd name="T40" fmla="*/ 210 w 554"/>
                  <a:gd name="T41" fmla="*/ 273 h 450"/>
                  <a:gd name="T42" fmla="*/ 227 w 554"/>
                  <a:gd name="T43" fmla="*/ 177 h 450"/>
                  <a:gd name="T44" fmla="*/ 210 w 554"/>
                  <a:gd name="T45" fmla="*/ 273 h 450"/>
                  <a:gd name="T46" fmla="*/ 157 w 554"/>
                  <a:gd name="T47" fmla="*/ 268 h 450"/>
                  <a:gd name="T48" fmla="*/ 173 w 554"/>
                  <a:gd name="T49" fmla="*/ 177 h 450"/>
                  <a:gd name="T50" fmla="*/ 170 w 554"/>
                  <a:gd name="T51" fmla="*/ 273 h 450"/>
                  <a:gd name="T52" fmla="*/ 106 w 554"/>
                  <a:gd name="T53" fmla="*/ 88 h 450"/>
                  <a:gd name="T54" fmla="*/ 171 w 554"/>
                  <a:gd name="T55" fmla="*/ 168 h 450"/>
                  <a:gd name="T56" fmla="*/ 126 w 554"/>
                  <a:gd name="T57" fmla="*/ 156 h 450"/>
                  <a:gd name="T58" fmla="*/ 225 w 554"/>
                  <a:gd name="T59" fmla="*/ 168 h 450"/>
                  <a:gd name="T60" fmla="*/ 168 w 554"/>
                  <a:gd name="T61" fmla="*/ 88 h 450"/>
                  <a:gd name="T62" fmla="*/ 274 w 554"/>
                  <a:gd name="T63" fmla="*/ 88 h 450"/>
                  <a:gd name="T64" fmla="*/ 241 w 554"/>
                  <a:gd name="T65" fmla="*/ 168 h 450"/>
                  <a:gd name="T66" fmla="*/ 274 w 554"/>
                  <a:gd name="T67" fmla="*/ 88 h 450"/>
                  <a:gd name="T68" fmla="*/ 462 w 554"/>
                  <a:gd name="T69" fmla="*/ 88 h 450"/>
                  <a:gd name="T70" fmla="*/ 408 w 554"/>
                  <a:gd name="T71" fmla="*/ 168 h 450"/>
                  <a:gd name="T72" fmla="*/ 24 w 554"/>
                  <a:gd name="T73" fmla="*/ 29 h 450"/>
                  <a:gd name="T74" fmla="*/ 19 w 554"/>
                  <a:gd name="T75" fmla="*/ 13 h 450"/>
                  <a:gd name="T76" fmla="*/ 24 w 554"/>
                  <a:gd name="T77" fmla="*/ 29 h 450"/>
                  <a:gd name="T78" fmla="*/ 110 w 554"/>
                  <a:gd name="T79" fmla="*/ 63 h 450"/>
                  <a:gd name="T80" fmla="*/ 91 w 554"/>
                  <a:gd name="T81" fmla="*/ 34 h 450"/>
                  <a:gd name="T82" fmla="*/ 39 w 554"/>
                  <a:gd name="T83" fmla="*/ 12 h 450"/>
                  <a:gd name="T84" fmla="*/ 3 w 554"/>
                  <a:gd name="T85" fmla="*/ 27 h 450"/>
                  <a:gd name="T86" fmla="*/ 38 w 554"/>
                  <a:gd name="T87" fmla="*/ 31 h 450"/>
                  <a:gd name="T88" fmla="*/ 67 w 554"/>
                  <a:gd name="T89" fmla="*/ 40 h 450"/>
                  <a:gd name="T90" fmla="*/ 209 w 554"/>
                  <a:gd name="T91" fmla="*/ 450 h 450"/>
                  <a:gd name="T92" fmla="*/ 496 w 554"/>
                  <a:gd name="T93" fmla="*/ 437 h 450"/>
                  <a:gd name="T94" fmla="*/ 212 w 554"/>
                  <a:gd name="T95" fmla="*/ 420 h 450"/>
                  <a:gd name="T96" fmla="*/ 168 w 554"/>
                  <a:gd name="T97" fmla="*/ 309 h 450"/>
                  <a:gd name="T98" fmla="*/ 451 w 554"/>
                  <a:gd name="T99" fmla="*/ 314 h 450"/>
                  <a:gd name="T100" fmla="*/ 552 w 554"/>
                  <a:gd name="T101" fmla="*/ 88 h 4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54" h="450">
                    <a:moveTo>
                      <a:pt x="508" y="168"/>
                    </a:moveTo>
                    <a:lnTo>
                      <a:pt x="465" y="168"/>
                    </a:lnTo>
                    <a:lnTo>
                      <a:pt x="478" y="88"/>
                    </a:lnTo>
                    <a:lnTo>
                      <a:pt x="530" y="88"/>
                    </a:lnTo>
                    <a:lnTo>
                      <a:pt x="508" y="168"/>
                    </a:lnTo>
                    <a:close/>
                    <a:moveTo>
                      <a:pt x="483" y="257"/>
                    </a:moveTo>
                    <a:cubicBezTo>
                      <a:pt x="480" y="265"/>
                      <a:pt x="471" y="273"/>
                      <a:pt x="462" y="273"/>
                    </a:cubicBezTo>
                    <a:lnTo>
                      <a:pt x="447" y="273"/>
                    </a:lnTo>
                    <a:lnTo>
                      <a:pt x="463" y="177"/>
                    </a:lnTo>
                    <a:lnTo>
                      <a:pt x="505" y="177"/>
                    </a:lnTo>
                    <a:lnTo>
                      <a:pt x="483" y="257"/>
                    </a:lnTo>
                    <a:close/>
                    <a:moveTo>
                      <a:pt x="432" y="273"/>
                    </a:moveTo>
                    <a:lnTo>
                      <a:pt x="398" y="273"/>
                    </a:lnTo>
                    <a:lnTo>
                      <a:pt x="407" y="177"/>
                    </a:lnTo>
                    <a:lnTo>
                      <a:pt x="447" y="177"/>
                    </a:lnTo>
                    <a:lnTo>
                      <a:pt x="432" y="273"/>
                    </a:lnTo>
                    <a:close/>
                    <a:moveTo>
                      <a:pt x="352" y="168"/>
                    </a:moveTo>
                    <a:lnTo>
                      <a:pt x="352" y="88"/>
                    </a:lnTo>
                    <a:lnTo>
                      <a:pt x="401" y="88"/>
                    </a:lnTo>
                    <a:lnTo>
                      <a:pt x="393" y="168"/>
                    </a:lnTo>
                    <a:lnTo>
                      <a:pt x="352" y="168"/>
                    </a:lnTo>
                    <a:close/>
                    <a:moveTo>
                      <a:pt x="383" y="273"/>
                    </a:moveTo>
                    <a:lnTo>
                      <a:pt x="352" y="273"/>
                    </a:lnTo>
                    <a:lnTo>
                      <a:pt x="352" y="177"/>
                    </a:lnTo>
                    <a:lnTo>
                      <a:pt x="392" y="177"/>
                    </a:lnTo>
                    <a:lnTo>
                      <a:pt x="383" y="273"/>
                    </a:lnTo>
                    <a:close/>
                    <a:moveTo>
                      <a:pt x="337" y="168"/>
                    </a:moveTo>
                    <a:lnTo>
                      <a:pt x="297" y="168"/>
                    </a:lnTo>
                    <a:lnTo>
                      <a:pt x="289" y="88"/>
                    </a:lnTo>
                    <a:lnTo>
                      <a:pt x="337" y="88"/>
                    </a:lnTo>
                    <a:lnTo>
                      <a:pt x="337" y="168"/>
                    </a:lnTo>
                    <a:close/>
                    <a:moveTo>
                      <a:pt x="337" y="273"/>
                    </a:moveTo>
                    <a:lnTo>
                      <a:pt x="307" y="273"/>
                    </a:lnTo>
                    <a:lnTo>
                      <a:pt x="298" y="177"/>
                    </a:lnTo>
                    <a:lnTo>
                      <a:pt x="337" y="177"/>
                    </a:lnTo>
                    <a:lnTo>
                      <a:pt x="337" y="273"/>
                    </a:lnTo>
                    <a:close/>
                    <a:moveTo>
                      <a:pt x="258" y="273"/>
                    </a:moveTo>
                    <a:lnTo>
                      <a:pt x="242" y="177"/>
                    </a:lnTo>
                    <a:lnTo>
                      <a:pt x="282" y="177"/>
                    </a:lnTo>
                    <a:lnTo>
                      <a:pt x="292" y="273"/>
                    </a:lnTo>
                    <a:lnTo>
                      <a:pt x="258" y="273"/>
                    </a:lnTo>
                    <a:close/>
                    <a:moveTo>
                      <a:pt x="210" y="273"/>
                    </a:moveTo>
                    <a:lnTo>
                      <a:pt x="188" y="177"/>
                    </a:lnTo>
                    <a:lnTo>
                      <a:pt x="227" y="177"/>
                    </a:lnTo>
                    <a:lnTo>
                      <a:pt x="242" y="273"/>
                    </a:lnTo>
                    <a:lnTo>
                      <a:pt x="210" y="273"/>
                    </a:lnTo>
                    <a:close/>
                    <a:moveTo>
                      <a:pt x="170" y="273"/>
                    </a:moveTo>
                    <a:cubicBezTo>
                      <a:pt x="165" y="273"/>
                      <a:pt x="161" y="271"/>
                      <a:pt x="157" y="268"/>
                    </a:cubicBezTo>
                    <a:cubicBezTo>
                      <a:pt x="150" y="244"/>
                      <a:pt x="141" y="211"/>
                      <a:pt x="131" y="177"/>
                    </a:cubicBezTo>
                    <a:lnTo>
                      <a:pt x="173" y="177"/>
                    </a:lnTo>
                    <a:lnTo>
                      <a:pt x="194" y="273"/>
                    </a:lnTo>
                    <a:lnTo>
                      <a:pt x="170" y="273"/>
                    </a:lnTo>
                    <a:close/>
                    <a:moveTo>
                      <a:pt x="126" y="156"/>
                    </a:moveTo>
                    <a:cubicBezTo>
                      <a:pt x="119" y="133"/>
                      <a:pt x="112" y="109"/>
                      <a:pt x="106" y="88"/>
                    </a:cubicBezTo>
                    <a:lnTo>
                      <a:pt x="153" y="88"/>
                    </a:lnTo>
                    <a:lnTo>
                      <a:pt x="171" y="168"/>
                    </a:lnTo>
                    <a:lnTo>
                      <a:pt x="129" y="168"/>
                    </a:lnTo>
                    <a:cubicBezTo>
                      <a:pt x="128" y="164"/>
                      <a:pt x="127" y="160"/>
                      <a:pt x="126" y="156"/>
                    </a:cubicBezTo>
                    <a:close/>
                    <a:moveTo>
                      <a:pt x="212" y="88"/>
                    </a:moveTo>
                    <a:lnTo>
                      <a:pt x="225" y="168"/>
                    </a:lnTo>
                    <a:lnTo>
                      <a:pt x="186" y="168"/>
                    </a:lnTo>
                    <a:lnTo>
                      <a:pt x="168" y="88"/>
                    </a:lnTo>
                    <a:lnTo>
                      <a:pt x="212" y="88"/>
                    </a:lnTo>
                    <a:close/>
                    <a:moveTo>
                      <a:pt x="274" y="88"/>
                    </a:moveTo>
                    <a:lnTo>
                      <a:pt x="281" y="168"/>
                    </a:lnTo>
                    <a:lnTo>
                      <a:pt x="241" y="168"/>
                    </a:lnTo>
                    <a:lnTo>
                      <a:pt x="228" y="88"/>
                    </a:lnTo>
                    <a:lnTo>
                      <a:pt x="274" y="88"/>
                    </a:lnTo>
                    <a:close/>
                    <a:moveTo>
                      <a:pt x="416" y="88"/>
                    </a:moveTo>
                    <a:lnTo>
                      <a:pt x="462" y="88"/>
                    </a:lnTo>
                    <a:lnTo>
                      <a:pt x="449" y="168"/>
                    </a:lnTo>
                    <a:lnTo>
                      <a:pt x="408" y="168"/>
                    </a:lnTo>
                    <a:lnTo>
                      <a:pt x="416" y="88"/>
                    </a:lnTo>
                    <a:close/>
                    <a:moveTo>
                      <a:pt x="24" y="29"/>
                    </a:moveTo>
                    <a:cubicBezTo>
                      <a:pt x="19" y="31"/>
                      <a:pt x="15" y="28"/>
                      <a:pt x="13" y="24"/>
                    </a:cubicBezTo>
                    <a:cubicBezTo>
                      <a:pt x="12" y="19"/>
                      <a:pt x="14" y="14"/>
                      <a:pt x="19" y="13"/>
                    </a:cubicBezTo>
                    <a:cubicBezTo>
                      <a:pt x="24" y="12"/>
                      <a:pt x="28" y="14"/>
                      <a:pt x="30" y="19"/>
                    </a:cubicBezTo>
                    <a:cubicBezTo>
                      <a:pt x="31" y="23"/>
                      <a:pt x="29" y="28"/>
                      <a:pt x="24" y="29"/>
                    </a:cubicBezTo>
                    <a:close/>
                    <a:moveTo>
                      <a:pt x="533" y="63"/>
                    </a:moveTo>
                    <a:lnTo>
                      <a:pt x="110" y="63"/>
                    </a:lnTo>
                    <a:cubicBezTo>
                      <a:pt x="106" y="63"/>
                      <a:pt x="103" y="63"/>
                      <a:pt x="100" y="65"/>
                    </a:cubicBezTo>
                    <a:cubicBezTo>
                      <a:pt x="99" y="61"/>
                      <a:pt x="94" y="44"/>
                      <a:pt x="91" y="34"/>
                    </a:cubicBezTo>
                    <a:cubicBezTo>
                      <a:pt x="88" y="22"/>
                      <a:pt x="79" y="12"/>
                      <a:pt x="64" y="12"/>
                    </a:cubicBezTo>
                    <a:cubicBezTo>
                      <a:pt x="61" y="12"/>
                      <a:pt x="40" y="12"/>
                      <a:pt x="39" y="12"/>
                    </a:cubicBezTo>
                    <a:cubicBezTo>
                      <a:pt x="34" y="4"/>
                      <a:pt x="25" y="0"/>
                      <a:pt x="16" y="2"/>
                    </a:cubicBezTo>
                    <a:cubicBezTo>
                      <a:pt x="5" y="6"/>
                      <a:pt x="0" y="16"/>
                      <a:pt x="3" y="27"/>
                    </a:cubicBezTo>
                    <a:cubicBezTo>
                      <a:pt x="6" y="37"/>
                      <a:pt x="17" y="43"/>
                      <a:pt x="27" y="40"/>
                    </a:cubicBezTo>
                    <a:cubicBezTo>
                      <a:pt x="32" y="39"/>
                      <a:pt x="36" y="35"/>
                      <a:pt x="38" y="31"/>
                    </a:cubicBezTo>
                    <a:cubicBezTo>
                      <a:pt x="40" y="31"/>
                      <a:pt x="52" y="31"/>
                      <a:pt x="54" y="31"/>
                    </a:cubicBezTo>
                    <a:cubicBezTo>
                      <a:pt x="63" y="31"/>
                      <a:pt x="65" y="33"/>
                      <a:pt x="67" y="40"/>
                    </a:cubicBezTo>
                    <a:cubicBezTo>
                      <a:pt x="73" y="61"/>
                      <a:pt x="165" y="388"/>
                      <a:pt x="171" y="409"/>
                    </a:cubicBezTo>
                    <a:cubicBezTo>
                      <a:pt x="180" y="439"/>
                      <a:pt x="194" y="450"/>
                      <a:pt x="209" y="450"/>
                    </a:cubicBezTo>
                    <a:lnTo>
                      <a:pt x="483" y="450"/>
                    </a:lnTo>
                    <a:cubicBezTo>
                      <a:pt x="492" y="450"/>
                      <a:pt x="496" y="441"/>
                      <a:pt x="496" y="437"/>
                    </a:cubicBezTo>
                    <a:cubicBezTo>
                      <a:pt x="498" y="423"/>
                      <a:pt x="486" y="420"/>
                      <a:pt x="480" y="420"/>
                    </a:cubicBezTo>
                    <a:lnTo>
                      <a:pt x="212" y="420"/>
                    </a:lnTo>
                    <a:cubicBezTo>
                      <a:pt x="205" y="420"/>
                      <a:pt x="198" y="415"/>
                      <a:pt x="196" y="408"/>
                    </a:cubicBezTo>
                    <a:cubicBezTo>
                      <a:pt x="195" y="404"/>
                      <a:pt x="170" y="315"/>
                      <a:pt x="168" y="309"/>
                    </a:cubicBezTo>
                    <a:cubicBezTo>
                      <a:pt x="174" y="315"/>
                      <a:pt x="179" y="314"/>
                      <a:pt x="182" y="314"/>
                    </a:cubicBezTo>
                    <a:lnTo>
                      <a:pt x="451" y="314"/>
                    </a:lnTo>
                    <a:cubicBezTo>
                      <a:pt x="486" y="314"/>
                      <a:pt x="500" y="272"/>
                      <a:pt x="503" y="259"/>
                    </a:cubicBezTo>
                    <a:lnTo>
                      <a:pt x="552" y="88"/>
                    </a:lnTo>
                    <a:cubicBezTo>
                      <a:pt x="554" y="81"/>
                      <a:pt x="552" y="63"/>
                      <a:pt x="533" y="63"/>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grpSp>
        <p:nvGrpSpPr>
          <p:cNvPr id="123" name="Groep 122">
            <a:extLst>
              <a:ext uri="{FF2B5EF4-FFF2-40B4-BE49-F238E27FC236}">
                <a16:creationId xmlns:a16="http://schemas.microsoft.com/office/drawing/2014/main" id="{8BABC191-F7EF-4050-BF55-F744F1319F62}"/>
              </a:ext>
            </a:extLst>
          </p:cNvPr>
          <p:cNvGrpSpPr/>
          <p:nvPr/>
        </p:nvGrpSpPr>
        <p:grpSpPr>
          <a:xfrm>
            <a:off x="7115262" y="4460365"/>
            <a:ext cx="252000" cy="252000"/>
            <a:chOff x="8342489" y="1970656"/>
            <a:chExt cx="329184" cy="329184"/>
          </a:xfrm>
        </p:grpSpPr>
        <p:sp>
          <p:nvSpPr>
            <p:cNvPr id="259" name="Oval 53">
              <a:extLst>
                <a:ext uri="{FF2B5EF4-FFF2-40B4-BE49-F238E27FC236}">
                  <a16:creationId xmlns:a16="http://schemas.microsoft.com/office/drawing/2014/main" id="{9C14C889-74EA-46D3-A322-0139BBAB32F5}"/>
                </a:ext>
              </a:extLst>
            </p:cNvPr>
            <p:cNvSpPr/>
            <p:nvPr/>
          </p:nvSpPr>
          <p:spPr>
            <a:xfrm>
              <a:off x="8342489" y="1970656"/>
              <a:ext cx="329184" cy="329184"/>
            </a:xfrm>
            <a:prstGeom prst="ellipse">
              <a:avLst/>
            </a:prstGeom>
            <a:solidFill>
              <a:srgbClr val="62366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60" name="Shopping_cart" descr="{&quot;Key&quot;:&quot;POWER_USER_SHAPE_ICON&quot;,&quot;Value&quot;:&quot;POWER_USER_SHAPE_ICON_STYLE_1&quot;}">
              <a:extLst>
                <a:ext uri="{FF2B5EF4-FFF2-40B4-BE49-F238E27FC236}">
                  <a16:creationId xmlns:a16="http://schemas.microsoft.com/office/drawing/2014/main" id="{C1B60BC0-6A47-4873-8701-D96CA1AAAA75}"/>
                </a:ext>
              </a:extLst>
            </p:cNvPr>
            <p:cNvGrpSpPr>
              <a:grpSpLocks noChangeAspect="1"/>
            </p:cNvGrpSpPr>
            <p:nvPr>
              <p:custDataLst>
                <p:tags r:id="rId24"/>
              </p:custDataLst>
            </p:nvPr>
          </p:nvGrpSpPr>
          <p:grpSpPr>
            <a:xfrm>
              <a:off x="8380012" y="2028686"/>
              <a:ext cx="235088" cy="232174"/>
              <a:chOff x="4646614" y="2062164"/>
              <a:chExt cx="384175" cy="379413"/>
            </a:xfrm>
            <a:solidFill>
              <a:schemeClr val="bg1"/>
            </a:solidFill>
          </p:grpSpPr>
          <p:sp>
            <p:nvSpPr>
              <p:cNvPr id="261" name="Freeform 198">
                <a:extLst>
                  <a:ext uri="{FF2B5EF4-FFF2-40B4-BE49-F238E27FC236}">
                    <a16:creationId xmlns:a16="http://schemas.microsoft.com/office/drawing/2014/main" id="{AC762851-35CB-49C1-89DC-F475E4FE4E38}"/>
                  </a:ext>
                </a:extLst>
              </p:cNvPr>
              <p:cNvSpPr>
                <a:spLocks noEditPoints="1"/>
              </p:cNvSpPr>
              <p:nvPr/>
            </p:nvSpPr>
            <p:spPr bwMode="auto">
              <a:xfrm>
                <a:off x="4773614" y="2386014"/>
                <a:ext cx="55563" cy="55563"/>
              </a:xfrm>
              <a:custGeom>
                <a:avLst/>
                <a:gdLst>
                  <a:gd name="T0" fmla="*/ 40 w 80"/>
                  <a:gd name="T1" fmla="*/ 55 h 80"/>
                  <a:gd name="T2" fmla="*/ 25 w 80"/>
                  <a:gd name="T3" fmla="*/ 40 h 80"/>
                  <a:gd name="T4" fmla="*/ 40 w 80"/>
                  <a:gd name="T5" fmla="*/ 25 h 80"/>
                  <a:gd name="T6" fmla="*/ 55 w 80"/>
                  <a:gd name="T7" fmla="*/ 40 h 80"/>
                  <a:gd name="T8" fmla="*/ 40 w 80"/>
                  <a:gd name="T9" fmla="*/ 55 h 80"/>
                  <a:gd name="T10" fmla="*/ 40 w 80"/>
                  <a:gd name="T11" fmla="*/ 0 h 80"/>
                  <a:gd name="T12" fmla="*/ 0 w 80"/>
                  <a:gd name="T13" fmla="*/ 40 h 80"/>
                  <a:gd name="T14" fmla="*/ 40 w 80"/>
                  <a:gd name="T15" fmla="*/ 80 h 80"/>
                  <a:gd name="T16" fmla="*/ 80 w 80"/>
                  <a:gd name="T17" fmla="*/ 40 h 80"/>
                  <a:gd name="T18" fmla="*/ 40 w 80"/>
                  <a:gd name="T19"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0" h="80">
                    <a:moveTo>
                      <a:pt x="40" y="55"/>
                    </a:moveTo>
                    <a:cubicBezTo>
                      <a:pt x="32" y="55"/>
                      <a:pt x="25" y="48"/>
                      <a:pt x="25" y="40"/>
                    </a:cubicBezTo>
                    <a:cubicBezTo>
                      <a:pt x="25" y="32"/>
                      <a:pt x="32" y="25"/>
                      <a:pt x="40" y="25"/>
                    </a:cubicBezTo>
                    <a:cubicBezTo>
                      <a:pt x="48" y="25"/>
                      <a:pt x="55" y="32"/>
                      <a:pt x="55" y="40"/>
                    </a:cubicBezTo>
                    <a:cubicBezTo>
                      <a:pt x="55" y="48"/>
                      <a:pt x="48" y="55"/>
                      <a:pt x="40" y="55"/>
                    </a:cubicBezTo>
                    <a:close/>
                    <a:moveTo>
                      <a:pt x="40" y="0"/>
                    </a:moveTo>
                    <a:cubicBezTo>
                      <a:pt x="18" y="0"/>
                      <a:pt x="0" y="18"/>
                      <a:pt x="0" y="40"/>
                    </a:cubicBezTo>
                    <a:cubicBezTo>
                      <a:pt x="0" y="62"/>
                      <a:pt x="18" y="80"/>
                      <a:pt x="40" y="80"/>
                    </a:cubicBezTo>
                    <a:cubicBezTo>
                      <a:pt x="62" y="80"/>
                      <a:pt x="80" y="62"/>
                      <a:pt x="80" y="40"/>
                    </a:cubicBezTo>
                    <a:cubicBezTo>
                      <a:pt x="80" y="18"/>
                      <a:pt x="62" y="0"/>
                      <a:pt x="40"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62" name="Freeform 199">
                <a:extLst>
                  <a:ext uri="{FF2B5EF4-FFF2-40B4-BE49-F238E27FC236}">
                    <a16:creationId xmlns:a16="http://schemas.microsoft.com/office/drawing/2014/main" id="{BD44F0ED-7DA0-4C60-B557-C0E2D211A5D5}"/>
                  </a:ext>
                </a:extLst>
              </p:cNvPr>
              <p:cNvSpPr>
                <a:spLocks noEditPoints="1"/>
              </p:cNvSpPr>
              <p:nvPr/>
            </p:nvSpPr>
            <p:spPr bwMode="auto">
              <a:xfrm>
                <a:off x="4929189" y="2386014"/>
                <a:ext cx="55563" cy="55563"/>
              </a:xfrm>
              <a:custGeom>
                <a:avLst/>
                <a:gdLst>
                  <a:gd name="T0" fmla="*/ 40 w 80"/>
                  <a:gd name="T1" fmla="*/ 55 h 80"/>
                  <a:gd name="T2" fmla="*/ 25 w 80"/>
                  <a:gd name="T3" fmla="*/ 40 h 80"/>
                  <a:gd name="T4" fmla="*/ 40 w 80"/>
                  <a:gd name="T5" fmla="*/ 25 h 80"/>
                  <a:gd name="T6" fmla="*/ 55 w 80"/>
                  <a:gd name="T7" fmla="*/ 40 h 80"/>
                  <a:gd name="T8" fmla="*/ 40 w 80"/>
                  <a:gd name="T9" fmla="*/ 55 h 80"/>
                  <a:gd name="T10" fmla="*/ 40 w 80"/>
                  <a:gd name="T11" fmla="*/ 0 h 80"/>
                  <a:gd name="T12" fmla="*/ 0 w 80"/>
                  <a:gd name="T13" fmla="*/ 40 h 80"/>
                  <a:gd name="T14" fmla="*/ 40 w 80"/>
                  <a:gd name="T15" fmla="*/ 80 h 80"/>
                  <a:gd name="T16" fmla="*/ 80 w 80"/>
                  <a:gd name="T17" fmla="*/ 40 h 80"/>
                  <a:gd name="T18" fmla="*/ 40 w 80"/>
                  <a:gd name="T19"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0" h="80">
                    <a:moveTo>
                      <a:pt x="40" y="55"/>
                    </a:moveTo>
                    <a:cubicBezTo>
                      <a:pt x="32" y="55"/>
                      <a:pt x="25" y="48"/>
                      <a:pt x="25" y="40"/>
                    </a:cubicBezTo>
                    <a:cubicBezTo>
                      <a:pt x="25" y="32"/>
                      <a:pt x="32" y="25"/>
                      <a:pt x="40" y="25"/>
                    </a:cubicBezTo>
                    <a:cubicBezTo>
                      <a:pt x="48" y="25"/>
                      <a:pt x="55" y="32"/>
                      <a:pt x="55" y="40"/>
                    </a:cubicBezTo>
                    <a:cubicBezTo>
                      <a:pt x="55" y="48"/>
                      <a:pt x="48" y="55"/>
                      <a:pt x="40" y="55"/>
                    </a:cubicBezTo>
                    <a:close/>
                    <a:moveTo>
                      <a:pt x="40" y="0"/>
                    </a:moveTo>
                    <a:cubicBezTo>
                      <a:pt x="18" y="0"/>
                      <a:pt x="0" y="18"/>
                      <a:pt x="0" y="40"/>
                    </a:cubicBezTo>
                    <a:cubicBezTo>
                      <a:pt x="0" y="62"/>
                      <a:pt x="18" y="80"/>
                      <a:pt x="40" y="80"/>
                    </a:cubicBezTo>
                    <a:cubicBezTo>
                      <a:pt x="62" y="80"/>
                      <a:pt x="80" y="62"/>
                      <a:pt x="80" y="40"/>
                    </a:cubicBezTo>
                    <a:cubicBezTo>
                      <a:pt x="80" y="18"/>
                      <a:pt x="62" y="0"/>
                      <a:pt x="40"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63" name="Freeform 200">
                <a:extLst>
                  <a:ext uri="{FF2B5EF4-FFF2-40B4-BE49-F238E27FC236}">
                    <a16:creationId xmlns:a16="http://schemas.microsoft.com/office/drawing/2014/main" id="{B91DF2FC-0569-4817-A5E5-EF988DC97013}"/>
                  </a:ext>
                </a:extLst>
              </p:cNvPr>
              <p:cNvSpPr>
                <a:spLocks noEditPoints="1"/>
              </p:cNvSpPr>
              <p:nvPr/>
            </p:nvSpPr>
            <p:spPr bwMode="auto">
              <a:xfrm>
                <a:off x="4646614" y="2062164"/>
                <a:ext cx="384175" cy="311150"/>
              </a:xfrm>
              <a:custGeom>
                <a:avLst/>
                <a:gdLst>
                  <a:gd name="T0" fmla="*/ 465 w 554"/>
                  <a:gd name="T1" fmla="*/ 168 h 450"/>
                  <a:gd name="T2" fmla="*/ 530 w 554"/>
                  <a:gd name="T3" fmla="*/ 88 h 450"/>
                  <a:gd name="T4" fmla="*/ 483 w 554"/>
                  <a:gd name="T5" fmla="*/ 257 h 450"/>
                  <a:gd name="T6" fmla="*/ 447 w 554"/>
                  <a:gd name="T7" fmla="*/ 273 h 450"/>
                  <a:gd name="T8" fmla="*/ 505 w 554"/>
                  <a:gd name="T9" fmla="*/ 177 h 450"/>
                  <a:gd name="T10" fmla="*/ 432 w 554"/>
                  <a:gd name="T11" fmla="*/ 273 h 450"/>
                  <a:gd name="T12" fmla="*/ 407 w 554"/>
                  <a:gd name="T13" fmla="*/ 177 h 450"/>
                  <a:gd name="T14" fmla="*/ 432 w 554"/>
                  <a:gd name="T15" fmla="*/ 273 h 450"/>
                  <a:gd name="T16" fmla="*/ 352 w 554"/>
                  <a:gd name="T17" fmla="*/ 88 h 450"/>
                  <a:gd name="T18" fmla="*/ 393 w 554"/>
                  <a:gd name="T19" fmla="*/ 168 h 450"/>
                  <a:gd name="T20" fmla="*/ 383 w 554"/>
                  <a:gd name="T21" fmla="*/ 273 h 450"/>
                  <a:gd name="T22" fmla="*/ 352 w 554"/>
                  <a:gd name="T23" fmla="*/ 177 h 450"/>
                  <a:gd name="T24" fmla="*/ 383 w 554"/>
                  <a:gd name="T25" fmla="*/ 273 h 450"/>
                  <a:gd name="T26" fmla="*/ 297 w 554"/>
                  <a:gd name="T27" fmla="*/ 168 h 450"/>
                  <a:gd name="T28" fmla="*/ 337 w 554"/>
                  <a:gd name="T29" fmla="*/ 88 h 450"/>
                  <a:gd name="T30" fmla="*/ 337 w 554"/>
                  <a:gd name="T31" fmla="*/ 273 h 450"/>
                  <a:gd name="T32" fmla="*/ 298 w 554"/>
                  <a:gd name="T33" fmla="*/ 177 h 450"/>
                  <a:gd name="T34" fmla="*/ 337 w 554"/>
                  <a:gd name="T35" fmla="*/ 273 h 450"/>
                  <a:gd name="T36" fmla="*/ 242 w 554"/>
                  <a:gd name="T37" fmla="*/ 177 h 450"/>
                  <a:gd name="T38" fmla="*/ 292 w 554"/>
                  <a:gd name="T39" fmla="*/ 273 h 450"/>
                  <a:gd name="T40" fmla="*/ 210 w 554"/>
                  <a:gd name="T41" fmla="*/ 273 h 450"/>
                  <a:gd name="T42" fmla="*/ 227 w 554"/>
                  <a:gd name="T43" fmla="*/ 177 h 450"/>
                  <a:gd name="T44" fmla="*/ 210 w 554"/>
                  <a:gd name="T45" fmla="*/ 273 h 450"/>
                  <a:gd name="T46" fmla="*/ 157 w 554"/>
                  <a:gd name="T47" fmla="*/ 268 h 450"/>
                  <a:gd name="T48" fmla="*/ 173 w 554"/>
                  <a:gd name="T49" fmla="*/ 177 h 450"/>
                  <a:gd name="T50" fmla="*/ 170 w 554"/>
                  <a:gd name="T51" fmla="*/ 273 h 450"/>
                  <a:gd name="T52" fmla="*/ 106 w 554"/>
                  <a:gd name="T53" fmla="*/ 88 h 450"/>
                  <a:gd name="T54" fmla="*/ 171 w 554"/>
                  <a:gd name="T55" fmla="*/ 168 h 450"/>
                  <a:gd name="T56" fmla="*/ 126 w 554"/>
                  <a:gd name="T57" fmla="*/ 156 h 450"/>
                  <a:gd name="T58" fmla="*/ 225 w 554"/>
                  <a:gd name="T59" fmla="*/ 168 h 450"/>
                  <a:gd name="T60" fmla="*/ 168 w 554"/>
                  <a:gd name="T61" fmla="*/ 88 h 450"/>
                  <a:gd name="T62" fmla="*/ 274 w 554"/>
                  <a:gd name="T63" fmla="*/ 88 h 450"/>
                  <a:gd name="T64" fmla="*/ 241 w 554"/>
                  <a:gd name="T65" fmla="*/ 168 h 450"/>
                  <a:gd name="T66" fmla="*/ 274 w 554"/>
                  <a:gd name="T67" fmla="*/ 88 h 450"/>
                  <a:gd name="T68" fmla="*/ 462 w 554"/>
                  <a:gd name="T69" fmla="*/ 88 h 450"/>
                  <a:gd name="T70" fmla="*/ 408 w 554"/>
                  <a:gd name="T71" fmla="*/ 168 h 450"/>
                  <a:gd name="T72" fmla="*/ 24 w 554"/>
                  <a:gd name="T73" fmla="*/ 29 h 450"/>
                  <a:gd name="T74" fmla="*/ 19 w 554"/>
                  <a:gd name="T75" fmla="*/ 13 h 450"/>
                  <a:gd name="T76" fmla="*/ 24 w 554"/>
                  <a:gd name="T77" fmla="*/ 29 h 450"/>
                  <a:gd name="T78" fmla="*/ 110 w 554"/>
                  <a:gd name="T79" fmla="*/ 63 h 450"/>
                  <a:gd name="T80" fmla="*/ 91 w 554"/>
                  <a:gd name="T81" fmla="*/ 34 h 450"/>
                  <a:gd name="T82" fmla="*/ 39 w 554"/>
                  <a:gd name="T83" fmla="*/ 12 h 450"/>
                  <a:gd name="T84" fmla="*/ 3 w 554"/>
                  <a:gd name="T85" fmla="*/ 27 h 450"/>
                  <a:gd name="T86" fmla="*/ 38 w 554"/>
                  <a:gd name="T87" fmla="*/ 31 h 450"/>
                  <a:gd name="T88" fmla="*/ 67 w 554"/>
                  <a:gd name="T89" fmla="*/ 40 h 450"/>
                  <a:gd name="T90" fmla="*/ 209 w 554"/>
                  <a:gd name="T91" fmla="*/ 450 h 450"/>
                  <a:gd name="T92" fmla="*/ 496 w 554"/>
                  <a:gd name="T93" fmla="*/ 437 h 450"/>
                  <a:gd name="T94" fmla="*/ 212 w 554"/>
                  <a:gd name="T95" fmla="*/ 420 h 450"/>
                  <a:gd name="T96" fmla="*/ 168 w 554"/>
                  <a:gd name="T97" fmla="*/ 309 h 450"/>
                  <a:gd name="T98" fmla="*/ 451 w 554"/>
                  <a:gd name="T99" fmla="*/ 314 h 450"/>
                  <a:gd name="T100" fmla="*/ 552 w 554"/>
                  <a:gd name="T101" fmla="*/ 88 h 4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54" h="450">
                    <a:moveTo>
                      <a:pt x="508" y="168"/>
                    </a:moveTo>
                    <a:lnTo>
                      <a:pt x="465" y="168"/>
                    </a:lnTo>
                    <a:lnTo>
                      <a:pt x="478" y="88"/>
                    </a:lnTo>
                    <a:lnTo>
                      <a:pt x="530" y="88"/>
                    </a:lnTo>
                    <a:lnTo>
                      <a:pt x="508" y="168"/>
                    </a:lnTo>
                    <a:close/>
                    <a:moveTo>
                      <a:pt x="483" y="257"/>
                    </a:moveTo>
                    <a:cubicBezTo>
                      <a:pt x="480" y="265"/>
                      <a:pt x="471" y="273"/>
                      <a:pt x="462" y="273"/>
                    </a:cubicBezTo>
                    <a:lnTo>
                      <a:pt x="447" y="273"/>
                    </a:lnTo>
                    <a:lnTo>
                      <a:pt x="463" y="177"/>
                    </a:lnTo>
                    <a:lnTo>
                      <a:pt x="505" y="177"/>
                    </a:lnTo>
                    <a:lnTo>
                      <a:pt x="483" y="257"/>
                    </a:lnTo>
                    <a:close/>
                    <a:moveTo>
                      <a:pt x="432" y="273"/>
                    </a:moveTo>
                    <a:lnTo>
                      <a:pt x="398" y="273"/>
                    </a:lnTo>
                    <a:lnTo>
                      <a:pt x="407" y="177"/>
                    </a:lnTo>
                    <a:lnTo>
                      <a:pt x="447" y="177"/>
                    </a:lnTo>
                    <a:lnTo>
                      <a:pt x="432" y="273"/>
                    </a:lnTo>
                    <a:close/>
                    <a:moveTo>
                      <a:pt x="352" y="168"/>
                    </a:moveTo>
                    <a:lnTo>
                      <a:pt x="352" y="88"/>
                    </a:lnTo>
                    <a:lnTo>
                      <a:pt x="401" y="88"/>
                    </a:lnTo>
                    <a:lnTo>
                      <a:pt x="393" y="168"/>
                    </a:lnTo>
                    <a:lnTo>
                      <a:pt x="352" y="168"/>
                    </a:lnTo>
                    <a:close/>
                    <a:moveTo>
                      <a:pt x="383" y="273"/>
                    </a:moveTo>
                    <a:lnTo>
                      <a:pt x="352" y="273"/>
                    </a:lnTo>
                    <a:lnTo>
                      <a:pt x="352" y="177"/>
                    </a:lnTo>
                    <a:lnTo>
                      <a:pt x="392" y="177"/>
                    </a:lnTo>
                    <a:lnTo>
                      <a:pt x="383" y="273"/>
                    </a:lnTo>
                    <a:close/>
                    <a:moveTo>
                      <a:pt x="337" y="168"/>
                    </a:moveTo>
                    <a:lnTo>
                      <a:pt x="297" y="168"/>
                    </a:lnTo>
                    <a:lnTo>
                      <a:pt x="289" y="88"/>
                    </a:lnTo>
                    <a:lnTo>
                      <a:pt x="337" y="88"/>
                    </a:lnTo>
                    <a:lnTo>
                      <a:pt x="337" y="168"/>
                    </a:lnTo>
                    <a:close/>
                    <a:moveTo>
                      <a:pt x="337" y="273"/>
                    </a:moveTo>
                    <a:lnTo>
                      <a:pt x="307" y="273"/>
                    </a:lnTo>
                    <a:lnTo>
                      <a:pt x="298" y="177"/>
                    </a:lnTo>
                    <a:lnTo>
                      <a:pt x="337" y="177"/>
                    </a:lnTo>
                    <a:lnTo>
                      <a:pt x="337" y="273"/>
                    </a:lnTo>
                    <a:close/>
                    <a:moveTo>
                      <a:pt x="258" y="273"/>
                    </a:moveTo>
                    <a:lnTo>
                      <a:pt x="242" y="177"/>
                    </a:lnTo>
                    <a:lnTo>
                      <a:pt x="282" y="177"/>
                    </a:lnTo>
                    <a:lnTo>
                      <a:pt x="292" y="273"/>
                    </a:lnTo>
                    <a:lnTo>
                      <a:pt x="258" y="273"/>
                    </a:lnTo>
                    <a:close/>
                    <a:moveTo>
                      <a:pt x="210" y="273"/>
                    </a:moveTo>
                    <a:lnTo>
                      <a:pt x="188" y="177"/>
                    </a:lnTo>
                    <a:lnTo>
                      <a:pt x="227" y="177"/>
                    </a:lnTo>
                    <a:lnTo>
                      <a:pt x="242" y="273"/>
                    </a:lnTo>
                    <a:lnTo>
                      <a:pt x="210" y="273"/>
                    </a:lnTo>
                    <a:close/>
                    <a:moveTo>
                      <a:pt x="170" y="273"/>
                    </a:moveTo>
                    <a:cubicBezTo>
                      <a:pt x="165" y="273"/>
                      <a:pt x="161" y="271"/>
                      <a:pt x="157" y="268"/>
                    </a:cubicBezTo>
                    <a:cubicBezTo>
                      <a:pt x="150" y="244"/>
                      <a:pt x="141" y="211"/>
                      <a:pt x="131" y="177"/>
                    </a:cubicBezTo>
                    <a:lnTo>
                      <a:pt x="173" y="177"/>
                    </a:lnTo>
                    <a:lnTo>
                      <a:pt x="194" y="273"/>
                    </a:lnTo>
                    <a:lnTo>
                      <a:pt x="170" y="273"/>
                    </a:lnTo>
                    <a:close/>
                    <a:moveTo>
                      <a:pt x="126" y="156"/>
                    </a:moveTo>
                    <a:cubicBezTo>
                      <a:pt x="119" y="133"/>
                      <a:pt x="112" y="109"/>
                      <a:pt x="106" y="88"/>
                    </a:cubicBezTo>
                    <a:lnTo>
                      <a:pt x="153" y="88"/>
                    </a:lnTo>
                    <a:lnTo>
                      <a:pt x="171" y="168"/>
                    </a:lnTo>
                    <a:lnTo>
                      <a:pt x="129" y="168"/>
                    </a:lnTo>
                    <a:cubicBezTo>
                      <a:pt x="128" y="164"/>
                      <a:pt x="127" y="160"/>
                      <a:pt x="126" y="156"/>
                    </a:cubicBezTo>
                    <a:close/>
                    <a:moveTo>
                      <a:pt x="212" y="88"/>
                    </a:moveTo>
                    <a:lnTo>
                      <a:pt x="225" y="168"/>
                    </a:lnTo>
                    <a:lnTo>
                      <a:pt x="186" y="168"/>
                    </a:lnTo>
                    <a:lnTo>
                      <a:pt x="168" y="88"/>
                    </a:lnTo>
                    <a:lnTo>
                      <a:pt x="212" y="88"/>
                    </a:lnTo>
                    <a:close/>
                    <a:moveTo>
                      <a:pt x="274" y="88"/>
                    </a:moveTo>
                    <a:lnTo>
                      <a:pt x="281" y="168"/>
                    </a:lnTo>
                    <a:lnTo>
                      <a:pt x="241" y="168"/>
                    </a:lnTo>
                    <a:lnTo>
                      <a:pt x="228" y="88"/>
                    </a:lnTo>
                    <a:lnTo>
                      <a:pt x="274" y="88"/>
                    </a:lnTo>
                    <a:close/>
                    <a:moveTo>
                      <a:pt x="416" y="88"/>
                    </a:moveTo>
                    <a:lnTo>
                      <a:pt x="462" y="88"/>
                    </a:lnTo>
                    <a:lnTo>
                      <a:pt x="449" y="168"/>
                    </a:lnTo>
                    <a:lnTo>
                      <a:pt x="408" y="168"/>
                    </a:lnTo>
                    <a:lnTo>
                      <a:pt x="416" y="88"/>
                    </a:lnTo>
                    <a:close/>
                    <a:moveTo>
                      <a:pt x="24" y="29"/>
                    </a:moveTo>
                    <a:cubicBezTo>
                      <a:pt x="19" y="31"/>
                      <a:pt x="15" y="28"/>
                      <a:pt x="13" y="24"/>
                    </a:cubicBezTo>
                    <a:cubicBezTo>
                      <a:pt x="12" y="19"/>
                      <a:pt x="14" y="14"/>
                      <a:pt x="19" y="13"/>
                    </a:cubicBezTo>
                    <a:cubicBezTo>
                      <a:pt x="24" y="12"/>
                      <a:pt x="28" y="14"/>
                      <a:pt x="30" y="19"/>
                    </a:cubicBezTo>
                    <a:cubicBezTo>
                      <a:pt x="31" y="23"/>
                      <a:pt x="29" y="28"/>
                      <a:pt x="24" y="29"/>
                    </a:cubicBezTo>
                    <a:close/>
                    <a:moveTo>
                      <a:pt x="533" y="63"/>
                    </a:moveTo>
                    <a:lnTo>
                      <a:pt x="110" y="63"/>
                    </a:lnTo>
                    <a:cubicBezTo>
                      <a:pt x="106" y="63"/>
                      <a:pt x="103" y="63"/>
                      <a:pt x="100" y="65"/>
                    </a:cubicBezTo>
                    <a:cubicBezTo>
                      <a:pt x="99" y="61"/>
                      <a:pt x="94" y="44"/>
                      <a:pt x="91" y="34"/>
                    </a:cubicBezTo>
                    <a:cubicBezTo>
                      <a:pt x="88" y="22"/>
                      <a:pt x="79" y="12"/>
                      <a:pt x="64" y="12"/>
                    </a:cubicBezTo>
                    <a:cubicBezTo>
                      <a:pt x="61" y="12"/>
                      <a:pt x="40" y="12"/>
                      <a:pt x="39" y="12"/>
                    </a:cubicBezTo>
                    <a:cubicBezTo>
                      <a:pt x="34" y="4"/>
                      <a:pt x="25" y="0"/>
                      <a:pt x="16" y="2"/>
                    </a:cubicBezTo>
                    <a:cubicBezTo>
                      <a:pt x="5" y="6"/>
                      <a:pt x="0" y="16"/>
                      <a:pt x="3" y="27"/>
                    </a:cubicBezTo>
                    <a:cubicBezTo>
                      <a:pt x="6" y="37"/>
                      <a:pt x="17" y="43"/>
                      <a:pt x="27" y="40"/>
                    </a:cubicBezTo>
                    <a:cubicBezTo>
                      <a:pt x="32" y="39"/>
                      <a:pt x="36" y="35"/>
                      <a:pt x="38" y="31"/>
                    </a:cubicBezTo>
                    <a:cubicBezTo>
                      <a:pt x="40" y="31"/>
                      <a:pt x="52" y="31"/>
                      <a:pt x="54" y="31"/>
                    </a:cubicBezTo>
                    <a:cubicBezTo>
                      <a:pt x="63" y="31"/>
                      <a:pt x="65" y="33"/>
                      <a:pt x="67" y="40"/>
                    </a:cubicBezTo>
                    <a:cubicBezTo>
                      <a:pt x="73" y="61"/>
                      <a:pt x="165" y="388"/>
                      <a:pt x="171" y="409"/>
                    </a:cubicBezTo>
                    <a:cubicBezTo>
                      <a:pt x="180" y="439"/>
                      <a:pt x="194" y="450"/>
                      <a:pt x="209" y="450"/>
                    </a:cubicBezTo>
                    <a:lnTo>
                      <a:pt x="483" y="450"/>
                    </a:lnTo>
                    <a:cubicBezTo>
                      <a:pt x="492" y="450"/>
                      <a:pt x="496" y="441"/>
                      <a:pt x="496" y="437"/>
                    </a:cubicBezTo>
                    <a:cubicBezTo>
                      <a:pt x="498" y="423"/>
                      <a:pt x="486" y="420"/>
                      <a:pt x="480" y="420"/>
                    </a:cubicBezTo>
                    <a:lnTo>
                      <a:pt x="212" y="420"/>
                    </a:lnTo>
                    <a:cubicBezTo>
                      <a:pt x="205" y="420"/>
                      <a:pt x="198" y="415"/>
                      <a:pt x="196" y="408"/>
                    </a:cubicBezTo>
                    <a:cubicBezTo>
                      <a:pt x="195" y="404"/>
                      <a:pt x="170" y="315"/>
                      <a:pt x="168" y="309"/>
                    </a:cubicBezTo>
                    <a:cubicBezTo>
                      <a:pt x="174" y="315"/>
                      <a:pt x="179" y="314"/>
                      <a:pt x="182" y="314"/>
                    </a:cubicBezTo>
                    <a:lnTo>
                      <a:pt x="451" y="314"/>
                    </a:lnTo>
                    <a:cubicBezTo>
                      <a:pt x="486" y="314"/>
                      <a:pt x="500" y="272"/>
                      <a:pt x="503" y="259"/>
                    </a:cubicBezTo>
                    <a:lnTo>
                      <a:pt x="552" y="88"/>
                    </a:lnTo>
                    <a:cubicBezTo>
                      <a:pt x="554" y="81"/>
                      <a:pt x="552" y="63"/>
                      <a:pt x="533" y="63"/>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grpSp>
        <p:nvGrpSpPr>
          <p:cNvPr id="124" name="Groep 123">
            <a:extLst>
              <a:ext uri="{FF2B5EF4-FFF2-40B4-BE49-F238E27FC236}">
                <a16:creationId xmlns:a16="http://schemas.microsoft.com/office/drawing/2014/main" id="{27936DDF-219F-4D00-9DE3-2A43A2EED5AA}"/>
              </a:ext>
            </a:extLst>
          </p:cNvPr>
          <p:cNvGrpSpPr/>
          <p:nvPr/>
        </p:nvGrpSpPr>
        <p:grpSpPr>
          <a:xfrm>
            <a:off x="10118795" y="2461894"/>
            <a:ext cx="288000" cy="288000"/>
            <a:chOff x="9659317" y="2318319"/>
            <a:chExt cx="329184" cy="329184"/>
          </a:xfrm>
        </p:grpSpPr>
        <p:sp>
          <p:nvSpPr>
            <p:cNvPr id="257" name="Oval 165">
              <a:extLst>
                <a:ext uri="{FF2B5EF4-FFF2-40B4-BE49-F238E27FC236}">
                  <a16:creationId xmlns:a16="http://schemas.microsoft.com/office/drawing/2014/main" id="{42D77035-3B8C-497B-B38D-51D2CDF5003B}"/>
                </a:ext>
              </a:extLst>
            </p:cNvPr>
            <p:cNvSpPr/>
            <p:nvPr/>
          </p:nvSpPr>
          <p:spPr>
            <a:xfrm>
              <a:off x="9659317" y="2318319"/>
              <a:ext cx="329184" cy="329184"/>
            </a:xfrm>
            <a:prstGeom prst="ellipse">
              <a:avLst/>
            </a:prstGeom>
            <a:solidFill>
              <a:schemeClr val="accen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8" name="Fast_food2" descr="{&quot;Key&quot;:&quot;POWER_USER_SHAPE_ICON&quot;,&quot;Value&quot;:&quot;POWER_USER_SHAPE_ICON_STYLE_1&quot;}">
              <a:extLst>
                <a:ext uri="{FF2B5EF4-FFF2-40B4-BE49-F238E27FC236}">
                  <a16:creationId xmlns:a16="http://schemas.microsoft.com/office/drawing/2014/main" id="{F664DBC8-D0DA-42E1-9DE1-2215297C4E93}"/>
                </a:ext>
              </a:extLst>
            </p:cNvPr>
            <p:cNvSpPr>
              <a:spLocks noChangeAspect="1" noEditPoints="1"/>
            </p:cNvSpPr>
            <p:nvPr/>
          </p:nvSpPr>
          <p:spPr bwMode="auto">
            <a:xfrm>
              <a:off x="9730597" y="2330158"/>
              <a:ext cx="180926" cy="251669"/>
            </a:xfrm>
            <a:custGeom>
              <a:avLst/>
              <a:gdLst>
                <a:gd name="T0" fmla="*/ 1247 w 1250"/>
                <a:gd name="T1" fmla="*/ 292 h 1099"/>
                <a:gd name="T2" fmla="*/ 1145 w 1250"/>
                <a:gd name="T3" fmla="*/ 1099 h 1099"/>
                <a:gd name="T4" fmla="*/ 799 w 1250"/>
                <a:gd name="T5" fmla="*/ 1099 h 1099"/>
                <a:gd name="T6" fmla="*/ 697 w 1250"/>
                <a:gd name="T7" fmla="*/ 292 h 1099"/>
                <a:gd name="T8" fmla="*/ 1119 w 1250"/>
                <a:gd name="T9" fmla="*/ 292 h 1099"/>
                <a:gd name="T10" fmla="*/ 1203 w 1250"/>
                <a:gd name="T11" fmla="*/ 0 h 1099"/>
                <a:gd name="T12" fmla="*/ 1250 w 1250"/>
                <a:gd name="T13" fmla="*/ 13 h 1099"/>
                <a:gd name="T14" fmla="*/ 1170 w 1250"/>
                <a:gd name="T15" fmla="*/ 292 h 1099"/>
                <a:gd name="T16" fmla="*/ 1247 w 1250"/>
                <a:gd name="T17" fmla="*/ 292 h 1099"/>
                <a:gd name="T18" fmla="*/ 648 w 1250"/>
                <a:gd name="T19" fmla="*/ 762 h 1099"/>
                <a:gd name="T20" fmla="*/ 481 w 1250"/>
                <a:gd name="T21" fmla="*/ 644 h 1099"/>
                <a:gd name="T22" fmla="*/ 195 w 1250"/>
                <a:gd name="T23" fmla="*/ 644 h 1099"/>
                <a:gd name="T24" fmla="*/ 29 w 1250"/>
                <a:gd name="T25" fmla="*/ 762 h 1099"/>
                <a:gd name="T26" fmla="*/ 648 w 1250"/>
                <a:gd name="T27" fmla="*/ 762 h 1099"/>
                <a:gd name="T28" fmla="*/ 29 w 1250"/>
                <a:gd name="T29" fmla="*/ 981 h 1099"/>
                <a:gd name="T30" fmla="*/ 195 w 1250"/>
                <a:gd name="T31" fmla="*/ 1099 h 1099"/>
                <a:gd name="T32" fmla="*/ 481 w 1250"/>
                <a:gd name="T33" fmla="*/ 1099 h 1099"/>
                <a:gd name="T34" fmla="*/ 648 w 1250"/>
                <a:gd name="T35" fmla="*/ 981 h 1099"/>
                <a:gd name="T36" fmla="*/ 29 w 1250"/>
                <a:gd name="T37" fmla="*/ 981 h 1099"/>
                <a:gd name="T38" fmla="*/ 621 w 1250"/>
                <a:gd name="T39" fmla="*/ 924 h 1099"/>
                <a:gd name="T40" fmla="*/ 674 w 1250"/>
                <a:gd name="T41" fmla="*/ 871 h 1099"/>
                <a:gd name="T42" fmla="*/ 621 w 1250"/>
                <a:gd name="T43" fmla="*/ 818 h 1099"/>
                <a:gd name="T44" fmla="*/ 53 w 1250"/>
                <a:gd name="T45" fmla="*/ 818 h 1099"/>
                <a:gd name="T46" fmla="*/ 0 w 1250"/>
                <a:gd name="T47" fmla="*/ 871 h 1099"/>
                <a:gd name="T48" fmla="*/ 53 w 1250"/>
                <a:gd name="T49" fmla="*/ 924 h 1099"/>
                <a:gd name="T50" fmla="*/ 621 w 1250"/>
                <a:gd name="T51" fmla="*/ 924 h 10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50" h="1099">
                  <a:moveTo>
                    <a:pt x="1247" y="292"/>
                  </a:moveTo>
                  <a:lnTo>
                    <a:pt x="1145" y="1099"/>
                  </a:lnTo>
                  <a:lnTo>
                    <a:pt x="799" y="1099"/>
                  </a:lnTo>
                  <a:lnTo>
                    <a:pt x="697" y="292"/>
                  </a:lnTo>
                  <a:lnTo>
                    <a:pt x="1119" y="292"/>
                  </a:lnTo>
                  <a:lnTo>
                    <a:pt x="1203" y="0"/>
                  </a:lnTo>
                  <a:lnTo>
                    <a:pt x="1250" y="13"/>
                  </a:lnTo>
                  <a:lnTo>
                    <a:pt x="1170" y="292"/>
                  </a:lnTo>
                  <a:lnTo>
                    <a:pt x="1247" y="292"/>
                  </a:lnTo>
                  <a:close/>
                  <a:moveTo>
                    <a:pt x="648" y="762"/>
                  </a:moveTo>
                  <a:cubicBezTo>
                    <a:pt x="648" y="762"/>
                    <a:pt x="661" y="644"/>
                    <a:pt x="481" y="644"/>
                  </a:cubicBezTo>
                  <a:lnTo>
                    <a:pt x="195" y="644"/>
                  </a:lnTo>
                  <a:cubicBezTo>
                    <a:pt x="16" y="644"/>
                    <a:pt x="29" y="762"/>
                    <a:pt x="29" y="762"/>
                  </a:cubicBezTo>
                  <a:lnTo>
                    <a:pt x="648" y="762"/>
                  </a:lnTo>
                  <a:close/>
                  <a:moveTo>
                    <a:pt x="29" y="981"/>
                  </a:moveTo>
                  <a:cubicBezTo>
                    <a:pt x="29" y="981"/>
                    <a:pt x="16" y="1099"/>
                    <a:pt x="195" y="1099"/>
                  </a:cubicBezTo>
                  <a:lnTo>
                    <a:pt x="481" y="1099"/>
                  </a:lnTo>
                  <a:cubicBezTo>
                    <a:pt x="661" y="1099"/>
                    <a:pt x="648" y="981"/>
                    <a:pt x="648" y="981"/>
                  </a:cubicBezTo>
                  <a:lnTo>
                    <a:pt x="29" y="981"/>
                  </a:lnTo>
                  <a:close/>
                  <a:moveTo>
                    <a:pt x="621" y="924"/>
                  </a:moveTo>
                  <a:cubicBezTo>
                    <a:pt x="650" y="924"/>
                    <a:pt x="674" y="900"/>
                    <a:pt x="674" y="871"/>
                  </a:cubicBezTo>
                  <a:cubicBezTo>
                    <a:pt x="674" y="842"/>
                    <a:pt x="650" y="818"/>
                    <a:pt x="621" y="818"/>
                  </a:cubicBezTo>
                  <a:lnTo>
                    <a:pt x="53" y="818"/>
                  </a:lnTo>
                  <a:cubicBezTo>
                    <a:pt x="24" y="818"/>
                    <a:pt x="0" y="842"/>
                    <a:pt x="0" y="871"/>
                  </a:cubicBezTo>
                  <a:cubicBezTo>
                    <a:pt x="0" y="900"/>
                    <a:pt x="24" y="924"/>
                    <a:pt x="53" y="924"/>
                  </a:cubicBezTo>
                  <a:lnTo>
                    <a:pt x="621" y="924"/>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125" name="Groep 124">
            <a:extLst>
              <a:ext uri="{FF2B5EF4-FFF2-40B4-BE49-F238E27FC236}">
                <a16:creationId xmlns:a16="http://schemas.microsoft.com/office/drawing/2014/main" id="{2D45490A-B256-4F68-A745-96A72A5EC178}"/>
              </a:ext>
            </a:extLst>
          </p:cNvPr>
          <p:cNvGrpSpPr/>
          <p:nvPr/>
        </p:nvGrpSpPr>
        <p:grpSpPr>
          <a:xfrm>
            <a:off x="10246155" y="2033315"/>
            <a:ext cx="288000" cy="288000"/>
            <a:chOff x="2750554" y="409060"/>
            <a:chExt cx="329184" cy="329184"/>
          </a:xfrm>
        </p:grpSpPr>
        <p:sp>
          <p:nvSpPr>
            <p:cNvPr id="254" name="Oval 165">
              <a:extLst>
                <a:ext uri="{FF2B5EF4-FFF2-40B4-BE49-F238E27FC236}">
                  <a16:creationId xmlns:a16="http://schemas.microsoft.com/office/drawing/2014/main" id="{949E20A4-B92B-4697-A310-4590EA406AFD}"/>
                </a:ext>
              </a:extLst>
            </p:cNvPr>
            <p:cNvSpPr/>
            <p:nvPr/>
          </p:nvSpPr>
          <p:spPr>
            <a:xfrm>
              <a:off x="2750554" y="409060"/>
              <a:ext cx="329184" cy="329184"/>
            </a:xfrm>
            <a:prstGeom prst="ellipse">
              <a:avLst/>
            </a:prstGeom>
            <a:solidFill>
              <a:schemeClr val="accen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5" name="Tag2" descr="{&quot;Key&quot;:&quot;POWER_USER_SHAPE_ICON&quot;,&quot;Value&quot;:&quot;POWER_USER_SHAPE_ICON_STYLE_1&quot;}">
              <a:extLst>
                <a:ext uri="{FF2B5EF4-FFF2-40B4-BE49-F238E27FC236}">
                  <a16:creationId xmlns:a16="http://schemas.microsoft.com/office/drawing/2014/main" id="{3336D06E-BFA2-41EE-9270-59EEECDEC793}"/>
                </a:ext>
              </a:extLst>
            </p:cNvPr>
            <p:cNvSpPr>
              <a:spLocks noChangeAspect="1" noEditPoints="1"/>
            </p:cNvSpPr>
            <p:nvPr>
              <p:custDataLst>
                <p:tags r:id="rId22"/>
              </p:custDataLst>
            </p:nvPr>
          </p:nvSpPr>
          <p:spPr bwMode="auto">
            <a:xfrm>
              <a:off x="2771278" y="477528"/>
              <a:ext cx="135298" cy="134693"/>
            </a:xfrm>
            <a:custGeom>
              <a:avLst/>
              <a:gdLst>
                <a:gd name="T0" fmla="*/ 537 w 621"/>
                <a:gd name="T1" fmla="*/ 117 h 617"/>
                <a:gd name="T2" fmla="*/ 504 w 621"/>
                <a:gd name="T3" fmla="*/ 83 h 617"/>
                <a:gd name="T4" fmla="*/ 537 w 621"/>
                <a:gd name="T5" fmla="*/ 50 h 617"/>
                <a:gd name="T6" fmla="*/ 571 w 621"/>
                <a:gd name="T7" fmla="*/ 83 h 617"/>
                <a:gd name="T8" fmla="*/ 537 w 621"/>
                <a:gd name="T9" fmla="*/ 117 h 617"/>
                <a:gd name="T10" fmla="*/ 601 w 621"/>
                <a:gd name="T11" fmla="*/ 0 h 617"/>
                <a:gd name="T12" fmla="*/ 600 w 621"/>
                <a:gd name="T13" fmla="*/ 0 h 617"/>
                <a:gd name="T14" fmla="*/ 599 w 621"/>
                <a:gd name="T15" fmla="*/ 0 h 617"/>
                <a:gd name="T16" fmla="*/ 341 w 621"/>
                <a:gd name="T17" fmla="*/ 0 h 617"/>
                <a:gd name="T18" fmla="*/ 318 w 621"/>
                <a:gd name="T19" fmla="*/ 12 h 617"/>
                <a:gd name="T20" fmla="*/ 16 w 621"/>
                <a:gd name="T21" fmla="*/ 314 h 617"/>
                <a:gd name="T22" fmla="*/ 16 w 621"/>
                <a:gd name="T23" fmla="*/ 372 h 617"/>
                <a:gd name="T24" fmla="*/ 248 w 621"/>
                <a:gd name="T25" fmla="*/ 605 h 617"/>
                <a:gd name="T26" fmla="*/ 277 w 621"/>
                <a:gd name="T27" fmla="*/ 617 h 617"/>
                <a:gd name="T28" fmla="*/ 306 w 621"/>
                <a:gd name="T29" fmla="*/ 605 h 617"/>
                <a:gd name="T30" fmla="*/ 608 w 621"/>
                <a:gd name="T31" fmla="*/ 302 h 617"/>
                <a:gd name="T32" fmla="*/ 621 w 621"/>
                <a:gd name="T33" fmla="*/ 280 h 617"/>
                <a:gd name="T34" fmla="*/ 621 w 621"/>
                <a:gd name="T35" fmla="*/ 20 h 617"/>
                <a:gd name="T36" fmla="*/ 601 w 621"/>
                <a:gd name="T37" fmla="*/ 0 h 6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21" h="617">
                  <a:moveTo>
                    <a:pt x="537" y="117"/>
                  </a:moveTo>
                  <a:cubicBezTo>
                    <a:pt x="519" y="117"/>
                    <a:pt x="504" y="102"/>
                    <a:pt x="504" y="83"/>
                  </a:cubicBezTo>
                  <a:cubicBezTo>
                    <a:pt x="504" y="65"/>
                    <a:pt x="519" y="50"/>
                    <a:pt x="537" y="50"/>
                  </a:cubicBezTo>
                  <a:cubicBezTo>
                    <a:pt x="556" y="50"/>
                    <a:pt x="571" y="65"/>
                    <a:pt x="571" y="83"/>
                  </a:cubicBezTo>
                  <a:cubicBezTo>
                    <a:pt x="571" y="102"/>
                    <a:pt x="556" y="117"/>
                    <a:pt x="537" y="117"/>
                  </a:cubicBezTo>
                  <a:close/>
                  <a:moveTo>
                    <a:pt x="601" y="0"/>
                  </a:moveTo>
                  <a:lnTo>
                    <a:pt x="600" y="0"/>
                  </a:lnTo>
                  <a:cubicBezTo>
                    <a:pt x="600" y="0"/>
                    <a:pt x="600" y="0"/>
                    <a:pt x="599" y="0"/>
                  </a:cubicBezTo>
                  <a:lnTo>
                    <a:pt x="341" y="0"/>
                  </a:lnTo>
                  <a:cubicBezTo>
                    <a:pt x="334" y="0"/>
                    <a:pt x="320" y="10"/>
                    <a:pt x="318" y="12"/>
                  </a:cubicBezTo>
                  <a:lnTo>
                    <a:pt x="16" y="314"/>
                  </a:lnTo>
                  <a:cubicBezTo>
                    <a:pt x="0" y="330"/>
                    <a:pt x="0" y="356"/>
                    <a:pt x="16" y="372"/>
                  </a:cubicBezTo>
                  <a:lnTo>
                    <a:pt x="248" y="605"/>
                  </a:lnTo>
                  <a:cubicBezTo>
                    <a:pt x="256" y="613"/>
                    <a:pt x="267" y="617"/>
                    <a:pt x="277" y="617"/>
                  </a:cubicBezTo>
                  <a:cubicBezTo>
                    <a:pt x="288" y="617"/>
                    <a:pt x="298" y="613"/>
                    <a:pt x="306" y="605"/>
                  </a:cubicBezTo>
                  <a:lnTo>
                    <a:pt x="608" y="302"/>
                  </a:lnTo>
                  <a:cubicBezTo>
                    <a:pt x="610" y="300"/>
                    <a:pt x="621" y="288"/>
                    <a:pt x="621" y="280"/>
                  </a:cubicBezTo>
                  <a:lnTo>
                    <a:pt x="621" y="20"/>
                  </a:lnTo>
                  <a:cubicBezTo>
                    <a:pt x="621" y="9"/>
                    <a:pt x="613" y="0"/>
                    <a:pt x="601"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56" name="Shopping_Basket2" descr="{&quot;Key&quot;:&quot;POWER_USER_SHAPE_ICON&quot;,&quot;Value&quot;:&quot;POWER_USER_SHAPE_ICON_STYLE_1&quot;}">
              <a:extLst>
                <a:ext uri="{FF2B5EF4-FFF2-40B4-BE49-F238E27FC236}">
                  <a16:creationId xmlns:a16="http://schemas.microsoft.com/office/drawing/2014/main" id="{C9D27A5E-3ED5-47DD-9A99-0A3137336756}"/>
                </a:ext>
              </a:extLst>
            </p:cNvPr>
            <p:cNvSpPr>
              <a:spLocks noChangeAspect="1" noChangeArrowheads="1"/>
            </p:cNvSpPr>
            <p:nvPr>
              <p:custDataLst>
                <p:tags r:id="rId23"/>
              </p:custDataLst>
            </p:nvPr>
          </p:nvSpPr>
          <p:spPr bwMode="auto">
            <a:xfrm>
              <a:off x="2889956" y="506183"/>
              <a:ext cx="146089" cy="128381"/>
            </a:xfrm>
            <a:custGeom>
              <a:avLst/>
              <a:gdLst>
                <a:gd name="T0" fmla="*/ 429 w 583"/>
                <a:gd name="T1" fmla="*/ 183 h 512"/>
                <a:gd name="T2" fmla="*/ 312 w 583"/>
                <a:gd name="T3" fmla="*/ 10 h 512"/>
                <a:gd name="T4" fmla="*/ 291 w 583"/>
                <a:gd name="T5" fmla="*/ 0 h 512"/>
                <a:gd name="T6" fmla="*/ 271 w 583"/>
                <a:gd name="T7" fmla="*/ 10 h 512"/>
                <a:gd name="T8" fmla="*/ 153 w 583"/>
                <a:gd name="T9" fmla="*/ 183 h 512"/>
                <a:gd name="T10" fmla="*/ 26 w 583"/>
                <a:gd name="T11" fmla="*/ 183 h 512"/>
                <a:gd name="T12" fmla="*/ 0 w 583"/>
                <a:gd name="T13" fmla="*/ 214 h 512"/>
                <a:gd name="T14" fmla="*/ 0 w 583"/>
                <a:gd name="T15" fmla="*/ 219 h 512"/>
                <a:gd name="T16" fmla="*/ 66 w 583"/>
                <a:gd name="T17" fmla="*/ 470 h 512"/>
                <a:gd name="T18" fmla="*/ 117 w 583"/>
                <a:gd name="T19" fmla="*/ 511 h 512"/>
                <a:gd name="T20" fmla="*/ 465 w 583"/>
                <a:gd name="T21" fmla="*/ 511 h 512"/>
                <a:gd name="T22" fmla="*/ 516 w 583"/>
                <a:gd name="T23" fmla="*/ 470 h 512"/>
                <a:gd name="T24" fmla="*/ 582 w 583"/>
                <a:gd name="T25" fmla="*/ 219 h 512"/>
                <a:gd name="T26" fmla="*/ 582 w 583"/>
                <a:gd name="T27" fmla="*/ 214 h 512"/>
                <a:gd name="T28" fmla="*/ 552 w 583"/>
                <a:gd name="T29" fmla="*/ 183 h 512"/>
                <a:gd name="T30" fmla="*/ 429 w 583"/>
                <a:gd name="T31" fmla="*/ 183 h 512"/>
                <a:gd name="T32" fmla="*/ 209 w 583"/>
                <a:gd name="T33" fmla="*/ 183 h 512"/>
                <a:gd name="T34" fmla="*/ 291 w 583"/>
                <a:gd name="T35" fmla="*/ 66 h 512"/>
                <a:gd name="T36" fmla="*/ 373 w 583"/>
                <a:gd name="T37" fmla="*/ 183 h 512"/>
                <a:gd name="T38" fmla="*/ 209 w 583"/>
                <a:gd name="T39" fmla="*/ 183 h 512"/>
                <a:gd name="T40" fmla="*/ 291 w 583"/>
                <a:gd name="T41" fmla="*/ 398 h 512"/>
                <a:gd name="T42" fmla="*/ 240 w 583"/>
                <a:gd name="T43" fmla="*/ 347 h 512"/>
                <a:gd name="T44" fmla="*/ 291 w 583"/>
                <a:gd name="T45" fmla="*/ 291 h 512"/>
                <a:gd name="T46" fmla="*/ 347 w 583"/>
                <a:gd name="T47" fmla="*/ 347 h 512"/>
                <a:gd name="T48" fmla="*/ 291 w 583"/>
                <a:gd name="T49" fmla="*/ 39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83" h="512">
                  <a:moveTo>
                    <a:pt x="429" y="183"/>
                  </a:moveTo>
                  <a:lnTo>
                    <a:pt x="312" y="10"/>
                  </a:lnTo>
                  <a:cubicBezTo>
                    <a:pt x="307" y="5"/>
                    <a:pt x="299" y="0"/>
                    <a:pt x="291" y="0"/>
                  </a:cubicBezTo>
                  <a:cubicBezTo>
                    <a:pt x="284" y="0"/>
                    <a:pt x="276" y="0"/>
                    <a:pt x="271" y="10"/>
                  </a:cubicBezTo>
                  <a:lnTo>
                    <a:pt x="153" y="183"/>
                  </a:lnTo>
                  <a:lnTo>
                    <a:pt x="26" y="183"/>
                  </a:lnTo>
                  <a:cubicBezTo>
                    <a:pt x="10" y="183"/>
                    <a:pt x="0" y="194"/>
                    <a:pt x="0" y="214"/>
                  </a:cubicBezTo>
                  <a:lnTo>
                    <a:pt x="0" y="219"/>
                  </a:lnTo>
                  <a:lnTo>
                    <a:pt x="66" y="470"/>
                  </a:lnTo>
                  <a:cubicBezTo>
                    <a:pt x="72" y="490"/>
                    <a:pt x="92" y="511"/>
                    <a:pt x="117" y="511"/>
                  </a:cubicBezTo>
                  <a:lnTo>
                    <a:pt x="465" y="511"/>
                  </a:lnTo>
                  <a:cubicBezTo>
                    <a:pt x="485" y="511"/>
                    <a:pt x="506" y="490"/>
                    <a:pt x="516" y="470"/>
                  </a:cubicBezTo>
                  <a:lnTo>
                    <a:pt x="582" y="219"/>
                  </a:lnTo>
                  <a:lnTo>
                    <a:pt x="582" y="214"/>
                  </a:lnTo>
                  <a:cubicBezTo>
                    <a:pt x="582" y="194"/>
                    <a:pt x="572" y="183"/>
                    <a:pt x="552" y="183"/>
                  </a:cubicBezTo>
                  <a:lnTo>
                    <a:pt x="429" y="183"/>
                  </a:lnTo>
                  <a:close/>
                  <a:moveTo>
                    <a:pt x="209" y="183"/>
                  </a:moveTo>
                  <a:lnTo>
                    <a:pt x="291" y="66"/>
                  </a:lnTo>
                  <a:lnTo>
                    <a:pt x="373" y="183"/>
                  </a:lnTo>
                  <a:lnTo>
                    <a:pt x="209" y="183"/>
                  </a:lnTo>
                  <a:close/>
                  <a:moveTo>
                    <a:pt x="291" y="398"/>
                  </a:moveTo>
                  <a:cubicBezTo>
                    <a:pt x="261" y="398"/>
                    <a:pt x="240" y="375"/>
                    <a:pt x="240" y="347"/>
                  </a:cubicBezTo>
                  <a:cubicBezTo>
                    <a:pt x="240" y="319"/>
                    <a:pt x="261" y="291"/>
                    <a:pt x="291" y="291"/>
                  </a:cubicBezTo>
                  <a:cubicBezTo>
                    <a:pt x="322" y="291"/>
                    <a:pt x="347" y="319"/>
                    <a:pt x="347" y="347"/>
                  </a:cubicBezTo>
                  <a:cubicBezTo>
                    <a:pt x="347" y="375"/>
                    <a:pt x="322" y="398"/>
                    <a:pt x="291" y="398"/>
                  </a:cubicBezTo>
                  <a:close/>
                </a:path>
              </a:pathLst>
            </a:custGeom>
            <a:solidFill>
              <a:schemeClr val="bg1"/>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129" name="Oval 165">
            <a:extLst>
              <a:ext uri="{FF2B5EF4-FFF2-40B4-BE49-F238E27FC236}">
                <a16:creationId xmlns:a16="http://schemas.microsoft.com/office/drawing/2014/main" id="{1550E16E-FF9F-4974-929B-DAFF77DB2FF7}"/>
              </a:ext>
            </a:extLst>
          </p:cNvPr>
          <p:cNvSpPr/>
          <p:nvPr/>
        </p:nvSpPr>
        <p:spPr>
          <a:xfrm>
            <a:off x="8618210" y="5139931"/>
            <a:ext cx="329184" cy="329184"/>
          </a:xfrm>
          <a:prstGeom prst="ellipse">
            <a:avLst/>
          </a:prstGeom>
          <a:solidFill>
            <a:schemeClr val="accen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0" name="Fast_food2" descr="{&quot;Key&quot;:&quot;POWER_USER_SHAPE_ICON&quot;,&quot;Value&quot;:&quot;POWER_USER_SHAPE_ICON_STYLE_1&quot;}">
            <a:extLst>
              <a:ext uri="{FF2B5EF4-FFF2-40B4-BE49-F238E27FC236}">
                <a16:creationId xmlns:a16="http://schemas.microsoft.com/office/drawing/2014/main" id="{30CFE0B3-4A69-4F23-9EA9-5972A724C9D7}"/>
              </a:ext>
            </a:extLst>
          </p:cNvPr>
          <p:cNvSpPr>
            <a:spLocks noChangeAspect="1" noEditPoints="1"/>
          </p:cNvSpPr>
          <p:nvPr/>
        </p:nvSpPr>
        <p:spPr bwMode="auto">
          <a:xfrm>
            <a:off x="8689490" y="5151770"/>
            <a:ext cx="180926" cy="251669"/>
          </a:xfrm>
          <a:custGeom>
            <a:avLst/>
            <a:gdLst>
              <a:gd name="T0" fmla="*/ 1247 w 1250"/>
              <a:gd name="T1" fmla="*/ 292 h 1099"/>
              <a:gd name="T2" fmla="*/ 1145 w 1250"/>
              <a:gd name="T3" fmla="*/ 1099 h 1099"/>
              <a:gd name="T4" fmla="*/ 799 w 1250"/>
              <a:gd name="T5" fmla="*/ 1099 h 1099"/>
              <a:gd name="T6" fmla="*/ 697 w 1250"/>
              <a:gd name="T7" fmla="*/ 292 h 1099"/>
              <a:gd name="T8" fmla="*/ 1119 w 1250"/>
              <a:gd name="T9" fmla="*/ 292 h 1099"/>
              <a:gd name="T10" fmla="*/ 1203 w 1250"/>
              <a:gd name="T11" fmla="*/ 0 h 1099"/>
              <a:gd name="T12" fmla="*/ 1250 w 1250"/>
              <a:gd name="T13" fmla="*/ 13 h 1099"/>
              <a:gd name="T14" fmla="*/ 1170 w 1250"/>
              <a:gd name="T15" fmla="*/ 292 h 1099"/>
              <a:gd name="T16" fmla="*/ 1247 w 1250"/>
              <a:gd name="T17" fmla="*/ 292 h 1099"/>
              <a:gd name="T18" fmla="*/ 648 w 1250"/>
              <a:gd name="T19" fmla="*/ 762 h 1099"/>
              <a:gd name="T20" fmla="*/ 481 w 1250"/>
              <a:gd name="T21" fmla="*/ 644 h 1099"/>
              <a:gd name="T22" fmla="*/ 195 w 1250"/>
              <a:gd name="T23" fmla="*/ 644 h 1099"/>
              <a:gd name="T24" fmla="*/ 29 w 1250"/>
              <a:gd name="T25" fmla="*/ 762 h 1099"/>
              <a:gd name="T26" fmla="*/ 648 w 1250"/>
              <a:gd name="T27" fmla="*/ 762 h 1099"/>
              <a:gd name="T28" fmla="*/ 29 w 1250"/>
              <a:gd name="T29" fmla="*/ 981 h 1099"/>
              <a:gd name="T30" fmla="*/ 195 w 1250"/>
              <a:gd name="T31" fmla="*/ 1099 h 1099"/>
              <a:gd name="T32" fmla="*/ 481 w 1250"/>
              <a:gd name="T33" fmla="*/ 1099 h 1099"/>
              <a:gd name="T34" fmla="*/ 648 w 1250"/>
              <a:gd name="T35" fmla="*/ 981 h 1099"/>
              <a:gd name="T36" fmla="*/ 29 w 1250"/>
              <a:gd name="T37" fmla="*/ 981 h 1099"/>
              <a:gd name="T38" fmla="*/ 621 w 1250"/>
              <a:gd name="T39" fmla="*/ 924 h 1099"/>
              <a:gd name="T40" fmla="*/ 674 w 1250"/>
              <a:gd name="T41" fmla="*/ 871 h 1099"/>
              <a:gd name="T42" fmla="*/ 621 w 1250"/>
              <a:gd name="T43" fmla="*/ 818 h 1099"/>
              <a:gd name="T44" fmla="*/ 53 w 1250"/>
              <a:gd name="T45" fmla="*/ 818 h 1099"/>
              <a:gd name="T46" fmla="*/ 0 w 1250"/>
              <a:gd name="T47" fmla="*/ 871 h 1099"/>
              <a:gd name="T48" fmla="*/ 53 w 1250"/>
              <a:gd name="T49" fmla="*/ 924 h 1099"/>
              <a:gd name="T50" fmla="*/ 621 w 1250"/>
              <a:gd name="T51" fmla="*/ 924 h 10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50" h="1099">
                <a:moveTo>
                  <a:pt x="1247" y="292"/>
                </a:moveTo>
                <a:lnTo>
                  <a:pt x="1145" y="1099"/>
                </a:lnTo>
                <a:lnTo>
                  <a:pt x="799" y="1099"/>
                </a:lnTo>
                <a:lnTo>
                  <a:pt x="697" y="292"/>
                </a:lnTo>
                <a:lnTo>
                  <a:pt x="1119" y="292"/>
                </a:lnTo>
                <a:lnTo>
                  <a:pt x="1203" y="0"/>
                </a:lnTo>
                <a:lnTo>
                  <a:pt x="1250" y="13"/>
                </a:lnTo>
                <a:lnTo>
                  <a:pt x="1170" y="292"/>
                </a:lnTo>
                <a:lnTo>
                  <a:pt x="1247" y="292"/>
                </a:lnTo>
                <a:close/>
                <a:moveTo>
                  <a:pt x="648" y="762"/>
                </a:moveTo>
                <a:cubicBezTo>
                  <a:pt x="648" y="762"/>
                  <a:pt x="661" y="644"/>
                  <a:pt x="481" y="644"/>
                </a:cubicBezTo>
                <a:lnTo>
                  <a:pt x="195" y="644"/>
                </a:lnTo>
                <a:cubicBezTo>
                  <a:pt x="16" y="644"/>
                  <a:pt x="29" y="762"/>
                  <a:pt x="29" y="762"/>
                </a:cubicBezTo>
                <a:lnTo>
                  <a:pt x="648" y="762"/>
                </a:lnTo>
                <a:close/>
                <a:moveTo>
                  <a:pt x="29" y="981"/>
                </a:moveTo>
                <a:cubicBezTo>
                  <a:pt x="29" y="981"/>
                  <a:pt x="16" y="1099"/>
                  <a:pt x="195" y="1099"/>
                </a:cubicBezTo>
                <a:lnTo>
                  <a:pt x="481" y="1099"/>
                </a:lnTo>
                <a:cubicBezTo>
                  <a:pt x="661" y="1099"/>
                  <a:pt x="648" y="981"/>
                  <a:pt x="648" y="981"/>
                </a:cubicBezTo>
                <a:lnTo>
                  <a:pt x="29" y="981"/>
                </a:lnTo>
                <a:close/>
                <a:moveTo>
                  <a:pt x="621" y="924"/>
                </a:moveTo>
                <a:cubicBezTo>
                  <a:pt x="650" y="924"/>
                  <a:pt x="674" y="900"/>
                  <a:pt x="674" y="871"/>
                </a:cubicBezTo>
                <a:cubicBezTo>
                  <a:pt x="674" y="842"/>
                  <a:pt x="650" y="818"/>
                  <a:pt x="621" y="818"/>
                </a:cubicBezTo>
                <a:lnTo>
                  <a:pt x="53" y="818"/>
                </a:lnTo>
                <a:cubicBezTo>
                  <a:pt x="24" y="818"/>
                  <a:pt x="0" y="842"/>
                  <a:pt x="0" y="871"/>
                </a:cubicBezTo>
                <a:cubicBezTo>
                  <a:pt x="0" y="900"/>
                  <a:pt x="24" y="924"/>
                  <a:pt x="53" y="924"/>
                </a:cubicBezTo>
                <a:lnTo>
                  <a:pt x="621" y="924"/>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nvGrpSpPr>
          <p:cNvPr id="141" name="Groep 140">
            <a:extLst>
              <a:ext uri="{FF2B5EF4-FFF2-40B4-BE49-F238E27FC236}">
                <a16:creationId xmlns:a16="http://schemas.microsoft.com/office/drawing/2014/main" id="{7451AE22-7A28-4CA8-8882-EF2C853D6F0F}"/>
              </a:ext>
            </a:extLst>
          </p:cNvPr>
          <p:cNvGrpSpPr/>
          <p:nvPr/>
        </p:nvGrpSpPr>
        <p:grpSpPr>
          <a:xfrm>
            <a:off x="8129213" y="5274137"/>
            <a:ext cx="329184" cy="329184"/>
            <a:chOff x="2750554" y="409060"/>
            <a:chExt cx="329184" cy="329184"/>
          </a:xfrm>
        </p:grpSpPr>
        <p:sp>
          <p:nvSpPr>
            <p:cNvPr id="245" name="Oval 165">
              <a:extLst>
                <a:ext uri="{FF2B5EF4-FFF2-40B4-BE49-F238E27FC236}">
                  <a16:creationId xmlns:a16="http://schemas.microsoft.com/office/drawing/2014/main" id="{784DF8A2-3204-46DB-89C2-D5CE4FDF3186}"/>
                </a:ext>
              </a:extLst>
            </p:cNvPr>
            <p:cNvSpPr/>
            <p:nvPr/>
          </p:nvSpPr>
          <p:spPr>
            <a:xfrm>
              <a:off x="2750554" y="409060"/>
              <a:ext cx="329184" cy="329184"/>
            </a:xfrm>
            <a:prstGeom prst="ellipse">
              <a:avLst/>
            </a:prstGeom>
            <a:solidFill>
              <a:schemeClr val="accen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6" name="Tag2" descr="{&quot;Key&quot;:&quot;POWER_USER_SHAPE_ICON&quot;,&quot;Value&quot;:&quot;POWER_USER_SHAPE_ICON_STYLE_1&quot;}">
              <a:extLst>
                <a:ext uri="{FF2B5EF4-FFF2-40B4-BE49-F238E27FC236}">
                  <a16:creationId xmlns:a16="http://schemas.microsoft.com/office/drawing/2014/main" id="{45CE9CF9-AFDD-4AA4-A0BA-111845280FEA}"/>
                </a:ext>
              </a:extLst>
            </p:cNvPr>
            <p:cNvSpPr>
              <a:spLocks noChangeAspect="1" noEditPoints="1"/>
            </p:cNvSpPr>
            <p:nvPr>
              <p:custDataLst>
                <p:tags r:id="rId20"/>
              </p:custDataLst>
            </p:nvPr>
          </p:nvSpPr>
          <p:spPr bwMode="auto">
            <a:xfrm>
              <a:off x="2771278" y="477528"/>
              <a:ext cx="135298" cy="134693"/>
            </a:xfrm>
            <a:custGeom>
              <a:avLst/>
              <a:gdLst>
                <a:gd name="T0" fmla="*/ 537 w 621"/>
                <a:gd name="T1" fmla="*/ 117 h 617"/>
                <a:gd name="T2" fmla="*/ 504 w 621"/>
                <a:gd name="T3" fmla="*/ 83 h 617"/>
                <a:gd name="T4" fmla="*/ 537 w 621"/>
                <a:gd name="T5" fmla="*/ 50 h 617"/>
                <a:gd name="T6" fmla="*/ 571 w 621"/>
                <a:gd name="T7" fmla="*/ 83 h 617"/>
                <a:gd name="T8" fmla="*/ 537 w 621"/>
                <a:gd name="T9" fmla="*/ 117 h 617"/>
                <a:gd name="T10" fmla="*/ 601 w 621"/>
                <a:gd name="T11" fmla="*/ 0 h 617"/>
                <a:gd name="T12" fmla="*/ 600 w 621"/>
                <a:gd name="T13" fmla="*/ 0 h 617"/>
                <a:gd name="T14" fmla="*/ 599 w 621"/>
                <a:gd name="T15" fmla="*/ 0 h 617"/>
                <a:gd name="T16" fmla="*/ 341 w 621"/>
                <a:gd name="T17" fmla="*/ 0 h 617"/>
                <a:gd name="T18" fmla="*/ 318 w 621"/>
                <a:gd name="T19" fmla="*/ 12 h 617"/>
                <a:gd name="T20" fmla="*/ 16 w 621"/>
                <a:gd name="T21" fmla="*/ 314 h 617"/>
                <a:gd name="T22" fmla="*/ 16 w 621"/>
                <a:gd name="T23" fmla="*/ 372 h 617"/>
                <a:gd name="T24" fmla="*/ 248 w 621"/>
                <a:gd name="T25" fmla="*/ 605 h 617"/>
                <a:gd name="T26" fmla="*/ 277 w 621"/>
                <a:gd name="T27" fmla="*/ 617 h 617"/>
                <a:gd name="T28" fmla="*/ 306 w 621"/>
                <a:gd name="T29" fmla="*/ 605 h 617"/>
                <a:gd name="T30" fmla="*/ 608 w 621"/>
                <a:gd name="T31" fmla="*/ 302 h 617"/>
                <a:gd name="T32" fmla="*/ 621 w 621"/>
                <a:gd name="T33" fmla="*/ 280 h 617"/>
                <a:gd name="T34" fmla="*/ 621 w 621"/>
                <a:gd name="T35" fmla="*/ 20 h 617"/>
                <a:gd name="T36" fmla="*/ 601 w 621"/>
                <a:gd name="T37" fmla="*/ 0 h 6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21" h="617">
                  <a:moveTo>
                    <a:pt x="537" y="117"/>
                  </a:moveTo>
                  <a:cubicBezTo>
                    <a:pt x="519" y="117"/>
                    <a:pt x="504" y="102"/>
                    <a:pt x="504" y="83"/>
                  </a:cubicBezTo>
                  <a:cubicBezTo>
                    <a:pt x="504" y="65"/>
                    <a:pt x="519" y="50"/>
                    <a:pt x="537" y="50"/>
                  </a:cubicBezTo>
                  <a:cubicBezTo>
                    <a:pt x="556" y="50"/>
                    <a:pt x="571" y="65"/>
                    <a:pt x="571" y="83"/>
                  </a:cubicBezTo>
                  <a:cubicBezTo>
                    <a:pt x="571" y="102"/>
                    <a:pt x="556" y="117"/>
                    <a:pt x="537" y="117"/>
                  </a:cubicBezTo>
                  <a:close/>
                  <a:moveTo>
                    <a:pt x="601" y="0"/>
                  </a:moveTo>
                  <a:lnTo>
                    <a:pt x="600" y="0"/>
                  </a:lnTo>
                  <a:cubicBezTo>
                    <a:pt x="600" y="0"/>
                    <a:pt x="600" y="0"/>
                    <a:pt x="599" y="0"/>
                  </a:cubicBezTo>
                  <a:lnTo>
                    <a:pt x="341" y="0"/>
                  </a:lnTo>
                  <a:cubicBezTo>
                    <a:pt x="334" y="0"/>
                    <a:pt x="320" y="10"/>
                    <a:pt x="318" y="12"/>
                  </a:cubicBezTo>
                  <a:lnTo>
                    <a:pt x="16" y="314"/>
                  </a:lnTo>
                  <a:cubicBezTo>
                    <a:pt x="0" y="330"/>
                    <a:pt x="0" y="356"/>
                    <a:pt x="16" y="372"/>
                  </a:cubicBezTo>
                  <a:lnTo>
                    <a:pt x="248" y="605"/>
                  </a:lnTo>
                  <a:cubicBezTo>
                    <a:pt x="256" y="613"/>
                    <a:pt x="267" y="617"/>
                    <a:pt x="277" y="617"/>
                  </a:cubicBezTo>
                  <a:cubicBezTo>
                    <a:pt x="288" y="617"/>
                    <a:pt x="298" y="613"/>
                    <a:pt x="306" y="605"/>
                  </a:cubicBezTo>
                  <a:lnTo>
                    <a:pt x="608" y="302"/>
                  </a:lnTo>
                  <a:cubicBezTo>
                    <a:pt x="610" y="300"/>
                    <a:pt x="621" y="288"/>
                    <a:pt x="621" y="280"/>
                  </a:cubicBezTo>
                  <a:lnTo>
                    <a:pt x="621" y="20"/>
                  </a:lnTo>
                  <a:cubicBezTo>
                    <a:pt x="621" y="9"/>
                    <a:pt x="613" y="0"/>
                    <a:pt x="601"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7" name="Shopping_Basket2" descr="{&quot;Key&quot;:&quot;POWER_USER_SHAPE_ICON&quot;,&quot;Value&quot;:&quot;POWER_USER_SHAPE_ICON_STYLE_1&quot;}">
              <a:extLst>
                <a:ext uri="{FF2B5EF4-FFF2-40B4-BE49-F238E27FC236}">
                  <a16:creationId xmlns:a16="http://schemas.microsoft.com/office/drawing/2014/main" id="{7B60D3C4-E18F-472B-B7A5-75DB6DB80630}"/>
                </a:ext>
              </a:extLst>
            </p:cNvPr>
            <p:cNvSpPr>
              <a:spLocks noChangeAspect="1" noChangeArrowheads="1"/>
            </p:cNvSpPr>
            <p:nvPr>
              <p:custDataLst>
                <p:tags r:id="rId21"/>
              </p:custDataLst>
            </p:nvPr>
          </p:nvSpPr>
          <p:spPr bwMode="auto">
            <a:xfrm>
              <a:off x="2889956" y="506183"/>
              <a:ext cx="146089" cy="128381"/>
            </a:xfrm>
            <a:custGeom>
              <a:avLst/>
              <a:gdLst>
                <a:gd name="T0" fmla="*/ 429 w 583"/>
                <a:gd name="T1" fmla="*/ 183 h 512"/>
                <a:gd name="T2" fmla="*/ 312 w 583"/>
                <a:gd name="T3" fmla="*/ 10 h 512"/>
                <a:gd name="T4" fmla="*/ 291 w 583"/>
                <a:gd name="T5" fmla="*/ 0 h 512"/>
                <a:gd name="T6" fmla="*/ 271 w 583"/>
                <a:gd name="T7" fmla="*/ 10 h 512"/>
                <a:gd name="T8" fmla="*/ 153 w 583"/>
                <a:gd name="T9" fmla="*/ 183 h 512"/>
                <a:gd name="T10" fmla="*/ 26 w 583"/>
                <a:gd name="T11" fmla="*/ 183 h 512"/>
                <a:gd name="T12" fmla="*/ 0 w 583"/>
                <a:gd name="T13" fmla="*/ 214 h 512"/>
                <a:gd name="T14" fmla="*/ 0 w 583"/>
                <a:gd name="T15" fmla="*/ 219 h 512"/>
                <a:gd name="T16" fmla="*/ 66 w 583"/>
                <a:gd name="T17" fmla="*/ 470 h 512"/>
                <a:gd name="T18" fmla="*/ 117 w 583"/>
                <a:gd name="T19" fmla="*/ 511 h 512"/>
                <a:gd name="T20" fmla="*/ 465 w 583"/>
                <a:gd name="T21" fmla="*/ 511 h 512"/>
                <a:gd name="T22" fmla="*/ 516 w 583"/>
                <a:gd name="T23" fmla="*/ 470 h 512"/>
                <a:gd name="T24" fmla="*/ 582 w 583"/>
                <a:gd name="T25" fmla="*/ 219 h 512"/>
                <a:gd name="T26" fmla="*/ 582 w 583"/>
                <a:gd name="T27" fmla="*/ 214 h 512"/>
                <a:gd name="T28" fmla="*/ 552 w 583"/>
                <a:gd name="T29" fmla="*/ 183 h 512"/>
                <a:gd name="T30" fmla="*/ 429 w 583"/>
                <a:gd name="T31" fmla="*/ 183 h 512"/>
                <a:gd name="T32" fmla="*/ 209 w 583"/>
                <a:gd name="T33" fmla="*/ 183 h 512"/>
                <a:gd name="T34" fmla="*/ 291 w 583"/>
                <a:gd name="T35" fmla="*/ 66 h 512"/>
                <a:gd name="T36" fmla="*/ 373 w 583"/>
                <a:gd name="T37" fmla="*/ 183 h 512"/>
                <a:gd name="T38" fmla="*/ 209 w 583"/>
                <a:gd name="T39" fmla="*/ 183 h 512"/>
                <a:gd name="T40" fmla="*/ 291 w 583"/>
                <a:gd name="T41" fmla="*/ 398 h 512"/>
                <a:gd name="T42" fmla="*/ 240 w 583"/>
                <a:gd name="T43" fmla="*/ 347 h 512"/>
                <a:gd name="T44" fmla="*/ 291 w 583"/>
                <a:gd name="T45" fmla="*/ 291 h 512"/>
                <a:gd name="T46" fmla="*/ 347 w 583"/>
                <a:gd name="T47" fmla="*/ 347 h 512"/>
                <a:gd name="T48" fmla="*/ 291 w 583"/>
                <a:gd name="T49" fmla="*/ 39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83" h="512">
                  <a:moveTo>
                    <a:pt x="429" y="183"/>
                  </a:moveTo>
                  <a:lnTo>
                    <a:pt x="312" y="10"/>
                  </a:lnTo>
                  <a:cubicBezTo>
                    <a:pt x="307" y="5"/>
                    <a:pt x="299" y="0"/>
                    <a:pt x="291" y="0"/>
                  </a:cubicBezTo>
                  <a:cubicBezTo>
                    <a:pt x="284" y="0"/>
                    <a:pt x="276" y="0"/>
                    <a:pt x="271" y="10"/>
                  </a:cubicBezTo>
                  <a:lnTo>
                    <a:pt x="153" y="183"/>
                  </a:lnTo>
                  <a:lnTo>
                    <a:pt x="26" y="183"/>
                  </a:lnTo>
                  <a:cubicBezTo>
                    <a:pt x="10" y="183"/>
                    <a:pt x="0" y="194"/>
                    <a:pt x="0" y="214"/>
                  </a:cubicBezTo>
                  <a:lnTo>
                    <a:pt x="0" y="219"/>
                  </a:lnTo>
                  <a:lnTo>
                    <a:pt x="66" y="470"/>
                  </a:lnTo>
                  <a:cubicBezTo>
                    <a:pt x="72" y="490"/>
                    <a:pt x="92" y="511"/>
                    <a:pt x="117" y="511"/>
                  </a:cubicBezTo>
                  <a:lnTo>
                    <a:pt x="465" y="511"/>
                  </a:lnTo>
                  <a:cubicBezTo>
                    <a:pt x="485" y="511"/>
                    <a:pt x="506" y="490"/>
                    <a:pt x="516" y="470"/>
                  </a:cubicBezTo>
                  <a:lnTo>
                    <a:pt x="582" y="219"/>
                  </a:lnTo>
                  <a:lnTo>
                    <a:pt x="582" y="214"/>
                  </a:lnTo>
                  <a:cubicBezTo>
                    <a:pt x="582" y="194"/>
                    <a:pt x="572" y="183"/>
                    <a:pt x="552" y="183"/>
                  </a:cubicBezTo>
                  <a:lnTo>
                    <a:pt x="429" y="183"/>
                  </a:lnTo>
                  <a:close/>
                  <a:moveTo>
                    <a:pt x="209" y="183"/>
                  </a:moveTo>
                  <a:lnTo>
                    <a:pt x="291" y="66"/>
                  </a:lnTo>
                  <a:lnTo>
                    <a:pt x="373" y="183"/>
                  </a:lnTo>
                  <a:lnTo>
                    <a:pt x="209" y="183"/>
                  </a:lnTo>
                  <a:close/>
                  <a:moveTo>
                    <a:pt x="291" y="398"/>
                  </a:moveTo>
                  <a:cubicBezTo>
                    <a:pt x="261" y="398"/>
                    <a:pt x="240" y="375"/>
                    <a:pt x="240" y="347"/>
                  </a:cubicBezTo>
                  <a:cubicBezTo>
                    <a:pt x="240" y="319"/>
                    <a:pt x="261" y="291"/>
                    <a:pt x="291" y="291"/>
                  </a:cubicBezTo>
                  <a:cubicBezTo>
                    <a:pt x="322" y="291"/>
                    <a:pt x="347" y="319"/>
                    <a:pt x="347" y="347"/>
                  </a:cubicBezTo>
                  <a:cubicBezTo>
                    <a:pt x="347" y="375"/>
                    <a:pt x="322" y="398"/>
                    <a:pt x="291" y="398"/>
                  </a:cubicBezTo>
                  <a:close/>
                </a:path>
              </a:pathLst>
            </a:custGeom>
            <a:solidFill>
              <a:schemeClr val="bg1"/>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142" name="Rechthoek 63">
            <a:extLst>
              <a:ext uri="{FF2B5EF4-FFF2-40B4-BE49-F238E27FC236}">
                <a16:creationId xmlns:a16="http://schemas.microsoft.com/office/drawing/2014/main" id="{27E15028-D536-429E-B0D8-DDB2436EC9F9}"/>
              </a:ext>
            </a:extLst>
          </p:cNvPr>
          <p:cNvSpPr/>
          <p:nvPr/>
        </p:nvSpPr>
        <p:spPr>
          <a:xfrm>
            <a:off x="7051793" y="1870082"/>
            <a:ext cx="137160" cy="182880"/>
          </a:xfrm>
          <a:prstGeom prst="rect">
            <a:avLst/>
          </a:prstGeom>
          <a:ln/>
        </p:spPr>
        <p:style>
          <a:lnRef idx="0">
            <a:schemeClr val="accent2"/>
          </a:lnRef>
          <a:fillRef idx="3">
            <a:schemeClr val="accent2"/>
          </a:fillRef>
          <a:effectRef idx="3">
            <a:schemeClr val="accent2"/>
          </a:effectRef>
          <a:fontRef idx="minor">
            <a:schemeClr val="lt1"/>
          </a:fontRef>
        </p:style>
        <p:txBody>
          <a:bodyPr rtlCol="0" anchor="ctr"/>
          <a:lstStyle/>
          <a:p>
            <a:pPr algn="ctr"/>
            <a:r>
              <a:rPr lang="nl-NL" sz="1200" b="1"/>
              <a:t>P</a:t>
            </a:r>
          </a:p>
        </p:txBody>
      </p:sp>
      <p:sp>
        <p:nvSpPr>
          <p:cNvPr id="143" name="Rechthoek 63">
            <a:extLst>
              <a:ext uri="{FF2B5EF4-FFF2-40B4-BE49-F238E27FC236}">
                <a16:creationId xmlns:a16="http://schemas.microsoft.com/office/drawing/2014/main" id="{D3702AD7-35EE-4E1C-964F-D180FAD8E54A}"/>
              </a:ext>
            </a:extLst>
          </p:cNvPr>
          <p:cNvSpPr/>
          <p:nvPr/>
        </p:nvSpPr>
        <p:spPr>
          <a:xfrm>
            <a:off x="9031933" y="822275"/>
            <a:ext cx="137160" cy="182880"/>
          </a:xfrm>
          <a:prstGeom prst="rect">
            <a:avLst/>
          </a:prstGeom>
          <a:ln/>
        </p:spPr>
        <p:style>
          <a:lnRef idx="0">
            <a:schemeClr val="accent2"/>
          </a:lnRef>
          <a:fillRef idx="3">
            <a:schemeClr val="accent2"/>
          </a:fillRef>
          <a:effectRef idx="3">
            <a:schemeClr val="accent2"/>
          </a:effectRef>
          <a:fontRef idx="minor">
            <a:schemeClr val="lt1"/>
          </a:fontRef>
        </p:style>
        <p:txBody>
          <a:bodyPr rtlCol="0" anchor="ctr"/>
          <a:lstStyle/>
          <a:p>
            <a:pPr algn="ctr"/>
            <a:r>
              <a:rPr lang="nl-NL" sz="1200" b="1"/>
              <a:t>P</a:t>
            </a:r>
          </a:p>
        </p:txBody>
      </p:sp>
      <p:sp>
        <p:nvSpPr>
          <p:cNvPr id="144" name="Rechthoek 63">
            <a:extLst>
              <a:ext uri="{FF2B5EF4-FFF2-40B4-BE49-F238E27FC236}">
                <a16:creationId xmlns:a16="http://schemas.microsoft.com/office/drawing/2014/main" id="{23F2C7AA-2F3F-4459-8D65-EB40CF6FAD99}"/>
              </a:ext>
            </a:extLst>
          </p:cNvPr>
          <p:cNvSpPr/>
          <p:nvPr/>
        </p:nvSpPr>
        <p:spPr>
          <a:xfrm>
            <a:off x="8143560" y="2757227"/>
            <a:ext cx="137160" cy="182880"/>
          </a:xfrm>
          <a:prstGeom prst="rect">
            <a:avLst/>
          </a:prstGeom>
          <a:ln/>
        </p:spPr>
        <p:style>
          <a:lnRef idx="0">
            <a:schemeClr val="accent2"/>
          </a:lnRef>
          <a:fillRef idx="3">
            <a:schemeClr val="accent2"/>
          </a:fillRef>
          <a:effectRef idx="3">
            <a:schemeClr val="accent2"/>
          </a:effectRef>
          <a:fontRef idx="minor">
            <a:schemeClr val="lt1"/>
          </a:fontRef>
        </p:style>
        <p:txBody>
          <a:bodyPr rtlCol="0" anchor="ctr"/>
          <a:lstStyle/>
          <a:p>
            <a:pPr algn="ctr"/>
            <a:r>
              <a:rPr lang="nl-NL" sz="1200" b="1"/>
              <a:t>P</a:t>
            </a:r>
          </a:p>
        </p:txBody>
      </p:sp>
      <p:sp>
        <p:nvSpPr>
          <p:cNvPr id="145" name="Rechthoek 63">
            <a:extLst>
              <a:ext uri="{FF2B5EF4-FFF2-40B4-BE49-F238E27FC236}">
                <a16:creationId xmlns:a16="http://schemas.microsoft.com/office/drawing/2014/main" id="{DBE06DF5-D0E2-42B2-AEFF-29B9D6CA3F40}"/>
              </a:ext>
            </a:extLst>
          </p:cNvPr>
          <p:cNvSpPr/>
          <p:nvPr/>
        </p:nvSpPr>
        <p:spPr>
          <a:xfrm>
            <a:off x="7840057" y="3802657"/>
            <a:ext cx="137160" cy="182880"/>
          </a:xfrm>
          <a:prstGeom prst="rect">
            <a:avLst/>
          </a:prstGeom>
          <a:ln/>
        </p:spPr>
        <p:style>
          <a:lnRef idx="0">
            <a:schemeClr val="accent2"/>
          </a:lnRef>
          <a:fillRef idx="3">
            <a:schemeClr val="accent2"/>
          </a:fillRef>
          <a:effectRef idx="3">
            <a:schemeClr val="accent2"/>
          </a:effectRef>
          <a:fontRef idx="minor">
            <a:schemeClr val="lt1"/>
          </a:fontRef>
        </p:style>
        <p:txBody>
          <a:bodyPr rtlCol="0" anchor="ctr"/>
          <a:lstStyle/>
          <a:p>
            <a:pPr algn="ctr"/>
            <a:r>
              <a:rPr lang="nl-NL" sz="1200" b="1"/>
              <a:t>P</a:t>
            </a:r>
          </a:p>
        </p:txBody>
      </p:sp>
      <p:sp>
        <p:nvSpPr>
          <p:cNvPr id="146" name="Rechthoek 63">
            <a:extLst>
              <a:ext uri="{FF2B5EF4-FFF2-40B4-BE49-F238E27FC236}">
                <a16:creationId xmlns:a16="http://schemas.microsoft.com/office/drawing/2014/main" id="{21F4EF5B-8369-47E3-A80D-65385038E553}"/>
              </a:ext>
            </a:extLst>
          </p:cNvPr>
          <p:cNvSpPr/>
          <p:nvPr/>
        </p:nvSpPr>
        <p:spPr>
          <a:xfrm>
            <a:off x="9446275" y="3022596"/>
            <a:ext cx="137160" cy="182880"/>
          </a:xfrm>
          <a:prstGeom prst="rect">
            <a:avLst/>
          </a:prstGeom>
          <a:ln/>
        </p:spPr>
        <p:style>
          <a:lnRef idx="0">
            <a:schemeClr val="accent2"/>
          </a:lnRef>
          <a:fillRef idx="3">
            <a:schemeClr val="accent2"/>
          </a:fillRef>
          <a:effectRef idx="3">
            <a:schemeClr val="accent2"/>
          </a:effectRef>
          <a:fontRef idx="minor">
            <a:schemeClr val="lt1"/>
          </a:fontRef>
        </p:style>
        <p:txBody>
          <a:bodyPr rtlCol="0" anchor="ctr"/>
          <a:lstStyle/>
          <a:p>
            <a:pPr algn="ctr"/>
            <a:r>
              <a:rPr lang="nl-NL" sz="1200" b="1"/>
              <a:t>P</a:t>
            </a:r>
          </a:p>
        </p:txBody>
      </p:sp>
      <p:sp>
        <p:nvSpPr>
          <p:cNvPr id="147" name="Rechthoek 63">
            <a:extLst>
              <a:ext uri="{FF2B5EF4-FFF2-40B4-BE49-F238E27FC236}">
                <a16:creationId xmlns:a16="http://schemas.microsoft.com/office/drawing/2014/main" id="{793062C9-4C38-4FA9-9E68-9A7B8744163A}"/>
              </a:ext>
            </a:extLst>
          </p:cNvPr>
          <p:cNvSpPr/>
          <p:nvPr/>
        </p:nvSpPr>
        <p:spPr>
          <a:xfrm>
            <a:off x="9147791" y="4267983"/>
            <a:ext cx="137160" cy="182880"/>
          </a:xfrm>
          <a:prstGeom prst="rect">
            <a:avLst/>
          </a:prstGeom>
          <a:ln/>
        </p:spPr>
        <p:style>
          <a:lnRef idx="0">
            <a:schemeClr val="accent2"/>
          </a:lnRef>
          <a:fillRef idx="3">
            <a:schemeClr val="accent2"/>
          </a:fillRef>
          <a:effectRef idx="3">
            <a:schemeClr val="accent2"/>
          </a:effectRef>
          <a:fontRef idx="minor">
            <a:schemeClr val="lt1"/>
          </a:fontRef>
        </p:style>
        <p:txBody>
          <a:bodyPr rtlCol="0" anchor="ctr"/>
          <a:lstStyle/>
          <a:p>
            <a:pPr algn="ctr"/>
            <a:r>
              <a:rPr lang="nl-NL" sz="1200" b="1"/>
              <a:t>P</a:t>
            </a:r>
          </a:p>
        </p:txBody>
      </p:sp>
      <p:sp>
        <p:nvSpPr>
          <p:cNvPr id="148" name="Rechthoek 63">
            <a:extLst>
              <a:ext uri="{FF2B5EF4-FFF2-40B4-BE49-F238E27FC236}">
                <a16:creationId xmlns:a16="http://schemas.microsoft.com/office/drawing/2014/main" id="{4EADF103-28FB-4B35-98FE-076707A477A6}"/>
              </a:ext>
            </a:extLst>
          </p:cNvPr>
          <p:cNvSpPr/>
          <p:nvPr/>
        </p:nvSpPr>
        <p:spPr>
          <a:xfrm>
            <a:off x="9833367" y="5365890"/>
            <a:ext cx="137160" cy="182880"/>
          </a:xfrm>
          <a:prstGeom prst="rect">
            <a:avLst/>
          </a:prstGeom>
          <a:ln/>
        </p:spPr>
        <p:style>
          <a:lnRef idx="0">
            <a:schemeClr val="accent2"/>
          </a:lnRef>
          <a:fillRef idx="3">
            <a:schemeClr val="accent2"/>
          </a:fillRef>
          <a:effectRef idx="3">
            <a:schemeClr val="accent2"/>
          </a:effectRef>
          <a:fontRef idx="minor">
            <a:schemeClr val="lt1"/>
          </a:fontRef>
        </p:style>
        <p:txBody>
          <a:bodyPr rtlCol="0" anchor="ctr"/>
          <a:lstStyle/>
          <a:p>
            <a:pPr algn="ctr"/>
            <a:r>
              <a:rPr lang="nl-NL" sz="1200" b="1"/>
              <a:t>P</a:t>
            </a:r>
          </a:p>
        </p:txBody>
      </p:sp>
      <p:sp>
        <p:nvSpPr>
          <p:cNvPr id="149" name="Rechthoek 63">
            <a:extLst>
              <a:ext uri="{FF2B5EF4-FFF2-40B4-BE49-F238E27FC236}">
                <a16:creationId xmlns:a16="http://schemas.microsoft.com/office/drawing/2014/main" id="{3C29AB32-6824-472C-92F3-DB6E444D465C}"/>
              </a:ext>
            </a:extLst>
          </p:cNvPr>
          <p:cNvSpPr/>
          <p:nvPr/>
        </p:nvSpPr>
        <p:spPr>
          <a:xfrm>
            <a:off x="7440039" y="5084614"/>
            <a:ext cx="137160" cy="182880"/>
          </a:xfrm>
          <a:prstGeom prst="rect">
            <a:avLst/>
          </a:prstGeom>
          <a:ln/>
        </p:spPr>
        <p:style>
          <a:lnRef idx="0">
            <a:schemeClr val="accent2"/>
          </a:lnRef>
          <a:fillRef idx="3">
            <a:schemeClr val="accent2"/>
          </a:fillRef>
          <a:effectRef idx="3">
            <a:schemeClr val="accent2"/>
          </a:effectRef>
          <a:fontRef idx="minor">
            <a:schemeClr val="lt1"/>
          </a:fontRef>
        </p:style>
        <p:txBody>
          <a:bodyPr rtlCol="0" anchor="ctr"/>
          <a:lstStyle/>
          <a:p>
            <a:pPr algn="ctr"/>
            <a:r>
              <a:rPr lang="nl-NL" sz="1200" b="1"/>
              <a:t>P</a:t>
            </a:r>
          </a:p>
        </p:txBody>
      </p:sp>
      <p:sp>
        <p:nvSpPr>
          <p:cNvPr id="150" name="Rechthoek 63">
            <a:extLst>
              <a:ext uri="{FF2B5EF4-FFF2-40B4-BE49-F238E27FC236}">
                <a16:creationId xmlns:a16="http://schemas.microsoft.com/office/drawing/2014/main" id="{2F9B0C91-5AAC-4A0D-9D29-7494AC76DC83}"/>
              </a:ext>
            </a:extLst>
          </p:cNvPr>
          <p:cNvSpPr/>
          <p:nvPr/>
        </p:nvSpPr>
        <p:spPr>
          <a:xfrm>
            <a:off x="7979493" y="6321626"/>
            <a:ext cx="137160" cy="182880"/>
          </a:xfrm>
          <a:prstGeom prst="rect">
            <a:avLst/>
          </a:prstGeom>
          <a:ln/>
        </p:spPr>
        <p:style>
          <a:lnRef idx="0">
            <a:schemeClr val="accent2"/>
          </a:lnRef>
          <a:fillRef idx="3">
            <a:schemeClr val="accent2"/>
          </a:fillRef>
          <a:effectRef idx="3">
            <a:schemeClr val="accent2"/>
          </a:effectRef>
          <a:fontRef idx="minor">
            <a:schemeClr val="lt1"/>
          </a:fontRef>
        </p:style>
        <p:txBody>
          <a:bodyPr rtlCol="0" anchor="ctr"/>
          <a:lstStyle/>
          <a:p>
            <a:pPr algn="ctr"/>
            <a:r>
              <a:rPr lang="nl-NL" sz="1200" b="1"/>
              <a:t>P</a:t>
            </a:r>
          </a:p>
        </p:txBody>
      </p:sp>
      <p:sp>
        <p:nvSpPr>
          <p:cNvPr id="154" name="Rechthoek 63">
            <a:extLst>
              <a:ext uri="{FF2B5EF4-FFF2-40B4-BE49-F238E27FC236}">
                <a16:creationId xmlns:a16="http://schemas.microsoft.com/office/drawing/2014/main" id="{2FBFE012-7634-4EC6-AAD1-7770E341EAA9}"/>
              </a:ext>
            </a:extLst>
          </p:cNvPr>
          <p:cNvSpPr/>
          <p:nvPr/>
        </p:nvSpPr>
        <p:spPr>
          <a:xfrm>
            <a:off x="10658119" y="1097712"/>
            <a:ext cx="137160" cy="182880"/>
          </a:xfrm>
          <a:prstGeom prst="rect">
            <a:avLst/>
          </a:prstGeom>
          <a:ln/>
        </p:spPr>
        <p:style>
          <a:lnRef idx="0">
            <a:schemeClr val="accent2"/>
          </a:lnRef>
          <a:fillRef idx="3">
            <a:schemeClr val="accent2"/>
          </a:fillRef>
          <a:effectRef idx="3">
            <a:schemeClr val="accent2"/>
          </a:effectRef>
          <a:fontRef idx="minor">
            <a:schemeClr val="lt1"/>
          </a:fontRef>
        </p:style>
        <p:txBody>
          <a:bodyPr rtlCol="0" anchor="ctr"/>
          <a:lstStyle/>
          <a:p>
            <a:pPr algn="ctr"/>
            <a:r>
              <a:rPr lang="nl-NL" sz="1200" b="1"/>
              <a:t>P</a:t>
            </a:r>
          </a:p>
        </p:txBody>
      </p:sp>
      <p:sp>
        <p:nvSpPr>
          <p:cNvPr id="155" name="Rechthoek 63">
            <a:extLst>
              <a:ext uri="{FF2B5EF4-FFF2-40B4-BE49-F238E27FC236}">
                <a16:creationId xmlns:a16="http://schemas.microsoft.com/office/drawing/2014/main" id="{D5B3D8FB-08D3-4D4A-95D5-6676BD8616CF}"/>
              </a:ext>
            </a:extLst>
          </p:cNvPr>
          <p:cNvSpPr/>
          <p:nvPr/>
        </p:nvSpPr>
        <p:spPr>
          <a:xfrm>
            <a:off x="6694074" y="1294503"/>
            <a:ext cx="137160" cy="182880"/>
          </a:xfrm>
          <a:prstGeom prst="rect">
            <a:avLst/>
          </a:prstGeom>
          <a:ln/>
        </p:spPr>
        <p:style>
          <a:lnRef idx="0">
            <a:schemeClr val="accent2"/>
          </a:lnRef>
          <a:fillRef idx="3">
            <a:schemeClr val="accent2"/>
          </a:fillRef>
          <a:effectRef idx="3">
            <a:schemeClr val="accent2"/>
          </a:effectRef>
          <a:fontRef idx="minor">
            <a:schemeClr val="lt1"/>
          </a:fontRef>
        </p:style>
        <p:txBody>
          <a:bodyPr rtlCol="0" anchor="ctr"/>
          <a:lstStyle/>
          <a:p>
            <a:pPr algn="ctr"/>
            <a:r>
              <a:rPr lang="nl-NL" sz="1200" b="1">
                <a:latin typeface="+mj-lt"/>
              </a:rPr>
              <a:t>P</a:t>
            </a:r>
          </a:p>
        </p:txBody>
      </p:sp>
      <p:sp>
        <p:nvSpPr>
          <p:cNvPr id="100" name="Tekstvak 78">
            <a:extLst>
              <a:ext uri="{FF2B5EF4-FFF2-40B4-BE49-F238E27FC236}">
                <a16:creationId xmlns:a16="http://schemas.microsoft.com/office/drawing/2014/main" id="{C75459AF-827F-44BF-99B9-A4551CD9F523}"/>
              </a:ext>
            </a:extLst>
          </p:cNvPr>
          <p:cNvSpPr txBox="1"/>
          <p:nvPr/>
        </p:nvSpPr>
        <p:spPr>
          <a:xfrm>
            <a:off x="428987" y="5570649"/>
            <a:ext cx="5518364" cy="954107"/>
          </a:xfrm>
          <a:custGeom>
            <a:avLst/>
            <a:gdLst>
              <a:gd name="connsiteX0" fmla="*/ 0 w 5518364"/>
              <a:gd name="connsiteY0" fmla="*/ 0 h 954107"/>
              <a:gd name="connsiteX1" fmla="*/ 689796 w 5518364"/>
              <a:gd name="connsiteY1" fmla="*/ 0 h 954107"/>
              <a:gd name="connsiteX2" fmla="*/ 1379591 w 5518364"/>
              <a:gd name="connsiteY2" fmla="*/ 0 h 954107"/>
              <a:gd name="connsiteX3" fmla="*/ 2179754 w 5518364"/>
              <a:gd name="connsiteY3" fmla="*/ 0 h 954107"/>
              <a:gd name="connsiteX4" fmla="*/ 2924733 w 5518364"/>
              <a:gd name="connsiteY4" fmla="*/ 0 h 954107"/>
              <a:gd name="connsiteX5" fmla="*/ 3559345 w 5518364"/>
              <a:gd name="connsiteY5" fmla="*/ 0 h 954107"/>
              <a:gd name="connsiteX6" fmla="*/ 4193957 w 5518364"/>
              <a:gd name="connsiteY6" fmla="*/ 0 h 954107"/>
              <a:gd name="connsiteX7" fmla="*/ 4828569 w 5518364"/>
              <a:gd name="connsiteY7" fmla="*/ 0 h 954107"/>
              <a:gd name="connsiteX8" fmla="*/ 5518364 w 5518364"/>
              <a:gd name="connsiteY8" fmla="*/ 0 h 954107"/>
              <a:gd name="connsiteX9" fmla="*/ 5518364 w 5518364"/>
              <a:gd name="connsiteY9" fmla="*/ 448430 h 954107"/>
              <a:gd name="connsiteX10" fmla="*/ 5518364 w 5518364"/>
              <a:gd name="connsiteY10" fmla="*/ 954107 h 954107"/>
              <a:gd name="connsiteX11" fmla="*/ 4718201 w 5518364"/>
              <a:gd name="connsiteY11" fmla="*/ 954107 h 954107"/>
              <a:gd name="connsiteX12" fmla="*/ 3918038 w 5518364"/>
              <a:gd name="connsiteY12" fmla="*/ 954107 h 954107"/>
              <a:gd name="connsiteX13" fmla="*/ 3283427 w 5518364"/>
              <a:gd name="connsiteY13" fmla="*/ 954107 h 954107"/>
              <a:gd name="connsiteX14" fmla="*/ 2703998 w 5518364"/>
              <a:gd name="connsiteY14" fmla="*/ 954107 h 954107"/>
              <a:gd name="connsiteX15" fmla="*/ 1903836 w 5518364"/>
              <a:gd name="connsiteY15" fmla="*/ 954107 h 954107"/>
              <a:gd name="connsiteX16" fmla="*/ 1103673 w 5518364"/>
              <a:gd name="connsiteY16" fmla="*/ 954107 h 954107"/>
              <a:gd name="connsiteX17" fmla="*/ 0 w 5518364"/>
              <a:gd name="connsiteY17" fmla="*/ 954107 h 954107"/>
              <a:gd name="connsiteX18" fmla="*/ 0 w 5518364"/>
              <a:gd name="connsiteY18" fmla="*/ 486595 h 954107"/>
              <a:gd name="connsiteX19" fmla="*/ 0 w 5518364"/>
              <a:gd name="connsiteY19" fmla="*/ 0 h 954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5518364" h="954107" fill="none" extrusionOk="0">
                <a:moveTo>
                  <a:pt x="0" y="0"/>
                </a:moveTo>
                <a:cubicBezTo>
                  <a:pt x="242343" y="-10704"/>
                  <a:pt x="488848" y="22220"/>
                  <a:pt x="689796" y="0"/>
                </a:cubicBezTo>
                <a:cubicBezTo>
                  <a:pt x="890744" y="-22220"/>
                  <a:pt x="1072968" y="-22056"/>
                  <a:pt x="1379591" y="0"/>
                </a:cubicBezTo>
                <a:cubicBezTo>
                  <a:pt x="1686215" y="22056"/>
                  <a:pt x="1892059" y="26315"/>
                  <a:pt x="2179754" y="0"/>
                </a:cubicBezTo>
                <a:cubicBezTo>
                  <a:pt x="2467449" y="-26315"/>
                  <a:pt x="2579240" y="-32140"/>
                  <a:pt x="2924733" y="0"/>
                </a:cubicBezTo>
                <a:cubicBezTo>
                  <a:pt x="3270226" y="32140"/>
                  <a:pt x="3255682" y="20976"/>
                  <a:pt x="3559345" y="0"/>
                </a:cubicBezTo>
                <a:cubicBezTo>
                  <a:pt x="3863008" y="-20976"/>
                  <a:pt x="4056563" y="-31157"/>
                  <a:pt x="4193957" y="0"/>
                </a:cubicBezTo>
                <a:cubicBezTo>
                  <a:pt x="4331351" y="31157"/>
                  <a:pt x="4549933" y="-22495"/>
                  <a:pt x="4828569" y="0"/>
                </a:cubicBezTo>
                <a:cubicBezTo>
                  <a:pt x="5107205" y="22495"/>
                  <a:pt x="5255494" y="3560"/>
                  <a:pt x="5518364" y="0"/>
                </a:cubicBezTo>
                <a:cubicBezTo>
                  <a:pt x="5536057" y="158691"/>
                  <a:pt x="5534212" y="338216"/>
                  <a:pt x="5518364" y="448430"/>
                </a:cubicBezTo>
                <a:cubicBezTo>
                  <a:pt x="5502517" y="558644"/>
                  <a:pt x="5521036" y="836406"/>
                  <a:pt x="5518364" y="954107"/>
                </a:cubicBezTo>
                <a:cubicBezTo>
                  <a:pt x="5354176" y="981047"/>
                  <a:pt x="5089978" y="940523"/>
                  <a:pt x="4718201" y="954107"/>
                </a:cubicBezTo>
                <a:cubicBezTo>
                  <a:pt x="4346424" y="967691"/>
                  <a:pt x="4279088" y="957808"/>
                  <a:pt x="3918038" y="954107"/>
                </a:cubicBezTo>
                <a:cubicBezTo>
                  <a:pt x="3556988" y="950406"/>
                  <a:pt x="3426240" y="975398"/>
                  <a:pt x="3283427" y="954107"/>
                </a:cubicBezTo>
                <a:cubicBezTo>
                  <a:pt x="3140614" y="932816"/>
                  <a:pt x="2845352" y="936551"/>
                  <a:pt x="2703998" y="954107"/>
                </a:cubicBezTo>
                <a:cubicBezTo>
                  <a:pt x="2562644" y="971663"/>
                  <a:pt x="2187237" y="971344"/>
                  <a:pt x="1903836" y="954107"/>
                </a:cubicBezTo>
                <a:cubicBezTo>
                  <a:pt x="1620435" y="936870"/>
                  <a:pt x="1453117" y="923705"/>
                  <a:pt x="1103673" y="954107"/>
                </a:cubicBezTo>
                <a:cubicBezTo>
                  <a:pt x="754229" y="984509"/>
                  <a:pt x="406820" y="915010"/>
                  <a:pt x="0" y="954107"/>
                </a:cubicBezTo>
                <a:cubicBezTo>
                  <a:pt x="21639" y="813122"/>
                  <a:pt x="7838" y="712647"/>
                  <a:pt x="0" y="486595"/>
                </a:cubicBezTo>
                <a:cubicBezTo>
                  <a:pt x="-7838" y="260543"/>
                  <a:pt x="2802" y="105719"/>
                  <a:pt x="0" y="0"/>
                </a:cubicBezTo>
                <a:close/>
              </a:path>
              <a:path w="5518364" h="954107" stroke="0" extrusionOk="0">
                <a:moveTo>
                  <a:pt x="0" y="0"/>
                </a:moveTo>
                <a:cubicBezTo>
                  <a:pt x="187742" y="21678"/>
                  <a:pt x="386279" y="4117"/>
                  <a:pt x="524245" y="0"/>
                </a:cubicBezTo>
                <a:cubicBezTo>
                  <a:pt x="662211" y="-4117"/>
                  <a:pt x="1065834" y="22216"/>
                  <a:pt x="1324407" y="0"/>
                </a:cubicBezTo>
                <a:cubicBezTo>
                  <a:pt x="1582980" y="-22216"/>
                  <a:pt x="1673972" y="-15231"/>
                  <a:pt x="2014203" y="0"/>
                </a:cubicBezTo>
                <a:cubicBezTo>
                  <a:pt x="2354434" y="15231"/>
                  <a:pt x="2651796" y="-37749"/>
                  <a:pt x="2814366" y="0"/>
                </a:cubicBezTo>
                <a:cubicBezTo>
                  <a:pt x="2976936" y="37749"/>
                  <a:pt x="3240190" y="-14447"/>
                  <a:pt x="3393794" y="0"/>
                </a:cubicBezTo>
                <a:cubicBezTo>
                  <a:pt x="3547398" y="14447"/>
                  <a:pt x="3695063" y="1091"/>
                  <a:pt x="3973222" y="0"/>
                </a:cubicBezTo>
                <a:cubicBezTo>
                  <a:pt x="4251381" y="-1091"/>
                  <a:pt x="4380036" y="-21649"/>
                  <a:pt x="4607834" y="0"/>
                </a:cubicBezTo>
                <a:cubicBezTo>
                  <a:pt x="4835632" y="21649"/>
                  <a:pt x="5229133" y="-16865"/>
                  <a:pt x="5518364" y="0"/>
                </a:cubicBezTo>
                <a:cubicBezTo>
                  <a:pt x="5519301" y="237204"/>
                  <a:pt x="5541111" y="386714"/>
                  <a:pt x="5518364" y="496136"/>
                </a:cubicBezTo>
                <a:cubicBezTo>
                  <a:pt x="5495617" y="605558"/>
                  <a:pt x="5514432" y="755500"/>
                  <a:pt x="5518364" y="954107"/>
                </a:cubicBezTo>
                <a:cubicBezTo>
                  <a:pt x="5143706" y="982442"/>
                  <a:pt x="4935768" y="922997"/>
                  <a:pt x="4718201" y="954107"/>
                </a:cubicBezTo>
                <a:cubicBezTo>
                  <a:pt x="4500634" y="985217"/>
                  <a:pt x="4279278" y="987923"/>
                  <a:pt x="4028406" y="954107"/>
                </a:cubicBezTo>
                <a:cubicBezTo>
                  <a:pt x="3777535" y="920291"/>
                  <a:pt x="3661995" y="982616"/>
                  <a:pt x="3448978" y="954107"/>
                </a:cubicBezTo>
                <a:cubicBezTo>
                  <a:pt x="3235961" y="925598"/>
                  <a:pt x="3082902" y="965977"/>
                  <a:pt x="2759182" y="954107"/>
                </a:cubicBezTo>
                <a:cubicBezTo>
                  <a:pt x="2435462" y="942237"/>
                  <a:pt x="2199718" y="974320"/>
                  <a:pt x="1959019" y="954107"/>
                </a:cubicBezTo>
                <a:cubicBezTo>
                  <a:pt x="1718320" y="933894"/>
                  <a:pt x="1591268" y="985897"/>
                  <a:pt x="1269224" y="954107"/>
                </a:cubicBezTo>
                <a:cubicBezTo>
                  <a:pt x="947181" y="922317"/>
                  <a:pt x="351347" y="993451"/>
                  <a:pt x="0" y="954107"/>
                </a:cubicBezTo>
                <a:cubicBezTo>
                  <a:pt x="-710" y="816537"/>
                  <a:pt x="-13718" y="596927"/>
                  <a:pt x="0" y="486595"/>
                </a:cubicBezTo>
                <a:cubicBezTo>
                  <a:pt x="13718" y="376263"/>
                  <a:pt x="7710" y="211956"/>
                  <a:pt x="0" y="0"/>
                </a:cubicBezTo>
                <a:close/>
              </a:path>
            </a:pathLst>
          </a:custGeom>
          <a:solidFill>
            <a:schemeClr val="bg2">
              <a:lumMod val="60000"/>
              <a:lumOff val="40000"/>
            </a:schemeClr>
          </a:solidFill>
          <a:ln>
            <a:solidFill>
              <a:schemeClr val="bg2">
                <a:lumMod val="50000"/>
              </a:schemeClr>
            </a:solidFill>
            <a:extLst>
              <a:ext uri="{C807C97D-BFC1-408E-A445-0C87EB9F89A2}">
                <ask:lineSketchStyleProps xmlns:ask="http://schemas.microsoft.com/office/drawing/2018/sketchyshapes" sd="1808659002">
                  <a:prstGeom prst="rect">
                    <a:avLst/>
                  </a:prstGeom>
                  <ask:type>
                    <ask:lineSketchFreehand/>
                  </ask:type>
                </ask:lineSketchStyleProps>
              </a:ext>
            </a:extLst>
          </a:ln>
        </p:spPr>
        <p:txBody>
          <a:bodyPr wrap="square" rtlCol="0">
            <a:spAutoFit/>
          </a:bodyPr>
          <a:lstStyle/>
          <a:p>
            <a:r>
              <a:rPr lang="nl-NL" sz="1400" b="1" u="sng" dirty="0">
                <a:latin typeface="+mj-lt"/>
              </a:rPr>
              <a:t>Waarom?</a:t>
            </a:r>
            <a:r>
              <a:rPr lang="nl-NL" sz="1400" dirty="0">
                <a:latin typeface="+mj-lt"/>
              </a:rPr>
              <a:t> </a:t>
            </a:r>
            <a:br>
              <a:rPr lang="nl-NL" sz="1400" dirty="0">
                <a:latin typeface="+mj-lt"/>
              </a:rPr>
            </a:br>
            <a:r>
              <a:rPr lang="nl-NL" sz="1400" dirty="0">
                <a:latin typeface="+mj-lt"/>
              </a:rPr>
              <a:t>De leegstand zat voornamelijk in de randen. Perspectief voor winkels is hier beperkt. Functies die doelgericht bezocht worden kunnen hier prima gedijen. </a:t>
            </a:r>
          </a:p>
        </p:txBody>
      </p:sp>
      <p:sp>
        <p:nvSpPr>
          <p:cNvPr id="101" name="Tekstvak 188">
            <a:extLst>
              <a:ext uri="{FF2B5EF4-FFF2-40B4-BE49-F238E27FC236}">
                <a16:creationId xmlns:a16="http://schemas.microsoft.com/office/drawing/2014/main" id="{E48371DC-C90D-4AC0-98B4-7203D101BFB2}"/>
              </a:ext>
            </a:extLst>
          </p:cNvPr>
          <p:cNvSpPr txBox="1"/>
          <p:nvPr/>
        </p:nvSpPr>
        <p:spPr>
          <a:xfrm>
            <a:off x="414800" y="318534"/>
            <a:ext cx="5573899" cy="504433"/>
          </a:xfrm>
          <a:custGeom>
            <a:avLst/>
            <a:gdLst>
              <a:gd name="connsiteX0" fmla="*/ 0 w 5573899"/>
              <a:gd name="connsiteY0" fmla="*/ 0 h 504433"/>
              <a:gd name="connsiteX1" fmla="*/ 585259 w 5573899"/>
              <a:gd name="connsiteY1" fmla="*/ 0 h 504433"/>
              <a:gd name="connsiteX2" fmla="*/ 1281997 w 5573899"/>
              <a:gd name="connsiteY2" fmla="*/ 0 h 504433"/>
              <a:gd name="connsiteX3" fmla="*/ 1811517 w 5573899"/>
              <a:gd name="connsiteY3" fmla="*/ 0 h 504433"/>
              <a:gd name="connsiteX4" fmla="*/ 2341038 w 5573899"/>
              <a:gd name="connsiteY4" fmla="*/ 0 h 504433"/>
              <a:gd name="connsiteX5" fmla="*/ 2870558 w 5573899"/>
              <a:gd name="connsiteY5" fmla="*/ 0 h 504433"/>
              <a:gd name="connsiteX6" fmla="*/ 3623034 w 5573899"/>
              <a:gd name="connsiteY6" fmla="*/ 0 h 504433"/>
              <a:gd name="connsiteX7" fmla="*/ 4431250 w 5573899"/>
              <a:gd name="connsiteY7" fmla="*/ 0 h 504433"/>
              <a:gd name="connsiteX8" fmla="*/ 5573899 w 5573899"/>
              <a:gd name="connsiteY8" fmla="*/ 0 h 504433"/>
              <a:gd name="connsiteX9" fmla="*/ 5573899 w 5573899"/>
              <a:gd name="connsiteY9" fmla="*/ 504433 h 504433"/>
              <a:gd name="connsiteX10" fmla="*/ 5044379 w 5573899"/>
              <a:gd name="connsiteY10" fmla="*/ 504433 h 504433"/>
              <a:gd name="connsiteX11" fmla="*/ 4291902 w 5573899"/>
              <a:gd name="connsiteY11" fmla="*/ 504433 h 504433"/>
              <a:gd name="connsiteX12" fmla="*/ 3483687 w 5573899"/>
              <a:gd name="connsiteY12" fmla="*/ 504433 h 504433"/>
              <a:gd name="connsiteX13" fmla="*/ 2954166 w 5573899"/>
              <a:gd name="connsiteY13" fmla="*/ 504433 h 504433"/>
              <a:gd name="connsiteX14" fmla="*/ 2145951 w 5573899"/>
              <a:gd name="connsiteY14" fmla="*/ 504433 h 504433"/>
              <a:gd name="connsiteX15" fmla="*/ 1616431 w 5573899"/>
              <a:gd name="connsiteY15" fmla="*/ 504433 h 504433"/>
              <a:gd name="connsiteX16" fmla="*/ 975432 w 5573899"/>
              <a:gd name="connsiteY16" fmla="*/ 504433 h 504433"/>
              <a:gd name="connsiteX17" fmla="*/ 0 w 5573899"/>
              <a:gd name="connsiteY17" fmla="*/ 504433 h 504433"/>
              <a:gd name="connsiteX18" fmla="*/ 0 w 5573899"/>
              <a:gd name="connsiteY18" fmla="*/ 0 h 504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5573899" h="504433" fill="none" extrusionOk="0">
                <a:moveTo>
                  <a:pt x="0" y="0"/>
                </a:moveTo>
                <a:cubicBezTo>
                  <a:pt x="130575" y="-918"/>
                  <a:pt x="453326" y="-15775"/>
                  <a:pt x="585259" y="0"/>
                </a:cubicBezTo>
                <a:cubicBezTo>
                  <a:pt x="717192" y="15775"/>
                  <a:pt x="1081206" y="-13442"/>
                  <a:pt x="1281997" y="0"/>
                </a:cubicBezTo>
                <a:cubicBezTo>
                  <a:pt x="1482788" y="13442"/>
                  <a:pt x="1594712" y="24252"/>
                  <a:pt x="1811517" y="0"/>
                </a:cubicBezTo>
                <a:cubicBezTo>
                  <a:pt x="2028322" y="-24252"/>
                  <a:pt x="2226300" y="-23616"/>
                  <a:pt x="2341038" y="0"/>
                </a:cubicBezTo>
                <a:cubicBezTo>
                  <a:pt x="2455776" y="23616"/>
                  <a:pt x="2722576" y="-6634"/>
                  <a:pt x="2870558" y="0"/>
                </a:cubicBezTo>
                <a:cubicBezTo>
                  <a:pt x="3018540" y="6634"/>
                  <a:pt x="3359312" y="-22955"/>
                  <a:pt x="3623034" y="0"/>
                </a:cubicBezTo>
                <a:cubicBezTo>
                  <a:pt x="3886756" y="22955"/>
                  <a:pt x="4097290" y="6077"/>
                  <a:pt x="4431250" y="0"/>
                </a:cubicBezTo>
                <a:cubicBezTo>
                  <a:pt x="4765210" y="-6077"/>
                  <a:pt x="5032783" y="41226"/>
                  <a:pt x="5573899" y="0"/>
                </a:cubicBezTo>
                <a:cubicBezTo>
                  <a:pt x="5593304" y="250625"/>
                  <a:pt x="5571171" y="330652"/>
                  <a:pt x="5573899" y="504433"/>
                </a:cubicBezTo>
                <a:cubicBezTo>
                  <a:pt x="5330274" y="487936"/>
                  <a:pt x="5240344" y="523684"/>
                  <a:pt x="5044379" y="504433"/>
                </a:cubicBezTo>
                <a:cubicBezTo>
                  <a:pt x="4848414" y="485182"/>
                  <a:pt x="4507078" y="480582"/>
                  <a:pt x="4291902" y="504433"/>
                </a:cubicBezTo>
                <a:cubicBezTo>
                  <a:pt x="4076726" y="528284"/>
                  <a:pt x="3824221" y="514552"/>
                  <a:pt x="3483687" y="504433"/>
                </a:cubicBezTo>
                <a:cubicBezTo>
                  <a:pt x="3143153" y="494314"/>
                  <a:pt x="3066933" y="515677"/>
                  <a:pt x="2954166" y="504433"/>
                </a:cubicBezTo>
                <a:cubicBezTo>
                  <a:pt x="2841399" y="493189"/>
                  <a:pt x="2482517" y="522670"/>
                  <a:pt x="2145951" y="504433"/>
                </a:cubicBezTo>
                <a:cubicBezTo>
                  <a:pt x="1809385" y="486196"/>
                  <a:pt x="1757851" y="522146"/>
                  <a:pt x="1616431" y="504433"/>
                </a:cubicBezTo>
                <a:cubicBezTo>
                  <a:pt x="1475011" y="486720"/>
                  <a:pt x="1170989" y="500315"/>
                  <a:pt x="975432" y="504433"/>
                </a:cubicBezTo>
                <a:cubicBezTo>
                  <a:pt x="779875" y="508551"/>
                  <a:pt x="258620" y="551869"/>
                  <a:pt x="0" y="504433"/>
                </a:cubicBezTo>
                <a:cubicBezTo>
                  <a:pt x="5647" y="298720"/>
                  <a:pt x="23059" y="111817"/>
                  <a:pt x="0" y="0"/>
                </a:cubicBezTo>
                <a:close/>
              </a:path>
              <a:path w="5573899" h="504433" stroke="0" extrusionOk="0">
                <a:moveTo>
                  <a:pt x="0" y="0"/>
                </a:moveTo>
                <a:cubicBezTo>
                  <a:pt x="285501" y="-9182"/>
                  <a:pt x="294816" y="29253"/>
                  <a:pt x="585259" y="0"/>
                </a:cubicBezTo>
                <a:cubicBezTo>
                  <a:pt x="875702" y="-29253"/>
                  <a:pt x="949108" y="-14490"/>
                  <a:pt x="1281997" y="0"/>
                </a:cubicBezTo>
                <a:cubicBezTo>
                  <a:pt x="1614886" y="14490"/>
                  <a:pt x="1629453" y="16423"/>
                  <a:pt x="1811517" y="0"/>
                </a:cubicBezTo>
                <a:cubicBezTo>
                  <a:pt x="1993581" y="-16423"/>
                  <a:pt x="2352032" y="-34184"/>
                  <a:pt x="2563994" y="0"/>
                </a:cubicBezTo>
                <a:cubicBezTo>
                  <a:pt x="2775956" y="34184"/>
                  <a:pt x="2896920" y="-4508"/>
                  <a:pt x="3093514" y="0"/>
                </a:cubicBezTo>
                <a:cubicBezTo>
                  <a:pt x="3290108" y="4508"/>
                  <a:pt x="3602902" y="-30822"/>
                  <a:pt x="3734512" y="0"/>
                </a:cubicBezTo>
                <a:cubicBezTo>
                  <a:pt x="3866122" y="30822"/>
                  <a:pt x="4348098" y="-15603"/>
                  <a:pt x="4542728" y="0"/>
                </a:cubicBezTo>
                <a:cubicBezTo>
                  <a:pt x="4737358" y="15603"/>
                  <a:pt x="5169094" y="-46626"/>
                  <a:pt x="5573899" y="0"/>
                </a:cubicBezTo>
                <a:cubicBezTo>
                  <a:pt x="5559251" y="154675"/>
                  <a:pt x="5577866" y="256179"/>
                  <a:pt x="5573899" y="504433"/>
                </a:cubicBezTo>
                <a:cubicBezTo>
                  <a:pt x="5402281" y="490750"/>
                  <a:pt x="5024514" y="536848"/>
                  <a:pt x="4877162" y="504433"/>
                </a:cubicBezTo>
                <a:cubicBezTo>
                  <a:pt x="4729810" y="472018"/>
                  <a:pt x="4505745" y="496209"/>
                  <a:pt x="4347641" y="504433"/>
                </a:cubicBezTo>
                <a:cubicBezTo>
                  <a:pt x="4189537" y="512657"/>
                  <a:pt x="3838736" y="535117"/>
                  <a:pt x="3595165" y="504433"/>
                </a:cubicBezTo>
                <a:cubicBezTo>
                  <a:pt x="3351594" y="473749"/>
                  <a:pt x="2998553" y="487280"/>
                  <a:pt x="2786950" y="504433"/>
                </a:cubicBezTo>
                <a:cubicBezTo>
                  <a:pt x="2575347" y="521586"/>
                  <a:pt x="2354952" y="474799"/>
                  <a:pt x="2145951" y="504433"/>
                </a:cubicBezTo>
                <a:cubicBezTo>
                  <a:pt x="1936950" y="534067"/>
                  <a:pt x="1721577" y="510632"/>
                  <a:pt x="1393475" y="504433"/>
                </a:cubicBezTo>
                <a:cubicBezTo>
                  <a:pt x="1065373" y="498234"/>
                  <a:pt x="868314" y="472518"/>
                  <a:pt x="696737" y="504433"/>
                </a:cubicBezTo>
                <a:cubicBezTo>
                  <a:pt x="525160" y="536348"/>
                  <a:pt x="205629" y="477432"/>
                  <a:pt x="0" y="504433"/>
                </a:cubicBezTo>
                <a:cubicBezTo>
                  <a:pt x="9122" y="285726"/>
                  <a:pt x="-6064" y="203355"/>
                  <a:pt x="0" y="0"/>
                </a:cubicBezTo>
                <a:close/>
              </a:path>
            </a:pathLst>
          </a:custGeom>
          <a:solidFill>
            <a:srgbClr val="9CD4B1"/>
          </a:solidFill>
          <a:ln>
            <a:solidFill>
              <a:schemeClr val="accent3">
                <a:lumMod val="50000"/>
              </a:schemeClr>
            </a:solidFill>
            <a:extLst>
              <a:ext uri="{C807C97D-BFC1-408E-A445-0C87EB9F89A2}">
                <ask:lineSketchStyleProps xmlns:ask="http://schemas.microsoft.com/office/drawing/2018/sketchyshapes" sd="927657231">
                  <a:prstGeom prst="rect">
                    <a:avLst/>
                  </a:prstGeom>
                  <ask:type>
                    <ask:lineSketchFreehand/>
                  </ask:type>
                </ask:lineSketchStyleProps>
              </a:ext>
            </a:extLst>
          </a:ln>
        </p:spPr>
        <p:txBody>
          <a:bodyPr wrap="square" lIns="91440" tIns="45720" rIns="91440" bIns="45720" rtlCol="0" anchor="t">
            <a:spAutoFit/>
          </a:bodyPr>
          <a:lstStyle/>
          <a:p>
            <a:pPr>
              <a:lnSpc>
                <a:spcPts val="1600"/>
              </a:lnSpc>
            </a:pPr>
            <a:r>
              <a:rPr lang="nl-NL" sz="1600" b="1" dirty="0">
                <a:solidFill>
                  <a:srgbClr val="193F27"/>
                </a:solidFill>
                <a:latin typeface="+mj-lt"/>
              </a:rPr>
              <a:t>4. </a:t>
            </a:r>
            <a:r>
              <a:rPr lang="nl-NL" sz="1600" b="1" dirty="0" err="1">
                <a:solidFill>
                  <a:srgbClr val="193F27"/>
                </a:solidFill>
                <a:latin typeface="+mj-lt"/>
              </a:rPr>
              <a:t>Hamersveldseweg</a:t>
            </a:r>
            <a:r>
              <a:rPr lang="nl-NL" sz="1600" b="1" dirty="0">
                <a:solidFill>
                  <a:srgbClr val="193F27"/>
                </a:solidFill>
                <a:latin typeface="+mj-lt"/>
              </a:rPr>
              <a:t>, de Mulderij en de Smidse </a:t>
            </a:r>
            <a:r>
              <a:rPr lang="nl-NL" sz="1600" dirty="0">
                <a:solidFill>
                  <a:srgbClr val="193F27"/>
                </a:solidFill>
                <a:latin typeface="+mj-lt"/>
              </a:rPr>
              <a:t>- dienstverlening en doelgerichte functies in de randen</a:t>
            </a:r>
            <a:endParaRPr lang="nl-NL" sz="1600" dirty="0">
              <a:latin typeface="+mj-lt"/>
            </a:endParaRPr>
          </a:p>
        </p:txBody>
      </p:sp>
      <p:sp>
        <p:nvSpPr>
          <p:cNvPr id="95" name="Ovaal 94">
            <a:extLst>
              <a:ext uri="{FF2B5EF4-FFF2-40B4-BE49-F238E27FC236}">
                <a16:creationId xmlns:a16="http://schemas.microsoft.com/office/drawing/2014/main" id="{5B67940A-8C20-4F1B-81D1-0D417F9ECCD4}"/>
              </a:ext>
            </a:extLst>
          </p:cNvPr>
          <p:cNvSpPr/>
          <p:nvPr/>
        </p:nvSpPr>
        <p:spPr>
          <a:xfrm rot="6335418">
            <a:off x="7396082" y="4200009"/>
            <a:ext cx="404813" cy="747905"/>
          </a:xfrm>
          <a:custGeom>
            <a:avLst/>
            <a:gdLst>
              <a:gd name="connsiteX0" fmla="*/ 0 w 404813"/>
              <a:gd name="connsiteY0" fmla="*/ 373953 h 747905"/>
              <a:gd name="connsiteX1" fmla="*/ 202407 w 404813"/>
              <a:gd name="connsiteY1" fmla="*/ 0 h 747905"/>
              <a:gd name="connsiteX2" fmla="*/ 404814 w 404813"/>
              <a:gd name="connsiteY2" fmla="*/ 373953 h 747905"/>
              <a:gd name="connsiteX3" fmla="*/ 202407 w 404813"/>
              <a:gd name="connsiteY3" fmla="*/ 747906 h 747905"/>
              <a:gd name="connsiteX4" fmla="*/ 0 w 404813"/>
              <a:gd name="connsiteY4" fmla="*/ 373953 h 7479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4813" h="747905" fill="none" extrusionOk="0">
                <a:moveTo>
                  <a:pt x="0" y="373953"/>
                </a:moveTo>
                <a:cubicBezTo>
                  <a:pt x="-16879" y="183643"/>
                  <a:pt x="73338" y="2740"/>
                  <a:pt x="202407" y="0"/>
                </a:cubicBezTo>
                <a:cubicBezTo>
                  <a:pt x="349533" y="20451"/>
                  <a:pt x="381757" y="168422"/>
                  <a:pt x="404814" y="373953"/>
                </a:cubicBezTo>
                <a:cubicBezTo>
                  <a:pt x="393256" y="571113"/>
                  <a:pt x="340063" y="741369"/>
                  <a:pt x="202407" y="747906"/>
                </a:cubicBezTo>
                <a:cubicBezTo>
                  <a:pt x="83669" y="725352"/>
                  <a:pt x="-18715" y="599346"/>
                  <a:pt x="0" y="373953"/>
                </a:cubicBezTo>
                <a:close/>
              </a:path>
              <a:path w="404813" h="747905" stroke="0" extrusionOk="0">
                <a:moveTo>
                  <a:pt x="0" y="373953"/>
                </a:moveTo>
                <a:cubicBezTo>
                  <a:pt x="-9239" y="177625"/>
                  <a:pt x="96735" y="-10661"/>
                  <a:pt x="202407" y="0"/>
                </a:cubicBezTo>
                <a:cubicBezTo>
                  <a:pt x="321878" y="-20245"/>
                  <a:pt x="429541" y="171822"/>
                  <a:pt x="404814" y="373953"/>
                </a:cubicBezTo>
                <a:cubicBezTo>
                  <a:pt x="415907" y="584813"/>
                  <a:pt x="307494" y="746999"/>
                  <a:pt x="202407" y="747906"/>
                </a:cubicBezTo>
                <a:cubicBezTo>
                  <a:pt x="92027" y="739344"/>
                  <a:pt x="-12920" y="619683"/>
                  <a:pt x="0" y="373953"/>
                </a:cubicBezTo>
                <a:close/>
              </a:path>
            </a:pathLst>
          </a:custGeom>
          <a:solidFill>
            <a:srgbClr val="62366E">
              <a:alpha val="50196"/>
            </a:srgbClr>
          </a:solidFill>
          <a:ln w="19050">
            <a:solidFill>
              <a:schemeClr val="accent1"/>
            </a:solidFill>
            <a:prstDash val="lgDash"/>
            <a:extLst>
              <a:ext uri="{C807C97D-BFC1-408E-A445-0C87EB9F89A2}">
                <ask:lineSketchStyleProps xmlns:ask="http://schemas.microsoft.com/office/drawing/2018/sketchyshapes" sd="3066130187">
                  <a:prstGeom prst="ellipse">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7" name="Paginanummer Seinpost">
            <a:extLst>
              <a:ext uri="{FF2B5EF4-FFF2-40B4-BE49-F238E27FC236}">
                <a16:creationId xmlns:a16="http://schemas.microsoft.com/office/drawing/2014/main" id="{449E94A9-C10B-4A21-8E97-B6C6A8652F7E}"/>
              </a:ext>
            </a:extLst>
          </p:cNvPr>
          <p:cNvSpPr txBox="1">
            <a:spLocks/>
          </p:cNvSpPr>
          <p:nvPr>
            <p:custDataLst>
              <p:tags r:id="rId1"/>
            </p:custDataLst>
          </p:nvPr>
        </p:nvSpPr>
        <p:spPr>
          <a:xfrm>
            <a:off x="11628018" y="252000"/>
            <a:ext cx="381601" cy="244800"/>
          </a:xfrm>
          <a:prstGeom prst="rect">
            <a:avLst/>
          </a:prstGeom>
          <a:noFill/>
        </p:spPr>
        <p:txBody>
          <a:bodyPr vert="horz" lIns="0" tIns="0" rIns="0" bIns="0" rtlCol="0" anchor="t">
            <a:noAutofit/>
          </a:bodyPr>
          <a:lstStyle/>
          <a:p>
            <a:pPr algn="ctr"/>
            <a:r>
              <a:rPr lang="nl-NL" sz="1000" b="1">
                <a:solidFill>
                  <a:srgbClr val="62366E"/>
                </a:solidFill>
                <a:latin typeface="Open Sans" panose="020B0606030504020204" pitchFamily="34" charset="0"/>
              </a:rPr>
              <a:t>19</a:t>
            </a:r>
          </a:p>
        </p:txBody>
      </p:sp>
      <p:sp>
        <p:nvSpPr>
          <p:cNvPr id="138" name="Rechthoek: afgeronde hoeken 14">
            <a:extLst>
              <a:ext uri="{FF2B5EF4-FFF2-40B4-BE49-F238E27FC236}">
                <a16:creationId xmlns:a16="http://schemas.microsoft.com/office/drawing/2014/main" id="{F0F1770B-814D-48E1-A903-B7AE6059FD88}"/>
              </a:ext>
            </a:extLst>
          </p:cNvPr>
          <p:cNvSpPr/>
          <p:nvPr/>
        </p:nvSpPr>
        <p:spPr>
          <a:xfrm rot="11571750">
            <a:off x="9725390" y="2944207"/>
            <a:ext cx="362473" cy="533405"/>
          </a:xfrm>
          <a:custGeom>
            <a:avLst/>
            <a:gdLst>
              <a:gd name="connsiteX0" fmla="*/ 45737 w 362473"/>
              <a:gd name="connsiteY0" fmla="*/ 31382 h 533405"/>
              <a:gd name="connsiteX1" fmla="*/ 92291 w 362473"/>
              <a:gd name="connsiteY1" fmla="*/ 232 h 533405"/>
              <a:gd name="connsiteX2" fmla="*/ 293610 w 362473"/>
              <a:gd name="connsiteY2" fmla="*/ 0 h 533405"/>
              <a:gd name="connsiteX3" fmla="*/ 325059 w 362473"/>
              <a:gd name="connsiteY3" fmla="*/ 31382 h 533405"/>
              <a:gd name="connsiteX4" fmla="*/ 362473 w 362473"/>
              <a:gd name="connsiteY4" fmla="*/ 509331 h 533405"/>
              <a:gd name="connsiteX5" fmla="*/ 278505 w 362473"/>
              <a:gd name="connsiteY5" fmla="*/ 533405 h 533405"/>
              <a:gd name="connsiteX6" fmla="*/ 92291 w 362473"/>
              <a:gd name="connsiteY6" fmla="*/ 533405 h 533405"/>
              <a:gd name="connsiteX7" fmla="*/ 45737 w 362473"/>
              <a:gd name="connsiteY7" fmla="*/ 502255 h 533405"/>
              <a:gd name="connsiteX8" fmla="*/ 0 w 362473"/>
              <a:gd name="connsiteY8" fmla="*/ 222770 h 533405"/>
              <a:gd name="connsiteX9" fmla="*/ 45737 w 362473"/>
              <a:gd name="connsiteY9" fmla="*/ 31382 h 5334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62473" h="533405" fill="none" extrusionOk="0">
                <a:moveTo>
                  <a:pt x="45737" y="31382"/>
                </a:moveTo>
                <a:cubicBezTo>
                  <a:pt x="47821" y="14483"/>
                  <a:pt x="64900" y="-1562"/>
                  <a:pt x="92291" y="232"/>
                </a:cubicBezTo>
                <a:cubicBezTo>
                  <a:pt x="182414" y="-553"/>
                  <a:pt x="249514" y="-4290"/>
                  <a:pt x="293610" y="0"/>
                </a:cubicBezTo>
                <a:cubicBezTo>
                  <a:pt x="319331" y="888"/>
                  <a:pt x="322655" y="13746"/>
                  <a:pt x="325059" y="31382"/>
                </a:cubicBezTo>
                <a:cubicBezTo>
                  <a:pt x="339176" y="198874"/>
                  <a:pt x="303940" y="336889"/>
                  <a:pt x="362473" y="509331"/>
                </a:cubicBezTo>
                <a:cubicBezTo>
                  <a:pt x="366105" y="530126"/>
                  <a:pt x="298940" y="533069"/>
                  <a:pt x="278505" y="533405"/>
                </a:cubicBezTo>
                <a:cubicBezTo>
                  <a:pt x="209094" y="536914"/>
                  <a:pt x="146261" y="542472"/>
                  <a:pt x="92291" y="533405"/>
                </a:cubicBezTo>
                <a:cubicBezTo>
                  <a:pt x="66767" y="535205"/>
                  <a:pt x="48416" y="520927"/>
                  <a:pt x="45737" y="502255"/>
                </a:cubicBezTo>
                <a:cubicBezTo>
                  <a:pt x="34534" y="391322"/>
                  <a:pt x="8020" y="303652"/>
                  <a:pt x="0" y="222770"/>
                </a:cubicBezTo>
                <a:cubicBezTo>
                  <a:pt x="26319" y="130388"/>
                  <a:pt x="34243" y="85842"/>
                  <a:pt x="45737" y="31382"/>
                </a:cubicBezTo>
                <a:close/>
              </a:path>
              <a:path w="362473" h="533405" stroke="0" extrusionOk="0">
                <a:moveTo>
                  <a:pt x="45737" y="31382"/>
                </a:moveTo>
                <a:cubicBezTo>
                  <a:pt x="46111" y="12517"/>
                  <a:pt x="64719" y="1020"/>
                  <a:pt x="92291" y="232"/>
                </a:cubicBezTo>
                <a:cubicBezTo>
                  <a:pt x="163996" y="-1829"/>
                  <a:pt x="204312" y="-7175"/>
                  <a:pt x="293610" y="0"/>
                </a:cubicBezTo>
                <a:cubicBezTo>
                  <a:pt x="320268" y="790"/>
                  <a:pt x="323770" y="16888"/>
                  <a:pt x="325059" y="31382"/>
                </a:cubicBezTo>
                <a:cubicBezTo>
                  <a:pt x="373944" y="190718"/>
                  <a:pt x="287217" y="355217"/>
                  <a:pt x="362473" y="509331"/>
                </a:cubicBezTo>
                <a:cubicBezTo>
                  <a:pt x="363464" y="525093"/>
                  <a:pt x="303627" y="531958"/>
                  <a:pt x="278505" y="533405"/>
                </a:cubicBezTo>
                <a:cubicBezTo>
                  <a:pt x="230052" y="531940"/>
                  <a:pt x="152681" y="525586"/>
                  <a:pt x="92291" y="533405"/>
                </a:cubicBezTo>
                <a:cubicBezTo>
                  <a:pt x="65527" y="537194"/>
                  <a:pt x="43923" y="516043"/>
                  <a:pt x="45737" y="502255"/>
                </a:cubicBezTo>
                <a:cubicBezTo>
                  <a:pt x="36236" y="396479"/>
                  <a:pt x="-13851" y="313832"/>
                  <a:pt x="0" y="222770"/>
                </a:cubicBezTo>
                <a:cubicBezTo>
                  <a:pt x="24706" y="155887"/>
                  <a:pt x="38424" y="100494"/>
                  <a:pt x="45737" y="31382"/>
                </a:cubicBezTo>
                <a:close/>
              </a:path>
            </a:pathLst>
          </a:custGeom>
          <a:solidFill>
            <a:schemeClr val="accent3">
              <a:lumMod val="75000"/>
              <a:alpha val="50196"/>
            </a:schemeClr>
          </a:solidFill>
          <a:ln w="19050">
            <a:solidFill>
              <a:schemeClr val="accent3">
                <a:lumMod val="50000"/>
              </a:schemeClr>
            </a:solidFill>
            <a:prstDash val="lgDash"/>
            <a:extLst>
              <a:ext uri="{C807C97D-BFC1-408E-A445-0C87EB9F89A2}">
                <ask:lineSketchStyleProps xmlns:ask="http://schemas.microsoft.com/office/drawing/2018/sketchyshapes" sd="1343802768">
                  <a:custGeom>
                    <a:avLst/>
                    <a:gdLst>
                      <a:gd name="connsiteX0" fmla="*/ 0 w 303332"/>
                      <a:gd name="connsiteY0" fmla="*/ 50556 h 865339"/>
                      <a:gd name="connsiteX1" fmla="*/ 50556 w 303332"/>
                      <a:gd name="connsiteY1" fmla="*/ 0 h 865339"/>
                      <a:gd name="connsiteX2" fmla="*/ 252776 w 303332"/>
                      <a:gd name="connsiteY2" fmla="*/ 0 h 865339"/>
                      <a:gd name="connsiteX3" fmla="*/ 303332 w 303332"/>
                      <a:gd name="connsiteY3" fmla="*/ 50556 h 865339"/>
                      <a:gd name="connsiteX4" fmla="*/ 303332 w 303332"/>
                      <a:gd name="connsiteY4" fmla="*/ 814783 h 865339"/>
                      <a:gd name="connsiteX5" fmla="*/ 252776 w 303332"/>
                      <a:gd name="connsiteY5" fmla="*/ 865339 h 865339"/>
                      <a:gd name="connsiteX6" fmla="*/ 50556 w 303332"/>
                      <a:gd name="connsiteY6" fmla="*/ 865339 h 865339"/>
                      <a:gd name="connsiteX7" fmla="*/ 0 w 303332"/>
                      <a:gd name="connsiteY7" fmla="*/ 814783 h 865339"/>
                      <a:gd name="connsiteX8" fmla="*/ 0 w 303332"/>
                      <a:gd name="connsiteY8" fmla="*/ 50556 h 865339"/>
                      <a:gd name="connsiteX0" fmla="*/ 0 w 303332"/>
                      <a:gd name="connsiteY0" fmla="*/ 50933 h 865716"/>
                      <a:gd name="connsiteX1" fmla="*/ 50556 w 303332"/>
                      <a:gd name="connsiteY1" fmla="*/ 377 h 865716"/>
                      <a:gd name="connsiteX2" fmla="*/ 269179 w 303332"/>
                      <a:gd name="connsiteY2" fmla="*/ 0 h 865716"/>
                      <a:gd name="connsiteX3" fmla="*/ 303332 w 303332"/>
                      <a:gd name="connsiteY3" fmla="*/ 50933 h 865716"/>
                      <a:gd name="connsiteX4" fmla="*/ 303332 w 303332"/>
                      <a:gd name="connsiteY4" fmla="*/ 815160 h 865716"/>
                      <a:gd name="connsiteX5" fmla="*/ 252776 w 303332"/>
                      <a:gd name="connsiteY5" fmla="*/ 865716 h 865716"/>
                      <a:gd name="connsiteX6" fmla="*/ 50556 w 303332"/>
                      <a:gd name="connsiteY6" fmla="*/ 865716 h 865716"/>
                      <a:gd name="connsiteX7" fmla="*/ 0 w 303332"/>
                      <a:gd name="connsiteY7" fmla="*/ 815160 h 865716"/>
                      <a:gd name="connsiteX8" fmla="*/ 0 w 303332"/>
                      <a:gd name="connsiteY8" fmla="*/ 50933 h 865716"/>
                      <a:gd name="connsiteX0" fmla="*/ 49669 w 353001"/>
                      <a:gd name="connsiteY0" fmla="*/ 50933 h 865716"/>
                      <a:gd name="connsiteX1" fmla="*/ 100225 w 353001"/>
                      <a:gd name="connsiteY1" fmla="*/ 377 h 865716"/>
                      <a:gd name="connsiteX2" fmla="*/ 318848 w 353001"/>
                      <a:gd name="connsiteY2" fmla="*/ 0 h 865716"/>
                      <a:gd name="connsiteX3" fmla="*/ 353001 w 353001"/>
                      <a:gd name="connsiteY3" fmla="*/ 50933 h 865716"/>
                      <a:gd name="connsiteX4" fmla="*/ 353001 w 353001"/>
                      <a:gd name="connsiteY4" fmla="*/ 815160 h 865716"/>
                      <a:gd name="connsiteX5" fmla="*/ 302445 w 353001"/>
                      <a:gd name="connsiteY5" fmla="*/ 865716 h 865716"/>
                      <a:gd name="connsiteX6" fmla="*/ 100225 w 353001"/>
                      <a:gd name="connsiteY6" fmla="*/ 865716 h 865716"/>
                      <a:gd name="connsiteX7" fmla="*/ 49669 w 353001"/>
                      <a:gd name="connsiteY7" fmla="*/ 815160 h 865716"/>
                      <a:gd name="connsiteX8" fmla="*/ 0 w 353001"/>
                      <a:gd name="connsiteY8" fmla="*/ 361556 h 865716"/>
                      <a:gd name="connsiteX9" fmla="*/ 49669 w 353001"/>
                      <a:gd name="connsiteY9" fmla="*/ 50933 h 865716"/>
                      <a:gd name="connsiteX0" fmla="*/ 49669 w 393630"/>
                      <a:gd name="connsiteY0" fmla="*/ 50933 h 865716"/>
                      <a:gd name="connsiteX1" fmla="*/ 100225 w 393630"/>
                      <a:gd name="connsiteY1" fmla="*/ 377 h 865716"/>
                      <a:gd name="connsiteX2" fmla="*/ 318848 w 393630"/>
                      <a:gd name="connsiteY2" fmla="*/ 0 h 865716"/>
                      <a:gd name="connsiteX3" fmla="*/ 353001 w 393630"/>
                      <a:gd name="connsiteY3" fmla="*/ 50933 h 865716"/>
                      <a:gd name="connsiteX4" fmla="*/ 393630 w 393630"/>
                      <a:gd name="connsiteY4" fmla="*/ 826644 h 865716"/>
                      <a:gd name="connsiteX5" fmla="*/ 302445 w 393630"/>
                      <a:gd name="connsiteY5" fmla="*/ 865716 h 865716"/>
                      <a:gd name="connsiteX6" fmla="*/ 100225 w 393630"/>
                      <a:gd name="connsiteY6" fmla="*/ 865716 h 865716"/>
                      <a:gd name="connsiteX7" fmla="*/ 49669 w 393630"/>
                      <a:gd name="connsiteY7" fmla="*/ 815160 h 865716"/>
                      <a:gd name="connsiteX8" fmla="*/ 0 w 393630"/>
                      <a:gd name="connsiteY8" fmla="*/ 361556 h 865716"/>
                      <a:gd name="connsiteX9" fmla="*/ 49669 w 393630"/>
                      <a:gd name="connsiteY9" fmla="*/ 50933 h 865716"/>
                      <a:gd name="connsiteX0" fmla="*/ 49669 w 393630"/>
                      <a:gd name="connsiteY0" fmla="*/ 50933 h 865716"/>
                      <a:gd name="connsiteX1" fmla="*/ 100225 w 393630"/>
                      <a:gd name="connsiteY1" fmla="*/ 377 h 865716"/>
                      <a:gd name="connsiteX2" fmla="*/ 318848 w 393630"/>
                      <a:gd name="connsiteY2" fmla="*/ 0 h 865716"/>
                      <a:gd name="connsiteX3" fmla="*/ 353001 w 393630"/>
                      <a:gd name="connsiteY3" fmla="*/ 50933 h 865716"/>
                      <a:gd name="connsiteX4" fmla="*/ 393630 w 393630"/>
                      <a:gd name="connsiteY4" fmla="*/ 826644 h 865716"/>
                      <a:gd name="connsiteX5" fmla="*/ 302445 w 393630"/>
                      <a:gd name="connsiteY5" fmla="*/ 865716 h 865716"/>
                      <a:gd name="connsiteX6" fmla="*/ 100225 w 393630"/>
                      <a:gd name="connsiteY6" fmla="*/ 865716 h 865716"/>
                      <a:gd name="connsiteX7" fmla="*/ 49669 w 393630"/>
                      <a:gd name="connsiteY7" fmla="*/ 815160 h 865716"/>
                      <a:gd name="connsiteX8" fmla="*/ 0 w 393630"/>
                      <a:gd name="connsiteY8" fmla="*/ 361556 h 865716"/>
                      <a:gd name="connsiteX9" fmla="*/ 49669 w 393630"/>
                      <a:gd name="connsiteY9" fmla="*/ 50933 h 8657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93630" h="865716">
                        <a:moveTo>
                          <a:pt x="49669" y="50933"/>
                        </a:moveTo>
                        <a:cubicBezTo>
                          <a:pt x="49669" y="23012"/>
                          <a:pt x="72304" y="377"/>
                          <a:pt x="100225" y="377"/>
                        </a:cubicBezTo>
                        <a:lnTo>
                          <a:pt x="318848" y="0"/>
                        </a:lnTo>
                        <a:cubicBezTo>
                          <a:pt x="346769" y="0"/>
                          <a:pt x="353001" y="23012"/>
                          <a:pt x="353001" y="50933"/>
                        </a:cubicBezTo>
                        <a:cubicBezTo>
                          <a:pt x="366544" y="309503"/>
                          <a:pt x="337945" y="548640"/>
                          <a:pt x="393630" y="826644"/>
                        </a:cubicBezTo>
                        <a:cubicBezTo>
                          <a:pt x="393630" y="854565"/>
                          <a:pt x="330366" y="865716"/>
                          <a:pt x="302445" y="865716"/>
                        </a:cubicBezTo>
                        <a:lnTo>
                          <a:pt x="100225" y="865716"/>
                        </a:lnTo>
                        <a:cubicBezTo>
                          <a:pt x="72304" y="865716"/>
                          <a:pt x="49669" y="843081"/>
                          <a:pt x="49669" y="815160"/>
                        </a:cubicBezTo>
                        <a:cubicBezTo>
                          <a:pt x="47076" y="660384"/>
                          <a:pt x="2593" y="516332"/>
                          <a:pt x="0" y="361556"/>
                        </a:cubicBezTo>
                        <a:lnTo>
                          <a:pt x="49669" y="50933"/>
                        </a:lnTo>
                        <a:close/>
                      </a:path>
                    </a:pathLst>
                  </a:cu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grpSp>
        <p:nvGrpSpPr>
          <p:cNvPr id="118" name="Group 125">
            <a:extLst>
              <a:ext uri="{FF2B5EF4-FFF2-40B4-BE49-F238E27FC236}">
                <a16:creationId xmlns:a16="http://schemas.microsoft.com/office/drawing/2014/main" id="{8E94ECB1-CECD-4BF3-8C71-7C97CD387F92}"/>
              </a:ext>
            </a:extLst>
          </p:cNvPr>
          <p:cNvGrpSpPr/>
          <p:nvPr/>
        </p:nvGrpSpPr>
        <p:grpSpPr>
          <a:xfrm>
            <a:off x="9808037" y="2852510"/>
            <a:ext cx="288000" cy="288000"/>
            <a:chOff x="7095592" y="742073"/>
            <a:chExt cx="329184" cy="329184"/>
          </a:xfrm>
        </p:grpSpPr>
        <p:sp>
          <p:nvSpPr>
            <p:cNvPr id="293" name="Oval 137">
              <a:extLst>
                <a:ext uri="{FF2B5EF4-FFF2-40B4-BE49-F238E27FC236}">
                  <a16:creationId xmlns:a16="http://schemas.microsoft.com/office/drawing/2014/main" id="{6B2EDD8B-9DB1-415F-88C8-4915246A3ED0}"/>
                </a:ext>
              </a:extLst>
            </p:cNvPr>
            <p:cNvSpPr/>
            <p:nvPr/>
          </p:nvSpPr>
          <p:spPr>
            <a:xfrm>
              <a:off x="7095592" y="742073"/>
              <a:ext cx="329184" cy="329184"/>
            </a:xfrm>
            <a:prstGeom prst="ellipse">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94" name="Group 127">
              <a:extLst>
                <a:ext uri="{FF2B5EF4-FFF2-40B4-BE49-F238E27FC236}">
                  <a16:creationId xmlns:a16="http://schemas.microsoft.com/office/drawing/2014/main" id="{F69449E2-6D62-4F9A-A8D4-6F4945C2FC69}"/>
                </a:ext>
              </a:extLst>
            </p:cNvPr>
            <p:cNvGrpSpPr/>
            <p:nvPr/>
          </p:nvGrpSpPr>
          <p:grpSpPr>
            <a:xfrm>
              <a:off x="7176816" y="778521"/>
              <a:ext cx="179310" cy="244447"/>
              <a:chOff x="7176816" y="778521"/>
              <a:chExt cx="179310" cy="244447"/>
            </a:xfrm>
          </p:grpSpPr>
          <p:sp>
            <p:nvSpPr>
              <p:cNvPr id="295" name="Seed" descr="{&quot;Key&quot;:&quot;POWER_USER_SHAPE_ICON&quot;,&quot;Value&quot;:&quot;POWER_USER_SHAPE_ICON_STYLE_1&quot;}">
                <a:extLst>
                  <a:ext uri="{FF2B5EF4-FFF2-40B4-BE49-F238E27FC236}">
                    <a16:creationId xmlns:a16="http://schemas.microsoft.com/office/drawing/2014/main" id="{1F6D6820-423D-4041-A3F0-62E23737FD38}"/>
                  </a:ext>
                </a:extLst>
              </p:cNvPr>
              <p:cNvSpPr>
                <a:spLocks noChangeAspect="1" noEditPoints="1"/>
              </p:cNvSpPr>
              <p:nvPr>
                <p:custDataLst>
                  <p:tags r:id="rId12"/>
                </p:custDataLst>
              </p:nvPr>
            </p:nvSpPr>
            <p:spPr bwMode="auto">
              <a:xfrm>
                <a:off x="7176816" y="878690"/>
                <a:ext cx="162838" cy="144278"/>
              </a:xfrm>
              <a:custGeom>
                <a:avLst/>
                <a:gdLst>
                  <a:gd name="T0" fmla="*/ 6744 w 11364"/>
                  <a:gd name="T1" fmla="*/ 3564 h 10067"/>
                  <a:gd name="T2" fmla="*/ 7042 w 11364"/>
                  <a:gd name="T3" fmla="*/ 3354 h 10067"/>
                  <a:gd name="T4" fmla="*/ 4139 w 11364"/>
                  <a:gd name="T5" fmla="*/ 214 h 10067"/>
                  <a:gd name="T6" fmla="*/ 5282 w 11364"/>
                  <a:gd name="T7" fmla="*/ 2733 h 10067"/>
                  <a:gd name="T8" fmla="*/ 10245 w 11364"/>
                  <a:gd name="T9" fmla="*/ 7311 h 10067"/>
                  <a:gd name="T10" fmla="*/ 7950 w 11364"/>
                  <a:gd name="T11" fmla="*/ 5369 h 10067"/>
                  <a:gd name="T12" fmla="*/ 7665 w 11364"/>
                  <a:gd name="T13" fmla="*/ 5315 h 10067"/>
                  <a:gd name="T14" fmla="*/ 7626 w 11364"/>
                  <a:gd name="T15" fmla="*/ 5310 h 10067"/>
                  <a:gd name="T16" fmla="*/ 7637 w 11364"/>
                  <a:gd name="T17" fmla="*/ 4576 h 10067"/>
                  <a:gd name="T18" fmla="*/ 7646 w 11364"/>
                  <a:gd name="T19" fmla="*/ 4476 h 10067"/>
                  <a:gd name="T20" fmla="*/ 7673 w 11364"/>
                  <a:gd name="T21" fmla="*/ 4234 h 10067"/>
                  <a:gd name="T22" fmla="*/ 8068 w 11364"/>
                  <a:gd name="T23" fmla="*/ 4029 h 10067"/>
                  <a:gd name="T24" fmla="*/ 11244 w 11364"/>
                  <a:gd name="T25" fmla="*/ 0 h 10067"/>
                  <a:gd name="T26" fmla="*/ 7516 w 11364"/>
                  <a:gd name="T27" fmla="*/ 2618 h 10067"/>
                  <a:gd name="T28" fmla="*/ 7233 w 11364"/>
                  <a:gd name="T29" fmla="*/ 4214 h 10067"/>
                  <a:gd name="T30" fmla="*/ 7224 w 11364"/>
                  <a:gd name="T31" fmla="*/ 5280 h 10067"/>
                  <a:gd name="T32" fmla="*/ 7082 w 11364"/>
                  <a:gd name="T33" fmla="*/ 5277 h 10067"/>
                  <a:gd name="T34" fmla="*/ 5070 w 11364"/>
                  <a:gd name="T35" fmla="*/ 6113 h 10067"/>
                  <a:gd name="T36" fmla="*/ 2454 w 11364"/>
                  <a:gd name="T37" fmla="*/ 5748 h 10067"/>
                  <a:gd name="T38" fmla="*/ 1979 w 11364"/>
                  <a:gd name="T39" fmla="*/ 5775 h 10067"/>
                  <a:gd name="T40" fmla="*/ 2514 w 11364"/>
                  <a:gd name="T41" fmla="*/ 6100 h 10067"/>
                  <a:gd name="T42" fmla="*/ 4816 w 11364"/>
                  <a:gd name="T43" fmla="*/ 6387 h 10067"/>
                  <a:gd name="T44" fmla="*/ 6145 w 11364"/>
                  <a:gd name="T45" fmla="*/ 6987 h 10067"/>
                  <a:gd name="T46" fmla="*/ 8301 w 11364"/>
                  <a:gd name="T47" fmla="*/ 7145 h 10067"/>
                  <a:gd name="T48" fmla="*/ 8758 w 11364"/>
                  <a:gd name="T49" fmla="*/ 7918 h 10067"/>
                  <a:gd name="T50" fmla="*/ 8461 w 11364"/>
                  <a:gd name="T51" fmla="*/ 8153 h 10067"/>
                  <a:gd name="T52" fmla="*/ 7099 w 11364"/>
                  <a:gd name="T53" fmla="*/ 8176 h 10067"/>
                  <a:gd name="T54" fmla="*/ 6945 w 11364"/>
                  <a:gd name="T55" fmla="*/ 8155 h 10067"/>
                  <a:gd name="T56" fmla="*/ 6316 w 11364"/>
                  <a:gd name="T57" fmla="*/ 8035 h 10067"/>
                  <a:gd name="T58" fmla="*/ 6020 w 11364"/>
                  <a:gd name="T59" fmla="*/ 7984 h 10067"/>
                  <a:gd name="T60" fmla="*/ 4994 w 11364"/>
                  <a:gd name="T61" fmla="*/ 8127 h 10067"/>
                  <a:gd name="T62" fmla="*/ 4903 w 11364"/>
                  <a:gd name="T63" fmla="*/ 8363 h 10067"/>
                  <a:gd name="T64" fmla="*/ 6233 w 11364"/>
                  <a:gd name="T65" fmla="*/ 8382 h 10067"/>
                  <a:gd name="T66" fmla="*/ 8735 w 11364"/>
                  <a:gd name="T67" fmla="*/ 8429 h 10067"/>
                  <a:gd name="T68" fmla="*/ 9563 w 11364"/>
                  <a:gd name="T69" fmla="*/ 8061 h 10067"/>
                  <a:gd name="T70" fmla="*/ 10404 w 11364"/>
                  <a:gd name="T71" fmla="*/ 7630 h 10067"/>
                  <a:gd name="T72" fmla="*/ 10935 w 11364"/>
                  <a:gd name="T73" fmla="*/ 7937 h 10067"/>
                  <a:gd name="T74" fmla="*/ 10018 w 11364"/>
                  <a:gd name="T75" fmla="*/ 8647 h 10067"/>
                  <a:gd name="T76" fmla="*/ 9086 w 11364"/>
                  <a:gd name="T77" fmla="*/ 9020 h 10067"/>
                  <a:gd name="T78" fmla="*/ 6547 w 11364"/>
                  <a:gd name="T79" fmla="*/ 9626 h 10067"/>
                  <a:gd name="T80" fmla="*/ 2148 w 11364"/>
                  <a:gd name="T81" fmla="*/ 8613 h 10067"/>
                  <a:gd name="T82" fmla="*/ 1979 w 11364"/>
                  <a:gd name="T83" fmla="*/ 8970 h 10067"/>
                  <a:gd name="T84" fmla="*/ 5139 w 11364"/>
                  <a:gd name="T85" fmla="*/ 9875 h 10067"/>
                  <a:gd name="T86" fmla="*/ 6619 w 11364"/>
                  <a:gd name="T87" fmla="*/ 9976 h 10067"/>
                  <a:gd name="T88" fmla="*/ 9235 w 11364"/>
                  <a:gd name="T89" fmla="*/ 9344 h 10067"/>
                  <a:gd name="T90" fmla="*/ 10176 w 11364"/>
                  <a:gd name="T91" fmla="*/ 8967 h 10067"/>
                  <a:gd name="T92" fmla="*/ 11194 w 11364"/>
                  <a:gd name="T93" fmla="*/ 8190 h 10067"/>
                  <a:gd name="T94" fmla="*/ 0 w 11364"/>
                  <a:gd name="T95" fmla="*/ 9309 h 10067"/>
                  <a:gd name="T96" fmla="*/ 1630 w 11364"/>
                  <a:gd name="T97" fmla="*/ 5351 h 10067"/>
                  <a:gd name="T98" fmla="*/ 0 w 11364"/>
                  <a:gd name="T99" fmla="*/ 9309 h 100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1364" h="10067">
                    <a:moveTo>
                      <a:pt x="5282" y="2733"/>
                    </a:moveTo>
                    <a:cubicBezTo>
                      <a:pt x="5856" y="3288"/>
                      <a:pt x="6390" y="3439"/>
                      <a:pt x="6744" y="3564"/>
                    </a:cubicBezTo>
                    <a:cubicBezTo>
                      <a:pt x="6525" y="2306"/>
                      <a:pt x="5827" y="1150"/>
                      <a:pt x="4589" y="609"/>
                    </a:cubicBezTo>
                    <a:cubicBezTo>
                      <a:pt x="5820" y="997"/>
                      <a:pt x="6676" y="2123"/>
                      <a:pt x="7042" y="3354"/>
                    </a:cubicBezTo>
                    <a:cubicBezTo>
                      <a:pt x="7112" y="2949"/>
                      <a:pt x="7216" y="2574"/>
                      <a:pt x="7358" y="2233"/>
                    </a:cubicBezTo>
                    <a:cubicBezTo>
                      <a:pt x="7006" y="1054"/>
                      <a:pt x="5918" y="214"/>
                      <a:pt x="4139" y="214"/>
                    </a:cubicBezTo>
                    <a:cubicBezTo>
                      <a:pt x="3920" y="214"/>
                      <a:pt x="3690" y="227"/>
                      <a:pt x="3450" y="253"/>
                    </a:cubicBezTo>
                    <a:cubicBezTo>
                      <a:pt x="4708" y="954"/>
                      <a:pt x="4033" y="1529"/>
                      <a:pt x="5282" y="2733"/>
                    </a:cubicBezTo>
                    <a:close/>
                    <a:moveTo>
                      <a:pt x="11174" y="7560"/>
                    </a:moveTo>
                    <a:cubicBezTo>
                      <a:pt x="11020" y="7299"/>
                      <a:pt x="10696" y="7094"/>
                      <a:pt x="10245" y="7311"/>
                    </a:cubicBezTo>
                    <a:lnTo>
                      <a:pt x="10145" y="7362"/>
                    </a:lnTo>
                    <a:cubicBezTo>
                      <a:pt x="9750" y="6361"/>
                      <a:pt x="9011" y="5620"/>
                      <a:pt x="7950" y="5369"/>
                    </a:cubicBezTo>
                    <a:cubicBezTo>
                      <a:pt x="7904" y="5358"/>
                      <a:pt x="7855" y="5350"/>
                      <a:pt x="7807" y="5341"/>
                    </a:cubicBezTo>
                    <a:cubicBezTo>
                      <a:pt x="7760" y="5332"/>
                      <a:pt x="7713" y="5323"/>
                      <a:pt x="7665" y="5315"/>
                    </a:cubicBezTo>
                    <a:lnTo>
                      <a:pt x="7665" y="5310"/>
                    </a:lnTo>
                    <a:lnTo>
                      <a:pt x="7626" y="5310"/>
                    </a:lnTo>
                    <a:cubicBezTo>
                      <a:pt x="7615" y="5095"/>
                      <a:pt x="7617" y="4877"/>
                      <a:pt x="7630" y="4658"/>
                    </a:cubicBezTo>
                    <a:cubicBezTo>
                      <a:pt x="7632" y="4631"/>
                      <a:pt x="7635" y="4603"/>
                      <a:pt x="7637" y="4576"/>
                    </a:cubicBezTo>
                    <a:cubicBezTo>
                      <a:pt x="7639" y="4548"/>
                      <a:pt x="7642" y="4521"/>
                      <a:pt x="7645" y="4493"/>
                    </a:cubicBezTo>
                    <a:cubicBezTo>
                      <a:pt x="7645" y="4487"/>
                      <a:pt x="7646" y="4482"/>
                      <a:pt x="7646" y="4476"/>
                    </a:cubicBezTo>
                    <a:cubicBezTo>
                      <a:pt x="7650" y="4440"/>
                      <a:pt x="7653" y="4405"/>
                      <a:pt x="7657" y="4369"/>
                    </a:cubicBezTo>
                    <a:cubicBezTo>
                      <a:pt x="7662" y="4324"/>
                      <a:pt x="7667" y="4279"/>
                      <a:pt x="7673" y="4234"/>
                    </a:cubicBezTo>
                    <a:cubicBezTo>
                      <a:pt x="7872" y="2771"/>
                      <a:pt x="8628" y="1348"/>
                      <a:pt x="9939" y="657"/>
                    </a:cubicBezTo>
                    <a:cubicBezTo>
                      <a:pt x="8766" y="1446"/>
                      <a:pt x="8183" y="2704"/>
                      <a:pt x="8068" y="4029"/>
                    </a:cubicBezTo>
                    <a:cubicBezTo>
                      <a:pt x="8412" y="3957"/>
                      <a:pt x="8947" y="3834"/>
                      <a:pt x="9555" y="3096"/>
                    </a:cubicBezTo>
                    <a:cubicBezTo>
                      <a:pt x="10606" y="1820"/>
                      <a:pt x="10037" y="1108"/>
                      <a:pt x="11244" y="0"/>
                    </a:cubicBezTo>
                    <a:cubicBezTo>
                      <a:pt x="9086" y="152"/>
                      <a:pt x="8041" y="1219"/>
                      <a:pt x="7569" y="2470"/>
                    </a:cubicBezTo>
                    <a:cubicBezTo>
                      <a:pt x="7551" y="2519"/>
                      <a:pt x="7533" y="2568"/>
                      <a:pt x="7516" y="2618"/>
                    </a:cubicBezTo>
                    <a:cubicBezTo>
                      <a:pt x="7499" y="2670"/>
                      <a:pt x="7482" y="2723"/>
                      <a:pt x="7466" y="2776"/>
                    </a:cubicBezTo>
                    <a:cubicBezTo>
                      <a:pt x="7324" y="3251"/>
                      <a:pt x="7255" y="3743"/>
                      <a:pt x="7233" y="4214"/>
                    </a:cubicBezTo>
                    <a:cubicBezTo>
                      <a:pt x="7227" y="4337"/>
                      <a:pt x="7224" y="4458"/>
                      <a:pt x="7224" y="4577"/>
                    </a:cubicBezTo>
                    <a:lnTo>
                      <a:pt x="7224" y="5280"/>
                    </a:lnTo>
                    <a:cubicBezTo>
                      <a:pt x="7190" y="5279"/>
                      <a:pt x="7156" y="5276"/>
                      <a:pt x="7121" y="5276"/>
                    </a:cubicBezTo>
                    <a:cubicBezTo>
                      <a:pt x="7107" y="5276"/>
                      <a:pt x="7095" y="5277"/>
                      <a:pt x="7082" y="5277"/>
                    </a:cubicBezTo>
                    <a:cubicBezTo>
                      <a:pt x="7033" y="5278"/>
                      <a:pt x="6986" y="5280"/>
                      <a:pt x="6939" y="5283"/>
                    </a:cubicBezTo>
                    <a:cubicBezTo>
                      <a:pt x="6217" y="5326"/>
                      <a:pt x="5581" y="5623"/>
                      <a:pt x="5070" y="6113"/>
                    </a:cubicBezTo>
                    <a:cubicBezTo>
                      <a:pt x="4740" y="5948"/>
                      <a:pt x="4382" y="5797"/>
                      <a:pt x="4006" y="5741"/>
                    </a:cubicBezTo>
                    <a:cubicBezTo>
                      <a:pt x="3196" y="5621"/>
                      <a:pt x="2767" y="5694"/>
                      <a:pt x="2454" y="5748"/>
                    </a:cubicBezTo>
                    <a:cubicBezTo>
                      <a:pt x="2277" y="5778"/>
                      <a:pt x="2149" y="5801"/>
                      <a:pt x="2006" y="5779"/>
                    </a:cubicBezTo>
                    <a:lnTo>
                      <a:pt x="1979" y="5775"/>
                    </a:lnTo>
                    <a:lnTo>
                      <a:pt x="1979" y="6135"/>
                    </a:lnTo>
                    <a:cubicBezTo>
                      <a:pt x="2167" y="6158"/>
                      <a:pt x="2329" y="6132"/>
                      <a:pt x="2514" y="6100"/>
                    </a:cubicBezTo>
                    <a:cubicBezTo>
                      <a:pt x="2820" y="6048"/>
                      <a:pt x="3200" y="5983"/>
                      <a:pt x="3953" y="6094"/>
                    </a:cubicBezTo>
                    <a:cubicBezTo>
                      <a:pt x="4247" y="6138"/>
                      <a:pt x="4539" y="6254"/>
                      <a:pt x="4816" y="6387"/>
                    </a:cubicBezTo>
                    <a:cubicBezTo>
                      <a:pt x="4964" y="6458"/>
                      <a:pt x="5108" y="6534"/>
                      <a:pt x="5246" y="6607"/>
                    </a:cubicBezTo>
                    <a:cubicBezTo>
                      <a:pt x="5584" y="6786"/>
                      <a:pt x="5875" y="6940"/>
                      <a:pt x="6145" y="6987"/>
                    </a:cubicBezTo>
                    <a:cubicBezTo>
                      <a:pt x="6374" y="7027"/>
                      <a:pt x="6617" y="7019"/>
                      <a:pt x="6873" y="7011"/>
                    </a:cubicBezTo>
                    <a:cubicBezTo>
                      <a:pt x="7279" y="6999"/>
                      <a:pt x="7740" y="6985"/>
                      <a:pt x="8301" y="7145"/>
                    </a:cubicBezTo>
                    <a:cubicBezTo>
                      <a:pt x="8622" y="7237"/>
                      <a:pt x="8803" y="7401"/>
                      <a:pt x="8825" y="7618"/>
                    </a:cubicBezTo>
                    <a:cubicBezTo>
                      <a:pt x="8835" y="7725"/>
                      <a:pt x="8806" y="7830"/>
                      <a:pt x="8758" y="7918"/>
                    </a:cubicBezTo>
                    <a:cubicBezTo>
                      <a:pt x="8709" y="8005"/>
                      <a:pt x="8640" y="8076"/>
                      <a:pt x="8571" y="8111"/>
                    </a:cubicBezTo>
                    <a:cubicBezTo>
                      <a:pt x="8540" y="8127"/>
                      <a:pt x="8502" y="8141"/>
                      <a:pt x="8461" y="8153"/>
                    </a:cubicBezTo>
                    <a:cubicBezTo>
                      <a:pt x="8371" y="8180"/>
                      <a:pt x="8259" y="8200"/>
                      <a:pt x="8128" y="8211"/>
                    </a:cubicBezTo>
                    <a:cubicBezTo>
                      <a:pt x="7846" y="8235"/>
                      <a:pt x="7483" y="8223"/>
                      <a:pt x="7099" y="8176"/>
                    </a:cubicBezTo>
                    <a:cubicBezTo>
                      <a:pt x="7067" y="8172"/>
                      <a:pt x="7035" y="8168"/>
                      <a:pt x="7003" y="8164"/>
                    </a:cubicBezTo>
                    <a:cubicBezTo>
                      <a:pt x="6984" y="8161"/>
                      <a:pt x="6965" y="8158"/>
                      <a:pt x="6945" y="8155"/>
                    </a:cubicBezTo>
                    <a:cubicBezTo>
                      <a:pt x="6790" y="8133"/>
                      <a:pt x="6633" y="8105"/>
                      <a:pt x="6477" y="8071"/>
                    </a:cubicBezTo>
                    <a:cubicBezTo>
                      <a:pt x="6423" y="8060"/>
                      <a:pt x="6370" y="8048"/>
                      <a:pt x="6316" y="8035"/>
                    </a:cubicBezTo>
                    <a:cubicBezTo>
                      <a:pt x="6270" y="8024"/>
                      <a:pt x="6226" y="8017"/>
                      <a:pt x="6181" y="8008"/>
                    </a:cubicBezTo>
                    <a:cubicBezTo>
                      <a:pt x="6126" y="7998"/>
                      <a:pt x="6072" y="7990"/>
                      <a:pt x="6020" y="7984"/>
                    </a:cubicBezTo>
                    <a:cubicBezTo>
                      <a:pt x="5990" y="7981"/>
                      <a:pt x="5960" y="7977"/>
                      <a:pt x="5931" y="7975"/>
                    </a:cubicBezTo>
                    <a:cubicBezTo>
                      <a:pt x="5524" y="7946"/>
                      <a:pt x="5206" y="8034"/>
                      <a:pt x="4994" y="8127"/>
                    </a:cubicBezTo>
                    <a:cubicBezTo>
                      <a:pt x="4960" y="8142"/>
                      <a:pt x="4936" y="8168"/>
                      <a:pt x="4918" y="8197"/>
                    </a:cubicBezTo>
                    <a:cubicBezTo>
                      <a:pt x="4888" y="8246"/>
                      <a:pt x="4878" y="8306"/>
                      <a:pt x="4903" y="8363"/>
                    </a:cubicBezTo>
                    <a:cubicBezTo>
                      <a:pt x="4943" y="8452"/>
                      <a:pt x="5048" y="8493"/>
                      <a:pt x="5138" y="8454"/>
                    </a:cubicBezTo>
                    <a:cubicBezTo>
                      <a:pt x="5465" y="8310"/>
                      <a:pt x="5833" y="8286"/>
                      <a:pt x="6233" y="8382"/>
                    </a:cubicBezTo>
                    <a:cubicBezTo>
                      <a:pt x="6732" y="8503"/>
                      <a:pt x="7317" y="8582"/>
                      <a:pt x="7817" y="8582"/>
                    </a:cubicBezTo>
                    <a:cubicBezTo>
                      <a:pt x="8196" y="8582"/>
                      <a:pt x="8527" y="8536"/>
                      <a:pt x="8735" y="8429"/>
                    </a:cubicBezTo>
                    <a:cubicBezTo>
                      <a:pt x="8828" y="8381"/>
                      <a:pt x="8910" y="8308"/>
                      <a:pt x="8978" y="8223"/>
                    </a:cubicBezTo>
                    <a:cubicBezTo>
                      <a:pt x="9279" y="8130"/>
                      <a:pt x="9558" y="8062"/>
                      <a:pt x="9563" y="8061"/>
                    </a:cubicBezTo>
                    <a:cubicBezTo>
                      <a:pt x="9577" y="8057"/>
                      <a:pt x="9590" y="8052"/>
                      <a:pt x="9603" y="8045"/>
                    </a:cubicBezTo>
                    <a:lnTo>
                      <a:pt x="10404" y="7630"/>
                    </a:lnTo>
                    <a:cubicBezTo>
                      <a:pt x="10627" y="7523"/>
                      <a:pt x="10731" y="7601"/>
                      <a:pt x="10766" y="7626"/>
                    </a:cubicBezTo>
                    <a:cubicBezTo>
                      <a:pt x="10877" y="7708"/>
                      <a:pt x="10927" y="7862"/>
                      <a:pt x="10935" y="7937"/>
                    </a:cubicBezTo>
                    <a:cubicBezTo>
                      <a:pt x="10867" y="7990"/>
                      <a:pt x="10749" y="8081"/>
                      <a:pt x="10619" y="8183"/>
                    </a:cubicBezTo>
                    <a:cubicBezTo>
                      <a:pt x="10396" y="8357"/>
                      <a:pt x="10058" y="8621"/>
                      <a:pt x="10018" y="8647"/>
                    </a:cubicBezTo>
                    <a:cubicBezTo>
                      <a:pt x="9989" y="8661"/>
                      <a:pt x="9867" y="8708"/>
                      <a:pt x="9720" y="8765"/>
                    </a:cubicBezTo>
                    <a:cubicBezTo>
                      <a:pt x="9489" y="8855"/>
                      <a:pt x="9201" y="8966"/>
                      <a:pt x="9086" y="9020"/>
                    </a:cubicBezTo>
                    <a:cubicBezTo>
                      <a:pt x="8816" y="9144"/>
                      <a:pt x="8300" y="9346"/>
                      <a:pt x="8196" y="9349"/>
                    </a:cubicBezTo>
                    <a:cubicBezTo>
                      <a:pt x="8024" y="9349"/>
                      <a:pt x="7346" y="9463"/>
                      <a:pt x="6547" y="9626"/>
                    </a:cubicBezTo>
                    <a:cubicBezTo>
                      <a:pt x="5919" y="9754"/>
                      <a:pt x="5696" y="9741"/>
                      <a:pt x="5291" y="9552"/>
                    </a:cubicBezTo>
                    <a:cubicBezTo>
                      <a:pt x="4872" y="9356"/>
                      <a:pt x="2441" y="8613"/>
                      <a:pt x="2148" y="8613"/>
                    </a:cubicBezTo>
                    <a:lnTo>
                      <a:pt x="1979" y="8613"/>
                    </a:lnTo>
                    <a:lnTo>
                      <a:pt x="1979" y="8970"/>
                    </a:lnTo>
                    <a:lnTo>
                      <a:pt x="2146" y="8970"/>
                    </a:lnTo>
                    <a:cubicBezTo>
                      <a:pt x="2378" y="8981"/>
                      <a:pt x="4685" y="9662"/>
                      <a:pt x="5139" y="9875"/>
                    </a:cubicBezTo>
                    <a:cubicBezTo>
                      <a:pt x="5427" y="10010"/>
                      <a:pt x="5655" y="10067"/>
                      <a:pt x="5917" y="10067"/>
                    </a:cubicBezTo>
                    <a:cubicBezTo>
                      <a:pt x="6117" y="10067"/>
                      <a:pt x="6337" y="10034"/>
                      <a:pt x="6619" y="9976"/>
                    </a:cubicBezTo>
                    <a:cubicBezTo>
                      <a:pt x="7530" y="9790"/>
                      <a:pt x="8089" y="9706"/>
                      <a:pt x="8196" y="9706"/>
                    </a:cubicBezTo>
                    <a:cubicBezTo>
                      <a:pt x="8437" y="9706"/>
                      <a:pt x="9228" y="9348"/>
                      <a:pt x="9235" y="9344"/>
                    </a:cubicBezTo>
                    <a:cubicBezTo>
                      <a:pt x="9341" y="9296"/>
                      <a:pt x="9635" y="9181"/>
                      <a:pt x="9849" y="9098"/>
                    </a:cubicBezTo>
                    <a:cubicBezTo>
                      <a:pt x="10069" y="9013"/>
                      <a:pt x="10148" y="8982"/>
                      <a:pt x="10176" y="8967"/>
                    </a:cubicBezTo>
                    <a:cubicBezTo>
                      <a:pt x="10216" y="8947"/>
                      <a:pt x="10303" y="8883"/>
                      <a:pt x="10839" y="8464"/>
                    </a:cubicBezTo>
                    <a:cubicBezTo>
                      <a:pt x="11008" y="8332"/>
                      <a:pt x="11155" y="8217"/>
                      <a:pt x="11194" y="8190"/>
                    </a:cubicBezTo>
                    <a:cubicBezTo>
                      <a:pt x="11364" y="8068"/>
                      <a:pt x="11285" y="7748"/>
                      <a:pt x="11174" y="7560"/>
                    </a:cubicBezTo>
                    <a:close/>
                    <a:moveTo>
                      <a:pt x="0" y="9309"/>
                    </a:moveTo>
                    <a:lnTo>
                      <a:pt x="1630" y="9309"/>
                    </a:lnTo>
                    <a:lnTo>
                      <a:pt x="1630" y="5351"/>
                    </a:lnTo>
                    <a:lnTo>
                      <a:pt x="0" y="5351"/>
                    </a:lnTo>
                    <a:lnTo>
                      <a:pt x="0" y="9309"/>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nvGrpSpPr>
              <p:cNvPr id="296" name="Problem_Based_Learning" descr="{&quot;Key&quot;:&quot;POWER_USER_SHAPE_ICON&quot;,&quot;Value&quot;:&quot;POWER_USER_SHAPE_ICON_STYLE_1&quot;}">
                <a:extLst>
                  <a:ext uri="{FF2B5EF4-FFF2-40B4-BE49-F238E27FC236}">
                    <a16:creationId xmlns:a16="http://schemas.microsoft.com/office/drawing/2014/main" id="{86B4DB95-44FD-48C1-99FA-893AAC1FE9A8}"/>
                  </a:ext>
                </a:extLst>
              </p:cNvPr>
              <p:cNvGrpSpPr>
                <a:grpSpLocks noChangeAspect="1"/>
              </p:cNvGrpSpPr>
              <p:nvPr>
                <p:custDataLst>
                  <p:tags r:id="rId13"/>
                </p:custDataLst>
              </p:nvPr>
            </p:nvGrpSpPr>
            <p:grpSpPr bwMode="auto">
              <a:xfrm>
                <a:off x="7183815" y="778521"/>
                <a:ext cx="172311" cy="185669"/>
                <a:chOff x="7" y="8"/>
                <a:chExt cx="424" cy="471"/>
              </a:xfrm>
              <a:solidFill>
                <a:schemeClr val="bg1"/>
              </a:solidFill>
            </p:grpSpPr>
            <p:sp>
              <p:nvSpPr>
                <p:cNvPr id="297" name="Problem_Based_Learning">
                  <a:extLst>
                    <a:ext uri="{FF2B5EF4-FFF2-40B4-BE49-F238E27FC236}">
                      <a16:creationId xmlns:a16="http://schemas.microsoft.com/office/drawing/2014/main" id="{5ED65DBA-A60D-41B4-B5B7-57B35C20B11B}"/>
                    </a:ext>
                  </a:extLst>
                </p:cNvPr>
                <p:cNvSpPr>
                  <a:spLocks/>
                </p:cNvSpPr>
                <p:nvPr>
                  <p:custDataLst>
                    <p:tags r:id="rId14"/>
                  </p:custDataLst>
                </p:nvPr>
              </p:nvSpPr>
              <p:spPr bwMode="auto">
                <a:xfrm>
                  <a:off x="214" y="8"/>
                  <a:ext cx="20" cy="69"/>
                </a:xfrm>
                <a:custGeom>
                  <a:avLst/>
                  <a:gdLst>
                    <a:gd name="T0" fmla="*/ 26 w 52"/>
                    <a:gd name="T1" fmla="*/ 183 h 183"/>
                    <a:gd name="T2" fmla="*/ 0 w 52"/>
                    <a:gd name="T3" fmla="*/ 156 h 183"/>
                    <a:gd name="T4" fmla="*/ 0 w 52"/>
                    <a:gd name="T5" fmla="*/ 26 h 183"/>
                    <a:gd name="T6" fmla="*/ 26 w 52"/>
                    <a:gd name="T7" fmla="*/ 0 h 183"/>
                    <a:gd name="T8" fmla="*/ 52 w 52"/>
                    <a:gd name="T9" fmla="*/ 26 h 183"/>
                    <a:gd name="T10" fmla="*/ 52 w 52"/>
                    <a:gd name="T11" fmla="*/ 156 h 183"/>
                    <a:gd name="T12" fmla="*/ 26 w 52"/>
                    <a:gd name="T13" fmla="*/ 183 h 183"/>
                  </a:gdLst>
                  <a:ahLst/>
                  <a:cxnLst>
                    <a:cxn ang="0">
                      <a:pos x="T0" y="T1"/>
                    </a:cxn>
                    <a:cxn ang="0">
                      <a:pos x="T2" y="T3"/>
                    </a:cxn>
                    <a:cxn ang="0">
                      <a:pos x="T4" y="T5"/>
                    </a:cxn>
                    <a:cxn ang="0">
                      <a:pos x="T6" y="T7"/>
                    </a:cxn>
                    <a:cxn ang="0">
                      <a:pos x="T8" y="T9"/>
                    </a:cxn>
                    <a:cxn ang="0">
                      <a:pos x="T10" y="T11"/>
                    </a:cxn>
                    <a:cxn ang="0">
                      <a:pos x="T12" y="T13"/>
                    </a:cxn>
                  </a:cxnLst>
                  <a:rect l="0" t="0" r="r" b="b"/>
                  <a:pathLst>
                    <a:path w="52" h="183">
                      <a:moveTo>
                        <a:pt x="26" y="183"/>
                      </a:moveTo>
                      <a:cubicBezTo>
                        <a:pt x="11" y="183"/>
                        <a:pt x="0" y="171"/>
                        <a:pt x="0" y="156"/>
                      </a:cubicBezTo>
                      <a:lnTo>
                        <a:pt x="0" y="26"/>
                      </a:lnTo>
                      <a:cubicBezTo>
                        <a:pt x="0" y="12"/>
                        <a:pt x="11" y="0"/>
                        <a:pt x="26" y="0"/>
                      </a:cubicBezTo>
                      <a:cubicBezTo>
                        <a:pt x="40" y="0"/>
                        <a:pt x="52" y="12"/>
                        <a:pt x="52" y="26"/>
                      </a:cubicBezTo>
                      <a:lnTo>
                        <a:pt x="52" y="156"/>
                      </a:lnTo>
                      <a:cubicBezTo>
                        <a:pt x="52" y="171"/>
                        <a:pt x="40" y="183"/>
                        <a:pt x="26" y="183"/>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noProof="0">
                    <a:ln>
                      <a:noFill/>
                    </a:ln>
                    <a:solidFill>
                      <a:prstClr val="black"/>
                    </a:solidFill>
                    <a:effectLst/>
                    <a:uLnTx/>
                    <a:uFillTx/>
                    <a:latin typeface="Calibri" panose="020F0502020204030204"/>
                    <a:ea typeface="+mn-ea"/>
                    <a:cs typeface="+mn-cs"/>
                  </a:endParaRPr>
                </a:p>
              </p:txBody>
            </p:sp>
            <p:sp>
              <p:nvSpPr>
                <p:cNvPr id="298" name="Problem_Based_Learning">
                  <a:extLst>
                    <a:ext uri="{FF2B5EF4-FFF2-40B4-BE49-F238E27FC236}">
                      <a16:creationId xmlns:a16="http://schemas.microsoft.com/office/drawing/2014/main" id="{1C3BED53-93FB-490C-B929-BA5A49046C7D}"/>
                    </a:ext>
                  </a:extLst>
                </p:cNvPr>
                <p:cNvSpPr>
                  <a:spLocks/>
                </p:cNvSpPr>
                <p:nvPr>
                  <p:custDataLst>
                    <p:tags r:id="rId15"/>
                  </p:custDataLst>
                </p:nvPr>
              </p:nvSpPr>
              <p:spPr bwMode="auto">
                <a:xfrm>
                  <a:off x="301" y="46"/>
                  <a:ext cx="51" cy="60"/>
                </a:xfrm>
                <a:custGeom>
                  <a:avLst/>
                  <a:gdLst>
                    <a:gd name="T0" fmla="*/ 29 w 137"/>
                    <a:gd name="T1" fmla="*/ 160 h 160"/>
                    <a:gd name="T2" fmla="*/ 14 w 137"/>
                    <a:gd name="T3" fmla="*/ 155 h 160"/>
                    <a:gd name="T4" fmla="*/ 9 w 137"/>
                    <a:gd name="T5" fmla="*/ 118 h 160"/>
                    <a:gd name="T6" fmla="*/ 87 w 137"/>
                    <a:gd name="T7" fmla="*/ 14 h 160"/>
                    <a:gd name="T8" fmla="*/ 123 w 137"/>
                    <a:gd name="T9" fmla="*/ 9 h 160"/>
                    <a:gd name="T10" fmla="*/ 128 w 137"/>
                    <a:gd name="T11" fmla="*/ 45 h 160"/>
                    <a:gd name="T12" fmla="*/ 50 w 137"/>
                    <a:gd name="T13" fmla="*/ 149 h 160"/>
                    <a:gd name="T14" fmla="*/ 29 w 137"/>
                    <a:gd name="T15" fmla="*/ 160 h 16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7" h="160">
                      <a:moveTo>
                        <a:pt x="29" y="160"/>
                      </a:moveTo>
                      <a:cubicBezTo>
                        <a:pt x="24" y="160"/>
                        <a:pt x="18" y="158"/>
                        <a:pt x="14" y="155"/>
                      </a:cubicBezTo>
                      <a:cubicBezTo>
                        <a:pt x="2" y="146"/>
                        <a:pt x="0" y="130"/>
                        <a:pt x="9" y="118"/>
                      </a:cubicBezTo>
                      <a:lnTo>
                        <a:pt x="87" y="14"/>
                      </a:lnTo>
                      <a:cubicBezTo>
                        <a:pt x="95" y="2"/>
                        <a:pt x="112" y="0"/>
                        <a:pt x="123" y="9"/>
                      </a:cubicBezTo>
                      <a:cubicBezTo>
                        <a:pt x="135" y="17"/>
                        <a:pt x="137" y="34"/>
                        <a:pt x="128" y="45"/>
                      </a:cubicBezTo>
                      <a:lnTo>
                        <a:pt x="50" y="149"/>
                      </a:lnTo>
                      <a:cubicBezTo>
                        <a:pt x="45" y="156"/>
                        <a:pt x="37" y="160"/>
                        <a:pt x="29" y="16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noProof="0">
                    <a:ln>
                      <a:noFill/>
                    </a:ln>
                    <a:solidFill>
                      <a:prstClr val="black"/>
                    </a:solidFill>
                    <a:effectLst/>
                    <a:uLnTx/>
                    <a:uFillTx/>
                    <a:latin typeface="Calibri" panose="020F0502020204030204"/>
                    <a:ea typeface="+mn-ea"/>
                    <a:cs typeface="+mn-cs"/>
                  </a:endParaRPr>
                </a:p>
              </p:txBody>
            </p:sp>
            <p:sp>
              <p:nvSpPr>
                <p:cNvPr id="299" name="Problem_Based_Learning">
                  <a:extLst>
                    <a:ext uri="{FF2B5EF4-FFF2-40B4-BE49-F238E27FC236}">
                      <a16:creationId xmlns:a16="http://schemas.microsoft.com/office/drawing/2014/main" id="{968C7707-DFF0-461D-AEA1-6054DAACCB64}"/>
                    </a:ext>
                  </a:extLst>
                </p:cNvPr>
                <p:cNvSpPr>
                  <a:spLocks/>
                </p:cNvSpPr>
                <p:nvPr>
                  <p:custDataLst>
                    <p:tags r:id="rId16"/>
                  </p:custDataLst>
                </p:nvPr>
              </p:nvSpPr>
              <p:spPr bwMode="auto">
                <a:xfrm>
                  <a:off x="85" y="46"/>
                  <a:ext cx="52" cy="60"/>
                </a:xfrm>
                <a:custGeom>
                  <a:avLst/>
                  <a:gdLst>
                    <a:gd name="T0" fmla="*/ 108 w 137"/>
                    <a:gd name="T1" fmla="*/ 160 h 160"/>
                    <a:gd name="T2" fmla="*/ 87 w 137"/>
                    <a:gd name="T3" fmla="*/ 149 h 160"/>
                    <a:gd name="T4" fmla="*/ 9 w 137"/>
                    <a:gd name="T5" fmla="*/ 45 h 160"/>
                    <a:gd name="T6" fmla="*/ 14 w 137"/>
                    <a:gd name="T7" fmla="*/ 9 h 160"/>
                    <a:gd name="T8" fmla="*/ 51 w 137"/>
                    <a:gd name="T9" fmla="*/ 14 h 160"/>
                    <a:gd name="T10" fmla="*/ 129 w 137"/>
                    <a:gd name="T11" fmla="*/ 118 h 160"/>
                    <a:gd name="T12" fmla="*/ 124 w 137"/>
                    <a:gd name="T13" fmla="*/ 155 h 160"/>
                    <a:gd name="T14" fmla="*/ 108 w 137"/>
                    <a:gd name="T15" fmla="*/ 160 h 16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7" h="160">
                      <a:moveTo>
                        <a:pt x="108" y="160"/>
                      </a:moveTo>
                      <a:cubicBezTo>
                        <a:pt x="100" y="160"/>
                        <a:pt x="92" y="156"/>
                        <a:pt x="87" y="149"/>
                      </a:cubicBezTo>
                      <a:lnTo>
                        <a:pt x="9" y="45"/>
                      </a:lnTo>
                      <a:cubicBezTo>
                        <a:pt x="0" y="34"/>
                        <a:pt x="3" y="17"/>
                        <a:pt x="14" y="9"/>
                      </a:cubicBezTo>
                      <a:cubicBezTo>
                        <a:pt x="26" y="0"/>
                        <a:pt x="42" y="2"/>
                        <a:pt x="51" y="14"/>
                      </a:cubicBezTo>
                      <a:lnTo>
                        <a:pt x="129" y="118"/>
                      </a:lnTo>
                      <a:cubicBezTo>
                        <a:pt x="137" y="130"/>
                        <a:pt x="135" y="146"/>
                        <a:pt x="124" y="155"/>
                      </a:cubicBezTo>
                      <a:cubicBezTo>
                        <a:pt x="119" y="158"/>
                        <a:pt x="113" y="160"/>
                        <a:pt x="108" y="16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noProof="0">
                    <a:ln>
                      <a:noFill/>
                    </a:ln>
                    <a:solidFill>
                      <a:prstClr val="black"/>
                    </a:solidFill>
                    <a:effectLst/>
                    <a:uLnTx/>
                    <a:uFillTx/>
                    <a:latin typeface="Calibri" panose="020F0502020204030204"/>
                    <a:ea typeface="+mn-ea"/>
                    <a:cs typeface="+mn-cs"/>
                  </a:endParaRPr>
                </a:p>
              </p:txBody>
            </p:sp>
            <p:sp>
              <p:nvSpPr>
                <p:cNvPr id="300" name="Problem_Based_Learning">
                  <a:extLst>
                    <a:ext uri="{FF2B5EF4-FFF2-40B4-BE49-F238E27FC236}">
                      <a16:creationId xmlns:a16="http://schemas.microsoft.com/office/drawing/2014/main" id="{EC7376E2-439A-472D-9452-C2ABF60BF24A}"/>
                    </a:ext>
                  </a:extLst>
                </p:cNvPr>
                <p:cNvSpPr>
                  <a:spLocks/>
                </p:cNvSpPr>
                <p:nvPr>
                  <p:custDataLst>
                    <p:tags r:id="rId17"/>
                  </p:custDataLst>
                </p:nvPr>
              </p:nvSpPr>
              <p:spPr bwMode="auto">
                <a:xfrm>
                  <a:off x="7" y="134"/>
                  <a:ext cx="61" cy="41"/>
                </a:xfrm>
                <a:custGeom>
                  <a:avLst/>
                  <a:gdLst>
                    <a:gd name="T0" fmla="*/ 134 w 164"/>
                    <a:gd name="T1" fmla="*/ 108 h 108"/>
                    <a:gd name="T2" fmla="*/ 123 w 164"/>
                    <a:gd name="T3" fmla="*/ 106 h 108"/>
                    <a:gd name="T4" fmla="*/ 18 w 164"/>
                    <a:gd name="T5" fmla="*/ 53 h 108"/>
                    <a:gd name="T6" fmla="*/ 7 w 164"/>
                    <a:gd name="T7" fmla="*/ 18 h 108"/>
                    <a:gd name="T8" fmla="*/ 42 w 164"/>
                    <a:gd name="T9" fmla="*/ 7 h 108"/>
                    <a:gd name="T10" fmla="*/ 146 w 164"/>
                    <a:gd name="T11" fmla="*/ 59 h 108"/>
                    <a:gd name="T12" fmla="*/ 158 w 164"/>
                    <a:gd name="T13" fmla="*/ 94 h 108"/>
                    <a:gd name="T14" fmla="*/ 134 w 164"/>
                    <a:gd name="T15" fmla="*/ 108 h 1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4" h="108">
                      <a:moveTo>
                        <a:pt x="134" y="108"/>
                      </a:moveTo>
                      <a:cubicBezTo>
                        <a:pt x="130" y="108"/>
                        <a:pt x="126" y="107"/>
                        <a:pt x="123" y="106"/>
                      </a:cubicBezTo>
                      <a:lnTo>
                        <a:pt x="18" y="53"/>
                      </a:lnTo>
                      <a:cubicBezTo>
                        <a:pt x="6" y="47"/>
                        <a:pt x="0" y="31"/>
                        <a:pt x="7" y="18"/>
                      </a:cubicBezTo>
                      <a:cubicBezTo>
                        <a:pt x="13" y="6"/>
                        <a:pt x="29" y="0"/>
                        <a:pt x="42" y="7"/>
                      </a:cubicBezTo>
                      <a:lnTo>
                        <a:pt x="146" y="59"/>
                      </a:lnTo>
                      <a:cubicBezTo>
                        <a:pt x="159" y="65"/>
                        <a:pt x="164" y="81"/>
                        <a:pt x="158" y="94"/>
                      </a:cubicBezTo>
                      <a:cubicBezTo>
                        <a:pt x="153" y="103"/>
                        <a:pt x="144" y="108"/>
                        <a:pt x="134" y="108"/>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noProof="0">
                    <a:ln>
                      <a:noFill/>
                    </a:ln>
                    <a:solidFill>
                      <a:prstClr val="black"/>
                    </a:solidFill>
                    <a:effectLst/>
                    <a:uLnTx/>
                    <a:uFillTx/>
                    <a:latin typeface="Calibri" panose="020F0502020204030204"/>
                    <a:ea typeface="+mn-ea"/>
                    <a:cs typeface="+mn-cs"/>
                  </a:endParaRPr>
                </a:p>
              </p:txBody>
            </p:sp>
            <p:sp>
              <p:nvSpPr>
                <p:cNvPr id="301" name="Problem_Based_Learning">
                  <a:extLst>
                    <a:ext uri="{FF2B5EF4-FFF2-40B4-BE49-F238E27FC236}">
                      <a16:creationId xmlns:a16="http://schemas.microsoft.com/office/drawing/2014/main" id="{6133814E-D4A6-4697-A89A-54EAEE764B01}"/>
                    </a:ext>
                  </a:extLst>
                </p:cNvPr>
                <p:cNvSpPr>
                  <a:spLocks/>
                </p:cNvSpPr>
                <p:nvPr>
                  <p:custDataLst>
                    <p:tags r:id="rId18"/>
                  </p:custDataLst>
                </p:nvPr>
              </p:nvSpPr>
              <p:spPr bwMode="auto">
                <a:xfrm>
                  <a:off x="369" y="134"/>
                  <a:ext cx="62" cy="41"/>
                </a:xfrm>
                <a:custGeom>
                  <a:avLst/>
                  <a:gdLst>
                    <a:gd name="T0" fmla="*/ 30 w 164"/>
                    <a:gd name="T1" fmla="*/ 108 h 108"/>
                    <a:gd name="T2" fmla="*/ 7 w 164"/>
                    <a:gd name="T3" fmla="*/ 94 h 108"/>
                    <a:gd name="T4" fmla="*/ 18 w 164"/>
                    <a:gd name="T5" fmla="*/ 59 h 108"/>
                    <a:gd name="T6" fmla="*/ 123 w 164"/>
                    <a:gd name="T7" fmla="*/ 7 h 108"/>
                    <a:gd name="T8" fmla="*/ 158 w 164"/>
                    <a:gd name="T9" fmla="*/ 18 h 108"/>
                    <a:gd name="T10" fmla="*/ 146 w 164"/>
                    <a:gd name="T11" fmla="*/ 53 h 108"/>
                    <a:gd name="T12" fmla="*/ 42 w 164"/>
                    <a:gd name="T13" fmla="*/ 106 h 108"/>
                    <a:gd name="T14" fmla="*/ 30 w 164"/>
                    <a:gd name="T15" fmla="*/ 108 h 1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4" h="108">
                      <a:moveTo>
                        <a:pt x="30" y="108"/>
                      </a:moveTo>
                      <a:cubicBezTo>
                        <a:pt x="20" y="108"/>
                        <a:pt x="11" y="103"/>
                        <a:pt x="7" y="94"/>
                      </a:cubicBezTo>
                      <a:cubicBezTo>
                        <a:pt x="0" y="81"/>
                        <a:pt x="5" y="65"/>
                        <a:pt x="18" y="59"/>
                      </a:cubicBezTo>
                      <a:lnTo>
                        <a:pt x="123" y="7"/>
                      </a:lnTo>
                      <a:cubicBezTo>
                        <a:pt x="135" y="0"/>
                        <a:pt x="151" y="6"/>
                        <a:pt x="158" y="18"/>
                      </a:cubicBezTo>
                      <a:cubicBezTo>
                        <a:pt x="164" y="31"/>
                        <a:pt x="159" y="47"/>
                        <a:pt x="146" y="53"/>
                      </a:cubicBezTo>
                      <a:lnTo>
                        <a:pt x="42" y="106"/>
                      </a:lnTo>
                      <a:cubicBezTo>
                        <a:pt x="38" y="107"/>
                        <a:pt x="34" y="108"/>
                        <a:pt x="30" y="108"/>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noProof="0">
                    <a:ln>
                      <a:noFill/>
                    </a:ln>
                    <a:solidFill>
                      <a:prstClr val="black"/>
                    </a:solidFill>
                    <a:effectLst/>
                    <a:uLnTx/>
                    <a:uFillTx/>
                    <a:latin typeface="Calibri" panose="020F0502020204030204"/>
                    <a:ea typeface="+mn-ea"/>
                    <a:cs typeface="+mn-cs"/>
                  </a:endParaRPr>
                </a:p>
              </p:txBody>
            </p:sp>
            <p:sp>
              <p:nvSpPr>
                <p:cNvPr id="302" name="Problem_Based_Learning">
                  <a:extLst>
                    <a:ext uri="{FF2B5EF4-FFF2-40B4-BE49-F238E27FC236}">
                      <a16:creationId xmlns:a16="http://schemas.microsoft.com/office/drawing/2014/main" id="{E450E323-1A7E-4D9D-92C6-D78E8E66FF9E}"/>
                    </a:ext>
                  </a:extLst>
                </p:cNvPr>
                <p:cNvSpPr>
                  <a:spLocks noEditPoints="1"/>
                </p:cNvSpPr>
                <p:nvPr>
                  <p:custDataLst>
                    <p:tags r:id="rId19"/>
                  </p:custDataLst>
                </p:nvPr>
              </p:nvSpPr>
              <p:spPr bwMode="auto">
                <a:xfrm>
                  <a:off x="87" y="106"/>
                  <a:ext cx="303" cy="373"/>
                </a:xfrm>
                <a:custGeom>
                  <a:avLst/>
                  <a:gdLst>
                    <a:gd name="T0" fmla="*/ 730 w 808"/>
                    <a:gd name="T1" fmla="*/ 391 h 989"/>
                    <a:gd name="T2" fmla="*/ 730 w 808"/>
                    <a:gd name="T3" fmla="*/ 365 h 989"/>
                    <a:gd name="T4" fmla="*/ 365 w 808"/>
                    <a:gd name="T5" fmla="*/ 0 h 989"/>
                    <a:gd name="T6" fmla="*/ 0 w 808"/>
                    <a:gd name="T7" fmla="*/ 365 h 989"/>
                    <a:gd name="T8" fmla="*/ 78 w 808"/>
                    <a:gd name="T9" fmla="*/ 590 h 989"/>
                    <a:gd name="T10" fmla="*/ 78 w 808"/>
                    <a:gd name="T11" fmla="*/ 989 h 989"/>
                    <a:gd name="T12" fmla="*/ 547 w 808"/>
                    <a:gd name="T13" fmla="*/ 989 h 989"/>
                    <a:gd name="T14" fmla="*/ 547 w 808"/>
                    <a:gd name="T15" fmla="*/ 860 h 989"/>
                    <a:gd name="T16" fmla="*/ 704 w 808"/>
                    <a:gd name="T17" fmla="*/ 704 h 989"/>
                    <a:gd name="T18" fmla="*/ 704 w 808"/>
                    <a:gd name="T19" fmla="*/ 626 h 989"/>
                    <a:gd name="T20" fmla="*/ 782 w 808"/>
                    <a:gd name="T21" fmla="*/ 626 h 989"/>
                    <a:gd name="T22" fmla="*/ 808 w 808"/>
                    <a:gd name="T23" fmla="*/ 600 h 989"/>
                    <a:gd name="T24" fmla="*/ 730 w 808"/>
                    <a:gd name="T25" fmla="*/ 391 h 989"/>
                    <a:gd name="T26" fmla="*/ 587 w 808"/>
                    <a:gd name="T27" fmla="*/ 387 h 989"/>
                    <a:gd name="T28" fmla="*/ 547 w 808"/>
                    <a:gd name="T29" fmla="*/ 365 h 989"/>
                    <a:gd name="T30" fmla="*/ 522 w 808"/>
                    <a:gd name="T31" fmla="*/ 385 h 989"/>
                    <a:gd name="T32" fmla="*/ 520 w 808"/>
                    <a:gd name="T33" fmla="*/ 474 h 989"/>
                    <a:gd name="T34" fmla="*/ 410 w 808"/>
                    <a:gd name="T35" fmla="*/ 473 h 989"/>
                    <a:gd name="T36" fmla="*/ 390 w 808"/>
                    <a:gd name="T37" fmla="*/ 449 h 989"/>
                    <a:gd name="T38" fmla="*/ 412 w 808"/>
                    <a:gd name="T39" fmla="*/ 409 h 989"/>
                    <a:gd name="T40" fmla="*/ 368 w 808"/>
                    <a:gd name="T41" fmla="*/ 364 h 989"/>
                    <a:gd name="T42" fmla="*/ 325 w 808"/>
                    <a:gd name="T43" fmla="*/ 409 h 989"/>
                    <a:gd name="T44" fmla="*/ 347 w 808"/>
                    <a:gd name="T45" fmla="*/ 449 h 989"/>
                    <a:gd name="T46" fmla="*/ 326 w 808"/>
                    <a:gd name="T47" fmla="*/ 473 h 989"/>
                    <a:gd name="T48" fmla="*/ 214 w 808"/>
                    <a:gd name="T49" fmla="*/ 474 h 989"/>
                    <a:gd name="T50" fmla="*/ 213 w 808"/>
                    <a:gd name="T51" fmla="*/ 385 h 989"/>
                    <a:gd name="T52" fmla="*/ 188 w 808"/>
                    <a:gd name="T53" fmla="*/ 365 h 989"/>
                    <a:gd name="T54" fmla="*/ 148 w 808"/>
                    <a:gd name="T55" fmla="*/ 387 h 989"/>
                    <a:gd name="T56" fmla="*/ 104 w 808"/>
                    <a:gd name="T57" fmla="*/ 344 h 989"/>
                    <a:gd name="T58" fmla="*/ 148 w 808"/>
                    <a:gd name="T59" fmla="*/ 300 h 989"/>
                    <a:gd name="T60" fmla="*/ 188 w 808"/>
                    <a:gd name="T61" fmla="*/ 322 h 989"/>
                    <a:gd name="T62" fmla="*/ 213 w 808"/>
                    <a:gd name="T63" fmla="*/ 302 h 989"/>
                    <a:gd name="T64" fmla="*/ 216 w 808"/>
                    <a:gd name="T65" fmla="*/ 213 h 989"/>
                    <a:gd name="T66" fmla="*/ 326 w 808"/>
                    <a:gd name="T67" fmla="*/ 203 h 989"/>
                    <a:gd name="T68" fmla="*/ 347 w 808"/>
                    <a:gd name="T69" fmla="*/ 227 h 989"/>
                    <a:gd name="T70" fmla="*/ 325 w 808"/>
                    <a:gd name="T71" fmla="*/ 267 h 989"/>
                    <a:gd name="T72" fmla="*/ 368 w 808"/>
                    <a:gd name="T73" fmla="*/ 312 h 989"/>
                    <a:gd name="T74" fmla="*/ 412 w 808"/>
                    <a:gd name="T75" fmla="*/ 267 h 989"/>
                    <a:gd name="T76" fmla="*/ 390 w 808"/>
                    <a:gd name="T77" fmla="*/ 227 h 989"/>
                    <a:gd name="T78" fmla="*/ 410 w 808"/>
                    <a:gd name="T79" fmla="*/ 203 h 989"/>
                    <a:gd name="T80" fmla="*/ 521 w 808"/>
                    <a:gd name="T81" fmla="*/ 213 h 989"/>
                    <a:gd name="T82" fmla="*/ 522 w 808"/>
                    <a:gd name="T83" fmla="*/ 302 h 989"/>
                    <a:gd name="T84" fmla="*/ 547 w 808"/>
                    <a:gd name="T85" fmla="*/ 322 h 989"/>
                    <a:gd name="T86" fmla="*/ 587 w 808"/>
                    <a:gd name="T87" fmla="*/ 300 h 989"/>
                    <a:gd name="T88" fmla="*/ 631 w 808"/>
                    <a:gd name="T89" fmla="*/ 344 h 989"/>
                    <a:gd name="T90" fmla="*/ 587 w 808"/>
                    <a:gd name="T91" fmla="*/ 387 h 9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8" h="989">
                      <a:moveTo>
                        <a:pt x="730" y="391"/>
                      </a:moveTo>
                      <a:lnTo>
                        <a:pt x="730" y="365"/>
                      </a:lnTo>
                      <a:cubicBezTo>
                        <a:pt x="730" y="163"/>
                        <a:pt x="566" y="0"/>
                        <a:pt x="365" y="0"/>
                      </a:cubicBezTo>
                      <a:cubicBezTo>
                        <a:pt x="163" y="0"/>
                        <a:pt x="0" y="163"/>
                        <a:pt x="0" y="365"/>
                      </a:cubicBezTo>
                      <a:cubicBezTo>
                        <a:pt x="0" y="450"/>
                        <a:pt x="29" y="528"/>
                        <a:pt x="78" y="590"/>
                      </a:cubicBezTo>
                      <a:lnTo>
                        <a:pt x="78" y="989"/>
                      </a:lnTo>
                      <a:lnTo>
                        <a:pt x="547" y="989"/>
                      </a:lnTo>
                      <a:lnTo>
                        <a:pt x="547" y="860"/>
                      </a:lnTo>
                      <a:cubicBezTo>
                        <a:pt x="634" y="860"/>
                        <a:pt x="704" y="790"/>
                        <a:pt x="704" y="704"/>
                      </a:cubicBezTo>
                      <a:lnTo>
                        <a:pt x="704" y="626"/>
                      </a:lnTo>
                      <a:lnTo>
                        <a:pt x="782" y="626"/>
                      </a:lnTo>
                      <a:cubicBezTo>
                        <a:pt x="796" y="626"/>
                        <a:pt x="808" y="614"/>
                        <a:pt x="808" y="600"/>
                      </a:cubicBezTo>
                      <a:cubicBezTo>
                        <a:pt x="808" y="593"/>
                        <a:pt x="730" y="391"/>
                        <a:pt x="730" y="391"/>
                      </a:cubicBezTo>
                      <a:close/>
                      <a:moveTo>
                        <a:pt x="587" y="387"/>
                      </a:moveTo>
                      <a:cubicBezTo>
                        <a:pt x="562" y="381"/>
                        <a:pt x="566" y="365"/>
                        <a:pt x="547" y="365"/>
                      </a:cubicBezTo>
                      <a:cubicBezTo>
                        <a:pt x="528" y="365"/>
                        <a:pt x="524" y="378"/>
                        <a:pt x="522" y="385"/>
                      </a:cubicBezTo>
                      <a:cubicBezTo>
                        <a:pt x="519" y="407"/>
                        <a:pt x="520" y="474"/>
                        <a:pt x="520" y="474"/>
                      </a:cubicBezTo>
                      <a:cubicBezTo>
                        <a:pt x="520" y="474"/>
                        <a:pt x="432" y="477"/>
                        <a:pt x="410" y="473"/>
                      </a:cubicBezTo>
                      <a:cubicBezTo>
                        <a:pt x="402" y="472"/>
                        <a:pt x="390" y="468"/>
                        <a:pt x="390" y="449"/>
                      </a:cubicBezTo>
                      <a:cubicBezTo>
                        <a:pt x="390" y="430"/>
                        <a:pt x="406" y="434"/>
                        <a:pt x="412" y="409"/>
                      </a:cubicBezTo>
                      <a:cubicBezTo>
                        <a:pt x="414" y="383"/>
                        <a:pt x="392" y="364"/>
                        <a:pt x="368" y="364"/>
                      </a:cubicBezTo>
                      <a:cubicBezTo>
                        <a:pt x="344" y="364"/>
                        <a:pt x="323" y="383"/>
                        <a:pt x="325" y="409"/>
                      </a:cubicBezTo>
                      <a:cubicBezTo>
                        <a:pt x="331" y="434"/>
                        <a:pt x="347" y="430"/>
                        <a:pt x="347" y="449"/>
                      </a:cubicBezTo>
                      <a:cubicBezTo>
                        <a:pt x="347" y="468"/>
                        <a:pt x="334" y="472"/>
                        <a:pt x="326" y="473"/>
                      </a:cubicBezTo>
                      <a:cubicBezTo>
                        <a:pt x="305" y="477"/>
                        <a:pt x="214" y="474"/>
                        <a:pt x="214" y="474"/>
                      </a:cubicBezTo>
                      <a:cubicBezTo>
                        <a:pt x="214" y="474"/>
                        <a:pt x="216" y="407"/>
                        <a:pt x="213" y="385"/>
                      </a:cubicBezTo>
                      <a:cubicBezTo>
                        <a:pt x="212" y="377"/>
                        <a:pt x="207" y="365"/>
                        <a:pt x="188" y="365"/>
                      </a:cubicBezTo>
                      <a:cubicBezTo>
                        <a:pt x="169" y="365"/>
                        <a:pt x="174" y="381"/>
                        <a:pt x="148" y="387"/>
                      </a:cubicBezTo>
                      <a:cubicBezTo>
                        <a:pt x="123" y="389"/>
                        <a:pt x="104" y="368"/>
                        <a:pt x="104" y="344"/>
                      </a:cubicBezTo>
                      <a:cubicBezTo>
                        <a:pt x="104" y="319"/>
                        <a:pt x="123" y="298"/>
                        <a:pt x="148" y="300"/>
                      </a:cubicBezTo>
                      <a:cubicBezTo>
                        <a:pt x="174" y="306"/>
                        <a:pt x="169" y="322"/>
                        <a:pt x="188" y="322"/>
                      </a:cubicBezTo>
                      <a:cubicBezTo>
                        <a:pt x="207" y="322"/>
                        <a:pt x="212" y="310"/>
                        <a:pt x="213" y="302"/>
                      </a:cubicBezTo>
                      <a:cubicBezTo>
                        <a:pt x="216" y="280"/>
                        <a:pt x="216" y="213"/>
                        <a:pt x="216" y="213"/>
                      </a:cubicBezTo>
                      <a:cubicBezTo>
                        <a:pt x="216" y="213"/>
                        <a:pt x="305" y="199"/>
                        <a:pt x="326" y="203"/>
                      </a:cubicBezTo>
                      <a:cubicBezTo>
                        <a:pt x="334" y="204"/>
                        <a:pt x="347" y="208"/>
                        <a:pt x="347" y="227"/>
                      </a:cubicBezTo>
                      <a:cubicBezTo>
                        <a:pt x="347" y="246"/>
                        <a:pt x="331" y="242"/>
                        <a:pt x="325" y="267"/>
                      </a:cubicBezTo>
                      <a:cubicBezTo>
                        <a:pt x="323" y="293"/>
                        <a:pt x="344" y="312"/>
                        <a:pt x="368" y="312"/>
                      </a:cubicBezTo>
                      <a:cubicBezTo>
                        <a:pt x="392" y="312"/>
                        <a:pt x="414" y="293"/>
                        <a:pt x="412" y="267"/>
                      </a:cubicBezTo>
                      <a:cubicBezTo>
                        <a:pt x="406" y="242"/>
                        <a:pt x="390" y="246"/>
                        <a:pt x="390" y="227"/>
                      </a:cubicBezTo>
                      <a:cubicBezTo>
                        <a:pt x="390" y="208"/>
                        <a:pt x="402" y="204"/>
                        <a:pt x="410" y="203"/>
                      </a:cubicBezTo>
                      <a:cubicBezTo>
                        <a:pt x="432" y="199"/>
                        <a:pt x="521" y="213"/>
                        <a:pt x="521" y="213"/>
                      </a:cubicBezTo>
                      <a:cubicBezTo>
                        <a:pt x="521" y="213"/>
                        <a:pt x="519" y="280"/>
                        <a:pt x="522" y="302"/>
                      </a:cubicBezTo>
                      <a:cubicBezTo>
                        <a:pt x="524" y="310"/>
                        <a:pt x="528" y="322"/>
                        <a:pt x="547" y="322"/>
                      </a:cubicBezTo>
                      <a:cubicBezTo>
                        <a:pt x="566" y="322"/>
                        <a:pt x="562" y="306"/>
                        <a:pt x="587" y="300"/>
                      </a:cubicBezTo>
                      <a:cubicBezTo>
                        <a:pt x="613" y="298"/>
                        <a:pt x="631" y="319"/>
                        <a:pt x="631" y="344"/>
                      </a:cubicBezTo>
                      <a:cubicBezTo>
                        <a:pt x="631" y="368"/>
                        <a:pt x="613" y="389"/>
                        <a:pt x="587" y="387"/>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noProof="0">
                    <a:ln>
                      <a:noFill/>
                    </a:ln>
                    <a:solidFill>
                      <a:prstClr val="black"/>
                    </a:solidFill>
                    <a:effectLst/>
                    <a:uLnTx/>
                    <a:uFillTx/>
                    <a:latin typeface="Calibri" panose="020F0502020204030204"/>
                    <a:ea typeface="+mn-ea"/>
                    <a:cs typeface="+mn-cs"/>
                  </a:endParaRPr>
                </a:p>
              </p:txBody>
            </p:sp>
          </p:grpSp>
        </p:grpSp>
      </p:grpSp>
      <p:sp>
        <p:nvSpPr>
          <p:cNvPr id="139" name="Rechthoek: afgeronde hoeken 14">
            <a:extLst>
              <a:ext uri="{FF2B5EF4-FFF2-40B4-BE49-F238E27FC236}">
                <a16:creationId xmlns:a16="http://schemas.microsoft.com/office/drawing/2014/main" id="{E2201520-B1B4-42F4-8763-64354D61FF96}"/>
              </a:ext>
            </a:extLst>
          </p:cNvPr>
          <p:cNvSpPr/>
          <p:nvPr/>
        </p:nvSpPr>
        <p:spPr>
          <a:xfrm rot="11571750">
            <a:off x="9461927" y="4060867"/>
            <a:ext cx="295272" cy="934094"/>
          </a:xfrm>
          <a:custGeom>
            <a:avLst/>
            <a:gdLst>
              <a:gd name="connsiteX0" fmla="*/ 37257 w 295272"/>
              <a:gd name="connsiteY0" fmla="*/ 54955 h 934094"/>
              <a:gd name="connsiteX1" fmla="*/ 75181 w 295272"/>
              <a:gd name="connsiteY1" fmla="*/ 406 h 934094"/>
              <a:gd name="connsiteX2" fmla="*/ 239176 w 295272"/>
              <a:gd name="connsiteY2" fmla="*/ 0 h 934094"/>
              <a:gd name="connsiteX3" fmla="*/ 264795 w 295272"/>
              <a:gd name="connsiteY3" fmla="*/ 54955 h 934094"/>
              <a:gd name="connsiteX4" fmla="*/ 295272 w 295272"/>
              <a:gd name="connsiteY4" fmla="*/ 891935 h 934094"/>
              <a:gd name="connsiteX5" fmla="*/ 226871 w 295272"/>
              <a:gd name="connsiteY5" fmla="*/ 934094 h 934094"/>
              <a:gd name="connsiteX6" fmla="*/ 75181 w 295272"/>
              <a:gd name="connsiteY6" fmla="*/ 934094 h 934094"/>
              <a:gd name="connsiteX7" fmla="*/ 37257 w 295272"/>
              <a:gd name="connsiteY7" fmla="*/ 879544 h 934094"/>
              <a:gd name="connsiteX8" fmla="*/ 0 w 295272"/>
              <a:gd name="connsiteY8" fmla="*/ 390113 h 934094"/>
              <a:gd name="connsiteX9" fmla="*/ 37257 w 295272"/>
              <a:gd name="connsiteY9" fmla="*/ 54955 h 9340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95272" h="934094" fill="none" extrusionOk="0">
                <a:moveTo>
                  <a:pt x="37257" y="54955"/>
                </a:moveTo>
                <a:cubicBezTo>
                  <a:pt x="39618" y="25175"/>
                  <a:pt x="53447" y="-438"/>
                  <a:pt x="75181" y="406"/>
                </a:cubicBezTo>
                <a:cubicBezTo>
                  <a:pt x="143832" y="-5635"/>
                  <a:pt x="195353" y="-431"/>
                  <a:pt x="239176" y="0"/>
                </a:cubicBezTo>
                <a:cubicBezTo>
                  <a:pt x="260190" y="5941"/>
                  <a:pt x="261910" y="24311"/>
                  <a:pt x="264795" y="54955"/>
                </a:cubicBezTo>
                <a:cubicBezTo>
                  <a:pt x="286089" y="389254"/>
                  <a:pt x="217520" y="586264"/>
                  <a:pt x="295272" y="891935"/>
                </a:cubicBezTo>
                <a:cubicBezTo>
                  <a:pt x="298832" y="925583"/>
                  <a:pt x="243511" y="933820"/>
                  <a:pt x="226871" y="934094"/>
                </a:cubicBezTo>
                <a:cubicBezTo>
                  <a:pt x="172159" y="934152"/>
                  <a:pt x="127623" y="926920"/>
                  <a:pt x="75181" y="934094"/>
                </a:cubicBezTo>
                <a:cubicBezTo>
                  <a:pt x="54792" y="939452"/>
                  <a:pt x="38261" y="910222"/>
                  <a:pt x="37257" y="879544"/>
                </a:cubicBezTo>
                <a:cubicBezTo>
                  <a:pt x="18418" y="682704"/>
                  <a:pt x="9096" y="538727"/>
                  <a:pt x="0" y="390113"/>
                </a:cubicBezTo>
                <a:cubicBezTo>
                  <a:pt x="10313" y="253427"/>
                  <a:pt x="23476" y="184916"/>
                  <a:pt x="37257" y="54955"/>
                </a:cubicBezTo>
                <a:close/>
              </a:path>
              <a:path w="295272" h="934094" stroke="0" extrusionOk="0">
                <a:moveTo>
                  <a:pt x="37257" y="54955"/>
                </a:moveTo>
                <a:cubicBezTo>
                  <a:pt x="37935" y="21816"/>
                  <a:pt x="50181" y="2123"/>
                  <a:pt x="75181" y="406"/>
                </a:cubicBezTo>
                <a:cubicBezTo>
                  <a:pt x="114637" y="-2638"/>
                  <a:pt x="204932" y="-6699"/>
                  <a:pt x="239176" y="0"/>
                </a:cubicBezTo>
                <a:cubicBezTo>
                  <a:pt x="264903" y="3991"/>
                  <a:pt x="264530" y="25386"/>
                  <a:pt x="264795" y="54955"/>
                </a:cubicBezTo>
                <a:cubicBezTo>
                  <a:pt x="325100" y="333976"/>
                  <a:pt x="216647" y="618373"/>
                  <a:pt x="295272" y="891935"/>
                </a:cubicBezTo>
                <a:cubicBezTo>
                  <a:pt x="296688" y="920001"/>
                  <a:pt x="246859" y="931744"/>
                  <a:pt x="226871" y="934094"/>
                </a:cubicBezTo>
                <a:cubicBezTo>
                  <a:pt x="172963" y="939387"/>
                  <a:pt x="133927" y="933628"/>
                  <a:pt x="75181" y="934094"/>
                </a:cubicBezTo>
                <a:cubicBezTo>
                  <a:pt x="52855" y="939066"/>
                  <a:pt x="35326" y="906036"/>
                  <a:pt x="37257" y="879544"/>
                </a:cubicBezTo>
                <a:cubicBezTo>
                  <a:pt x="20281" y="690542"/>
                  <a:pt x="-34844" y="547368"/>
                  <a:pt x="0" y="390113"/>
                </a:cubicBezTo>
                <a:cubicBezTo>
                  <a:pt x="31715" y="252942"/>
                  <a:pt x="32650" y="181245"/>
                  <a:pt x="37257" y="54955"/>
                </a:cubicBezTo>
                <a:close/>
              </a:path>
            </a:pathLst>
          </a:custGeom>
          <a:solidFill>
            <a:schemeClr val="accent3">
              <a:lumMod val="75000"/>
              <a:alpha val="50196"/>
            </a:schemeClr>
          </a:solidFill>
          <a:ln w="19050">
            <a:solidFill>
              <a:schemeClr val="accent3">
                <a:lumMod val="50000"/>
              </a:schemeClr>
            </a:solidFill>
            <a:prstDash val="lgDash"/>
            <a:extLst>
              <a:ext uri="{C807C97D-BFC1-408E-A445-0C87EB9F89A2}">
                <ask:lineSketchStyleProps xmlns:ask="http://schemas.microsoft.com/office/drawing/2018/sketchyshapes" sd="1343802768">
                  <a:custGeom>
                    <a:avLst/>
                    <a:gdLst>
                      <a:gd name="connsiteX0" fmla="*/ 0 w 303332"/>
                      <a:gd name="connsiteY0" fmla="*/ 50556 h 865339"/>
                      <a:gd name="connsiteX1" fmla="*/ 50556 w 303332"/>
                      <a:gd name="connsiteY1" fmla="*/ 0 h 865339"/>
                      <a:gd name="connsiteX2" fmla="*/ 252776 w 303332"/>
                      <a:gd name="connsiteY2" fmla="*/ 0 h 865339"/>
                      <a:gd name="connsiteX3" fmla="*/ 303332 w 303332"/>
                      <a:gd name="connsiteY3" fmla="*/ 50556 h 865339"/>
                      <a:gd name="connsiteX4" fmla="*/ 303332 w 303332"/>
                      <a:gd name="connsiteY4" fmla="*/ 814783 h 865339"/>
                      <a:gd name="connsiteX5" fmla="*/ 252776 w 303332"/>
                      <a:gd name="connsiteY5" fmla="*/ 865339 h 865339"/>
                      <a:gd name="connsiteX6" fmla="*/ 50556 w 303332"/>
                      <a:gd name="connsiteY6" fmla="*/ 865339 h 865339"/>
                      <a:gd name="connsiteX7" fmla="*/ 0 w 303332"/>
                      <a:gd name="connsiteY7" fmla="*/ 814783 h 865339"/>
                      <a:gd name="connsiteX8" fmla="*/ 0 w 303332"/>
                      <a:gd name="connsiteY8" fmla="*/ 50556 h 865339"/>
                      <a:gd name="connsiteX0" fmla="*/ 0 w 303332"/>
                      <a:gd name="connsiteY0" fmla="*/ 50933 h 865716"/>
                      <a:gd name="connsiteX1" fmla="*/ 50556 w 303332"/>
                      <a:gd name="connsiteY1" fmla="*/ 377 h 865716"/>
                      <a:gd name="connsiteX2" fmla="*/ 269179 w 303332"/>
                      <a:gd name="connsiteY2" fmla="*/ 0 h 865716"/>
                      <a:gd name="connsiteX3" fmla="*/ 303332 w 303332"/>
                      <a:gd name="connsiteY3" fmla="*/ 50933 h 865716"/>
                      <a:gd name="connsiteX4" fmla="*/ 303332 w 303332"/>
                      <a:gd name="connsiteY4" fmla="*/ 815160 h 865716"/>
                      <a:gd name="connsiteX5" fmla="*/ 252776 w 303332"/>
                      <a:gd name="connsiteY5" fmla="*/ 865716 h 865716"/>
                      <a:gd name="connsiteX6" fmla="*/ 50556 w 303332"/>
                      <a:gd name="connsiteY6" fmla="*/ 865716 h 865716"/>
                      <a:gd name="connsiteX7" fmla="*/ 0 w 303332"/>
                      <a:gd name="connsiteY7" fmla="*/ 815160 h 865716"/>
                      <a:gd name="connsiteX8" fmla="*/ 0 w 303332"/>
                      <a:gd name="connsiteY8" fmla="*/ 50933 h 865716"/>
                      <a:gd name="connsiteX0" fmla="*/ 49669 w 353001"/>
                      <a:gd name="connsiteY0" fmla="*/ 50933 h 865716"/>
                      <a:gd name="connsiteX1" fmla="*/ 100225 w 353001"/>
                      <a:gd name="connsiteY1" fmla="*/ 377 h 865716"/>
                      <a:gd name="connsiteX2" fmla="*/ 318848 w 353001"/>
                      <a:gd name="connsiteY2" fmla="*/ 0 h 865716"/>
                      <a:gd name="connsiteX3" fmla="*/ 353001 w 353001"/>
                      <a:gd name="connsiteY3" fmla="*/ 50933 h 865716"/>
                      <a:gd name="connsiteX4" fmla="*/ 353001 w 353001"/>
                      <a:gd name="connsiteY4" fmla="*/ 815160 h 865716"/>
                      <a:gd name="connsiteX5" fmla="*/ 302445 w 353001"/>
                      <a:gd name="connsiteY5" fmla="*/ 865716 h 865716"/>
                      <a:gd name="connsiteX6" fmla="*/ 100225 w 353001"/>
                      <a:gd name="connsiteY6" fmla="*/ 865716 h 865716"/>
                      <a:gd name="connsiteX7" fmla="*/ 49669 w 353001"/>
                      <a:gd name="connsiteY7" fmla="*/ 815160 h 865716"/>
                      <a:gd name="connsiteX8" fmla="*/ 0 w 353001"/>
                      <a:gd name="connsiteY8" fmla="*/ 361556 h 865716"/>
                      <a:gd name="connsiteX9" fmla="*/ 49669 w 353001"/>
                      <a:gd name="connsiteY9" fmla="*/ 50933 h 865716"/>
                      <a:gd name="connsiteX0" fmla="*/ 49669 w 393630"/>
                      <a:gd name="connsiteY0" fmla="*/ 50933 h 865716"/>
                      <a:gd name="connsiteX1" fmla="*/ 100225 w 393630"/>
                      <a:gd name="connsiteY1" fmla="*/ 377 h 865716"/>
                      <a:gd name="connsiteX2" fmla="*/ 318848 w 393630"/>
                      <a:gd name="connsiteY2" fmla="*/ 0 h 865716"/>
                      <a:gd name="connsiteX3" fmla="*/ 353001 w 393630"/>
                      <a:gd name="connsiteY3" fmla="*/ 50933 h 865716"/>
                      <a:gd name="connsiteX4" fmla="*/ 393630 w 393630"/>
                      <a:gd name="connsiteY4" fmla="*/ 826644 h 865716"/>
                      <a:gd name="connsiteX5" fmla="*/ 302445 w 393630"/>
                      <a:gd name="connsiteY5" fmla="*/ 865716 h 865716"/>
                      <a:gd name="connsiteX6" fmla="*/ 100225 w 393630"/>
                      <a:gd name="connsiteY6" fmla="*/ 865716 h 865716"/>
                      <a:gd name="connsiteX7" fmla="*/ 49669 w 393630"/>
                      <a:gd name="connsiteY7" fmla="*/ 815160 h 865716"/>
                      <a:gd name="connsiteX8" fmla="*/ 0 w 393630"/>
                      <a:gd name="connsiteY8" fmla="*/ 361556 h 865716"/>
                      <a:gd name="connsiteX9" fmla="*/ 49669 w 393630"/>
                      <a:gd name="connsiteY9" fmla="*/ 50933 h 865716"/>
                      <a:gd name="connsiteX0" fmla="*/ 49669 w 393630"/>
                      <a:gd name="connsiteY0" fmla="*/ 50933 h 865716"/>
                      <a:gd name="connsiteX1" fmla="*/ 100225 w 393630"/>
                      <a:gd name="connsiteY1" fmla="*/ 377 h 865716"/>
                      <a:gd name="connsiteX2" fmla="*/ 318848 w 393630"/>
                      <a:gd name="connsiteY2" fmla="*/ 0 h 865716"/>
                      <a:gd name="connsiteX3" fmla="*/ 353001 w 393630"/>
                      <a:gd name="connsiteY3" fmla="*/ 50933 h 865716"/>
                      <a:gd name="connsiteX4" fmla="*/ 393630 w 393630"/>
                      <a:gd name="connsiteY4" fmla="*/ 826644 h 865716"/>
                      <a:gd name="connsiteX5" fmla="*/ 302445 w 393630"/>
                      <a:gd name="connsiteY5" fmla="*/ 865716 h 865716"/>
                      <a:gd name="connsiteX6" fmla="*/ 100225 w 393630"/>
                      <a:gd name="connsiteY6" fmla="*/ 865716 h 865716"/>
                      <a:gd name="connsiteX7" fmla="*/ 49669 w 393630"/>
                      <a:gd name="connsiteY7" fmla="*/ 815160 h 865716"/>
                      <a:gd name="connsiteX8" fmla="*/ 0 w 393630"/>
                      <a:gd name="connsiteY8" fmla="*/ 361556 h 865716"/>
                      <a:gd name="connsiteX9" fmla="*/ 49669 w 393630"/>
                      <a:gd name="connsiteY9" fmla="*/ 50933 h 8657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93630" h="865716">
                        <a:moveTo>
                          <a:pt x="49669" y="50933"/>
                        </a:moveTo>
                        <a:cubicBezTo>
                          <a:pt x="49669" y="23012"/>
                          <a:pt x="72304" y="377"/>
                          <a:pt x="100225" y="377"/>
                        </a:cubicBezTo>
                        <a:lnTo>
                          <a:pt x="318848" y="0"/>
                        </a:lnTo>
                        <a:cubicBezTo>
                          <a:pt x="346769" y="0"/>
                          <a:pt x="353001" y="23012"/>
                          <a:pt x="353001" y="50933"/>
                        </a:cubicBezTo>
                        <a:cubicBezTo>
                          <a:pt x="366544" y="309503"/>
                          <a:pt x="337945" y="548640"/>
                          <a:pt x="393630" y="826644"/>
                        </a:cubicBezTo>
                        <a:cubicBezTo>
                          <a:pt x="393630" y="854565"/>
                          <a:pt x="330366" y="865716"/>
                          <a:pt x="302445" y="865716"/>
                        </a:cubicBezTo>
                        <a:lnTo>
                          <a:pt x="100225" y="865716"/>
                        </a:lnTo>
                        <a:cubicBezTo>
                          <a:pt x="72304" y="865716"/>
                          <a:pt x="49669" y="843081"/>
                          <a:pt x="49669" y="815160"/>
                        </a:cubicBezTo>
                        <a:cubicBezTo>
                          <a:pt x="47076" y="660384"/>
                          <a:pt x="2593" y="516332"/>
                          <a:pt x="0" y="361556"/>
                        </a:cubicBezTo>
                        <a:lnTo>
                          <a:pt x="49669" y="50933"/>
                        </a:lnTo>
                        <a:close/>
                      </a:path>
                    </a:pathLst>
                  </a:cu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grpSp>
        <p:nvGrpSpPr>
          <p:cNvPr id="157" name="Group 125">
            <a:extLst>
              <a:ext uri="{FF2B5EF4-FFF2-40B4-BE49-F238E27FC236}">
                <a16:creationId xmlns:a16="http://schemas.microsoft.com/office/drawing/2014/main" id="{B5D9699A-1ECA-4EDD-B5F3-A96DD205C3FB}"/>
              </a:ext>
            </a:extLst>
          </p:cNvPr>
          <p:cNvGrpSpPr/>
          <p:nvPr/>
        </p:nvGrpSpPr>
        <p:grpSpPr>
          <a:xfrm>
            <a:off x="9449674" y="4685750"/>
            <a:ext cx="288000" cy="288000"/>
            <a:chOff x="7095592" y="742073"/>
            <a:chExt cx="329184" cy="329184"/>
          </a:xfrm>
        </p:grpSpPr>
        <p:sp>
          <p:nvSpPr>
            <p:cNvPr id="158" name="Oval 137">
              <a:extLst>
                <a:ext uri="{FF2B5EF4-FFF2-40B4-BE49-F238E27FC236}">
                  <a16:creationId xmlns:a16="http://schemas.microsoft.com/office/drawing/2014/main" id="{F55755F6-E680-463A-8BB7-4E90BEDD02CD}"/>
                </a:ext>
              </a:extLst>
            </p:cNvPr>
            <p:cNvSpPr/>
            <p:nvPr/>
          </p:nvSpPr>
          <p:spPr>
            <a:xfrm>
              <a:off x="7095592" y="742073"/>
              <a:ext cx="329184" cy="329184"/>
            </a:xfrm>
            <a:prstGeom prst="ellipse">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67" name="Group 127">
              <a:extLst>
                <a:ext uri="{FF2B5EF4-FFF2-40B4-BE49-F238E27FC236}">
                  <a16:creationId xmlns:a16="http://schemas.microsoft.com/office/drawing/2014/main" id="{32587873-4AD7-4A65-9EFB-E9FB416DEA4C}"/>
                </a:ext>
              </a:extLst>
            </p:cNvPr>
            <p:cNvGrpSpPr/>
            <p:nvPr/>
          </p:nvGrpSpPr>
          <p:grpSpPr>
            <a:xfrm>
              <a:off x="7176816" y="778521"/>
              <a:ext cx="179310" cy="244447"/>
              <a:chOff x="7176816" y="778521"/>
              <a:chExt cx="179310" cy="244447"/>
            </a:xfrm>
          </p:grpSpPr>
          <p:sp>
            <p:nvSpPr>
              <p:cNvPr id="168" name="Seed" descr="{&quot;Key&quot;:&quot;POWER_USER_SHAPE_ICON&quot;,&quot;Value&quot;:&quot;POWER_USER_SHAPE_ICON_STYLE_1&quot;}">
                <a:extLst>
                  <a:ext uri="{FF2B5EF4-FFF2-40B4-BE49-F238E27FC236}">
                    <a16:creationId xmlns:a16="http://schemas.microsoft.com/office/drawing/2014/main" id="{19535FF9-BCD6-4286-BCF4-2393F8F8EF21}"/>
                  </a:ext>
                </a:extLst>
              </p:cNvPr>
              <p:cNvSpPr>
                <a:spLocks noChangeAspect="1" noEditPoints="1"/>
              </p:cNvSpPr>
              <p:nvPr>
                <p:custDataLst>
                  <p:tags r:id="rId4"/>
                </p:custDataLst>
              </p:nvPr>
            </p:nvSpPr>
            <p:spPr bwMode="auto">
              <a:xfrm>
                <a:off x="7176816" y="878690"/>
                <a:ext cx="162838" cy="144278"/>
              </a:xfrm>
              <a:custGeom>
                <a:avLst/>
                <a:gdLst>
                  <a:gd name="T0" fmla="*/ 6744 w 11364"/>
                  <a:gd name="T1" fmla="*/ 3564 h 10067"/>
                  <a:gd name="T2" fmla="*/ 7042 w 11364"/>
                  <a:gd name="T3" fmla="*/ 3354 h 10067"/>
                  <a:gd name="T4" fmla="*/ 4139 w 11364"/>
                  <a:gd name="T5" fmla="*/ 214 h 10067"/>
                  <a:gd name="T6" fmla="*/ 5282 w 11364"/>
                  <a:gd name="T7" fmla="*/ 2733 h 10067"/>
                  <a:gd name="T8" fmla="*/ 10245 w 11364"/>
                  <a:gd name="T9" fmla="*/ 7311 h 10067"/>
                  <a:gd name="T10" fmla="*/ 7950 w 11364"/>
                  <a:gd name="T11" fmla="*/ 5369 h 10067"/>
                  <a:gd name="T12" fmla="*/ 7665 w 11364"/>
                  <a:gd name="T13" fmla="*/ 5315 h 10067"/>
                  <a:gd name="T14" fmla="*/ 7626 w 11364"/>
                  <a:gd name="T15" fmla="*/ 5310 h 10067"/>
                  <a:gd name="T16" fmla="*/ 7637 w 11364"/>
                  <a:gd name="T17" fmla="*/ 4576 h 10067"/>
                  <a:gd name="T18" fmla="*/ 7646 w 11364"/>
                  <a:gd name="T19" fmla="*/ 4476 h 10067"/>
                  <a:gd name="T20" fmla="*/ 7673 w 11364"/>
                  <a:gd name="T21" fmla="*/ 4234 h 10067"/>
                  <a:gd name="T22" fmla="*/ 8068 w 11364"/>
                  <a:gd name="T23" fmla="*/ 4029 h 10067"/>
                  <a:gd name="T24" fmla="*/ 11244 w 11364"/>
                  <a:gd name="T25" fmla="*/ 0 h 10067"/>
                  <a:gd name="T26" fmla="*/ 7516 w 11364"/>
                  <a:gd name="T27" fmla="*/ 2618 h 10067"/>
                  <a:gd name="T28" fmla="*/ 7233 w 11364"/>
                  <a:gd name="T29" fmla="*/ 4214 h 10067"/>
                  <a:gd name="T30" fmla="*/ 7224 w 11364"/>
                  <a:gd name="T31" fmla="*/ 5280 h 10067"/>
                  <a:gd name="T32" fmla="*/ 7082 w 11364"/>
                  <a:gd name="T33" fmla="*/ 5277 h 10067"/>
                  <a:gd name="T34" fmla="*/ 5070 w 11364"/>
                  <a:gd name="T35" fmla="*/ 6113 h 10067"/>
                  <a:gd name="T36" fmla="*/ 2454 w 11364"/>
                  <a:gd name="T37" fmla="*/ 5748 h 10067"/>
                  <a:gd name="T38" fmla="*/ 1979 w 11364"/>
                  <a:gd name="T39" fmla="*/ 5775 h 10067"/>
                  <a:gd name="T40" fmla="*/ 2514 w 11364"/>
                  <a:gd name="T41" fmla="*/ 6100 h 10067"/>
                  <a:gd name="T42" fmla="*/ 4816 w 11364"/>
                  <a:gd name="T43" fmla="*/ 6387 h 10067"/>
                  <a:gd name="T44" fmla="*/ 6145 w 11364"/>
                  <a:gd name="T45" fmla="*/ 6987 h 10067"/>
                  <a:gd name="T46" fmla="*/ 8301 w 11364"/>
                  <a:gd name="T47" fmla="*/ 7145 h 10067"/>
                  <a:gd name="T48" fmla="*/ 8758 w 11364"/>
                  <a:gd name="T49" fmla="*/ 7918 h 10067"/>
                  <a:gd name="T50" fmla="*/ 8461 w 11364"/>
                  <a:gd name="T51" fmla="*/ 8153 h 10067"/>
                  <a:gd name="T52" fmla="*/ 7099 w 11364"/>
                  <a:gd name="T53" fmla="*/ 8176 h 10067"/>
                  <a:gd name="T54" fmla="*/ 6945 w 11364"/>
                  <a:gd name="T55" fmla="*/ 8155 h 10067"/>
                  <a:gd name="T56" fmla="*/ 6316 w 11364"/>
                  <a:gd name="T57" fmla="*/ 8035 h 10067"/>
                  <a:gd name="T58" fmla="*/ 6020 w 11364"/>
                  <a:gd name="T59" fmla="*/ 7984 h 10067"/>
                  <a:gd name="T60" fmla="*/ 4994 w 11364"/>
                  <a:gd name="T61" fmla="*/ 8127 h 10067"/>
                  <a:gd name="T62" fmla="*/ 4903 w 11364"/>
                  <a:gd name="T63" fmla="*/ 8363 h 10067"/>
                  <a:gd name="T64" fmla="*/ 6233 w 11364"/>
                  <a:gd name="T65" fmla="*/ 8382 h 10067"/>
                  <a:gd name="T66" fmla="*/ 8735 w 11364"/>
                  <a:gd name="T67" fmla="*/ 8429 h 10067"/>
                  <a:gd name="T68" fmla="*/ 9563 w 11364"/>
                  <a:gd name="T69" fmla="*/ 8061 h 10067"/>
                  <a:gd name="T70" fmla="*/ 10404 w 11364"/>
                  <a:gd name="T71" fmla="*/ 7630 h 10067"/>
                  <a:gd name="T72" fmla="*/ 10935 w 11364"/>
                  <a:gd name="T73" fmla="*/ 7937 h 10067"/>
                  <a:gd name="T74" fmla="*/ 10018 w 11364"/>
                  <a:gd name="T75" fmla="*/ 8647 h 10067"/>
                  <a:gd name="T76" fmla="*/ 9086 w 11364"/>
                  <a:gd name="T77" fmla="*/ 9020 h 10067"/>
                  <a:gd name="T78" fmla="*/ 6547 w 11364"/>
                  <a:gd name="T79" fmla="*/ 9626 h 10067"/>
                  <a:gd name="T80" fmla="*/ 2148 w 11364"/>
                  <a:gd name="T81" fmla="*/ 8613 h 10067"/>
                  <a:gd name="T82" fmla="*/ 1979 w 11364"/>
                  <a:gd name="T83" fmla="*/ 8970 h 10067"/>
                  <a:gd name="T84" fmla="*/ 5139 w 11364"/>
                  <a:gd name="T85" fmla="*/ 9875 h 10067"/>
                  <a:gd name="T86" fmla="*/ 6619 w 11364"/>
                  <a:gd name="T87" fmla="*/ 9976 h 10067"/>
                  <a:gd name="T88" fmla="*/ 9235 w 11364"/>
                  <a:gd name="T89" fmla="*/ 9344 h 10067"/>
                  <a:gd name="T90" fmla="*/ 10176 w 11364"/>
                  <a:gd name="T91" fmla="*/ 8967 h 10067"/>
                  <a:gd name="T92" fmla="*/ 11194 w 11364"/>
                  <a:gd name="T93" fmla="*/ 8190 h 10067"/>
                  <a:gd name="T94" fmla="*/ 0 w 11364"/>
                  <a:gd name="T95" fmla="*/ 9309 h 10067"/>
                  <a:gd name="T96" fmla="*/ 1630 w 11364"/>
                  <a:gd name="T97" fmla="*/ 5351 h 10067"/>
                  <a:gd name="T98" fmla="*/ 0 w 11364"/>
                  <a:gd name="T99" fmla="*/ 9309 h 100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1364" h="10067">
                    <a:moveTo>
                      <a:pt x="5282" y="2733"/>
                    </a:moveTo>
                    <a:cubicBezTo>
                      <a:pt x="5856" y="3288"/>
                      <a:pt x="6390" y="3439"/>
                      <a:pt x="6744" y="3564"/>
                    </a:cubicBezTo>
                    <a:cubicBezTo>
                      <a:pt x="6525" y="2306"/>
                      <a:pt x="5827" y="1150"/>
                      <a:pt x="4589" y="609"/>
                    </a:cubicBezTo>
                    <a:cubicBezTo>
                      <a:pt x="5820" y="997"/>
                      <a:pt x="6676" y="2123"/>
                      <a:pt x="7042" y="3354"/>
                    </a:cubicBezTo>
                    <a:cubicBezTo>
                      <a:pt x="7112" y="2949"/>
                      <a:pt x="7216" y="2574"/>
                      <a:pt x="7358" y="2233"/>
                    </a:cubicBezTo>
                    <a:cubicBezTo>
                      <a:pt x="7006" y="1054"/>
                      <a:pt x="5918" y="214"/>
                      <a:pt x="4139" y="214"/>
                    </a:cubicBezTo>
                    <a:cubicBezTo>
                      <a:pt x="3920" y="214"/>
                      <a:pt x="3690" y="227"/>
                      <a:pt x="3450" y="253"/>
                    </a:cubicBezTo>
                    <a:cubicBezTo>
                      <a:pt x="4708" y="954"/>
                      <a:pt x="4033" y="1529"/>
                      <a:pt x="5282" y="2733"/>
                    </a:cubicBezTo>
                    <a:close/>
                    <a:moveTo>
                      <a:pt x="11174" y="7560"/>
                    </a:moveTo>
                    <a:cubicBezTo>
                      <a:pt x="11020" y="7299"/>
                      <a:pt x="10696" y="7094"/>
                      <a:pt x="10245" y="7311"/>
                    </a:cubicBezTo>
                    <a:lnTo>
                      <a:pt x="10145" y="7362"/>
                    </a:lnTo>
                    <a:cubicBezTo>
                      <a:pt x="9750" y="6361"/>
                      <a:pt x="9011" y="5620"/>
                      <a:pt x="7950" y="5369"/>
                    </a:cubicBezTo>
                    <a:cubicBezTo>
                      <a:pt x="7904" y="5358"/>
                      <a:pt x="7855" y="5350"/>
                      <a:pt x="7807" y="5341"/>
                    </a:cubicBezTo>
                    <a:cubicBezTo>
                      <a:pt x="7760" y="5332"/>
                      <a:pt x="7713" y="5323"/>
                      <a:pt x="7665" y="5315"/>
                    </a:cubicBezTo>
                    <a:lnTo>
                      <a:pt x="7665" y="5310"/>
                    </a:lnTo>
                    <a:lnTo>
                      <a:pt x="7626" y="5310"/>
                    </a:lnTo>
                    <a:cubicBezTo>
                      <a:pt x="7615" y="5095"/>
                      <a:pt x="7617" y="4877"/>
                      <a:pt x="7630" y="4658"/>
                    </a:cubicBezTo>
                    <a:cubicBezTo>
                      <a:pt x="7632" y="4631"/>
                      <a:pt x="7635" y="4603"/>
                      <a:pt x="7637" y="4576"/>
                    </a:cubicBezTo>
                    <a:cubicBezTo>
                      <a:pt x="7639" y="4548"/>
                      <a:pt x="7642" y="4521"/>
                      <a:pt x="7645" y="4493"/>
                    </a:cubicBezTo>
                    <a:cubicBezTo>
                      <a:pt x="7645" y="4487"/>
                      <a:pt x="7646" y="4482"/>
                      <a:pt x="7646" y="4476"/>
                    </a:cubicBezTo>
                    <a:cubicBezTo>
                      <a:pt x="7650" y="4440"/>
                      <a:pt x="7653" y="4405"/>
                      <a:pt x="7657" y="4369"/>
                    </a:cubicBezTo>
                    <a:cubicBezTo>
                      <a:pt x="7662" y="4324"/>
                      <a:pt x="7667" y="4279"/>
                      <a:pt x="7673" y="4234"/>
                    </a:cubicBezTo>
                    <a:cubicBezTo>
                      <a:pt x="7872" y="2771"/>
                      <a:pt x="8628" y="1348"/>
                      <a:pt x="9939" y="657"/>
                    </a:cubicBezTo>
                    <a:cubicBezTo>
                      <a:pt x="8766" y="1446"/>
                      <a:pt x="8183" y="2704"/>
                      <a:pt x="8068" y="4029"/>
                    </a:cubicBezTo>
                    <a:cubicBezTo>
                      <a:pt x="8412" y="3957"/>
                      <a:pt x="8947" y="3834"/>
                      <a:pt x="9555" y="3096"/>
                    </a:cubicBezTo>
                    <a:cubicBezTo>
                      <a:pt x="10606" y="1820"/>
                      <a:pt x="10037" y="1108"/>
                      <a:pt x="11244" y="0"/>
                    </a:cubicBezTo>
                    <a:cubicBezTo>
                      <a:pt x="9086" y="152"/>
                      <a:pt x="8041" y="1219"/>
                      <a:pt x="7569" y="2470"/>
                    </a:cubicBezTo>
                    <a:cubicBezTo>
                      <a:pt x="7551" y="2519"/>
                      <a:pt x="7533" y="2568"/>
                      <a:pt x="7516" y="2618"/>
                    </a:cubicBezTo>
                    <a:cubicBezTo>
                      <a:pt x="7499" y="2670"/>
                      <a:pt x="7482" y="2723"/>
                      <a:pt x="7466" y="2776"/>
                    </a:cubicBezTo>
                    <a:cubicBezTo>
                      <a:pt x="7324" y="3251"/>
                      <a:pt x="7255" y="3743"/>
                      <a:pt x="7233" y="4214"/>
                    </a:cubicBezTo>
                    <a:cubicBezTo>
                      <a:pt x="7227" y="4337"/>
                      <a:pt x="7224" y="4458"/>
                      <a:pt x="7224" y="4577"/>
                    </a:cubicBezTo>
                    <a:lnTo>
                      <a:pt x="7224" y="5280"/>
                    </a:lnTo>
                    <a:cubicBezTo>
                      <a:pt x="7190" y="5279"/>
                      <a:pt x="7156" y="5276"/>
                      <a:pt x="7121" y="5276"/>
                    </a:cubicBezTo>
                    <a:cubicBezTo>
                      <a:pt x="7107" y="5276"/>
                      <a:pt x="7095" y="5277"/>
                      <a:pt x="7082" y="5277"/>
                    </a:cubicBezTo>
                    <a:cubicBezTo>
                      <a:pt x="7033" y="5278"/>
                      <a:pt x="6986" y="5280"/>
                      <a:pt x="6939" y="5283"/>
                    </a:cubicBezTo>
                    <a:cubicBezTo>
                      <a:pt x="6217" y="5326"/>
                      <a:pt x="5581" y="5623"/>
                      <a:pt x="5070" y="6113"/>
                    </a:cubicBezTo>
                    <a:cubicBezTo>
                      <a:pt x="4740" y="5948"/>
                      <a:pt x="4382" y="5797"/>
                      <a:pt x="4006" y="5741"/>
                    </a:cubicBezTo>
                    <a:cubicBezTo>
                      <a:pt x="3196" y="5621"/>
                      <a:pt x="2767" y="5694"/>
                      <a:pt x="2454" y="5748"/>
                    </a:cubicBezTo>
                    <a:cubicBezTo>
                      <a:pt x="2277" y="5778"/>
                      <a:pt x="2149" y="5801"/>
                      <a:pt x="2006" y="5779"/>
                    </a:cubicBezTo>
                    <a:lnTo>
                      <a:pt x="1979" y="5775"/>
                    </a:lnTo>
                    <a:lnTo>
                      <a:pt x="1979" y="6135"/>
                    </a:lnTo>
                    <a:cubicBezTo>
                      <a:pt x="2167" y="6158"/>
                      <a:pt x="2329" y="6132"/>
                      <a:pt x="2514" y="6100"/>
                    </a:cubicBezTo>
                    <a:cubicBezTo>
                      <a:pt x="2820" y="6048"/>
                      <a:pt x="3200" y="5983"/>
                      <a:pt x="3953" y="6094"/>
                    </a:cubicBezTo>
                    <a:cubicBezTo>
                      <a:pt x="4247" y="6138"/>
                      <a:pt x="4539" y="6254"/>
                      <a:pt x="4816" y="6387"/>
                    </a:cubicBezTo>
                    <a:cubicBezTo>
                      <a:pt x="4964" y="6458"/>
                      <a:pt x="5108" y="6534"/>
                      <a:pt x="5246" y="6607"/>
                    </a:cubicBezTo>
                    <a:cubicBezTo>
                      <a:pt x="5584" y="6786"/>
                      <a:pt x="5875" y="6940"/>
                      <a:pt x="6145" y="6987"/>
                    </a:cubicBezTo>
                    <a:cubicBezTo>
                      <a:pt x="6374" y="7027"/>
                      <a:pt x="6617" y="7019"/>
                      <a:pt x="6873" y="7011"/>
                    </a:cubicBezTo>
                    <a:cubicBezTo>
                      <a:pt x="7279" y="6999"/>
                      <a:pt x="7740" y="6985"/>
                      <a:pt x="8301" y="7145"/>
                    </a:cubicBezTo>
                    <a:cubicBezTo>
                      <a:pt x="8622" y="7237"/>
                      <a:pt x="8803" y="7401"/>
                      <a:pt x="8825" y="7618"/>
                    </a:cubicBezTo>
                    <a:cubicBezTo>
                      <a:pt x="8835" y="7725"/>
                      <a:pt x="8806" y="7830"/>
                      <a:pt x="8758" y="7918"/>
                    </a:cubicBezTo>
                    <a:cubicBezTo>
                      <a:pt x="8709" y="8005"/>
                      <a:pt x="8640" y="8076"/>
                      <a:pt x="8571" y="8111"/>
                    </a:cubicBezTo>
                    <a:cubicBezTo>
                      <a:pt x="8540" y="8127"/>
                      <a:pt x="8502" y="8141"/>
                      <a:pt x="8461" y="8153"/>
                    </a:cubicBezTo>
                    <a:cubicBezTo>
                      <a:pt x="8371" y="8180"/>
                      <a:pt x="8259" y="8200"/>
                      <a:pt x="8128" y="8211"/>
                    </a:cubicBezTo>
                    <a:cubicBezTo>
                      <a:pt x="7846" y="8235"/>
                      <a:pt x="7483" y="8223"/>
                      <a:pt x="7099" y="8176"/>
                    </a:cubicBezTo>
                    <a:cubicBezTo>
                      <a:pt x="7067" y="8172"/>
                      <a:pt x="7035" y="8168"/>
                      <a:pt x="7003" y="8164"/>
                    </a:cubicBezTo>
                    <a:cubicBezTo>
                      <a:pt x="6984" y="8161"/>
                      <a:pt x="6965" y="8158"/>
                      <a:pt x="6945" y="8155"/>
                    </a:cubicBezTo>
                    <a:cubicBezTo>
                      <a:pt x="6790" y="8133"/>
                      <a:pt x="6633" y="8105"/>
                      <a:pt x="6477" y="8071"/>
                    </a:cubicBezTo>
                    <a:cubicBezTo>
                      <a:pt x="6423" y="8060"/>
                      <a:pt x="6370" y="8048"/>
                      <a:pt x="6316" y="8035"/>
                    </a:cubicBezTo>
                    <a:cubicBezTo>
                      <a:pt x="6270" y="8024"/>
                      <a:pt x="6226" y="8017"/>
                      <a:pt x="6181" y="8008"/>
                    </a:cubicBezTo>
                    <a:cubicBezTo>
                      <a:pt x="6126" y="7998"/>
                      <a:pt x="6072" y="7990"/>
                      <a:pt x="6020" y="7984"/>
                    </a:cubicBezTo>
                    <a:cubicBezTo>
                      <a:pt x="5990" y="7981"/>
                      <a:pt x="5960" y="7977"/>
                      <a:pt x="5931" y="7975"/>
                    </a:cubicBezTo>
                    <a:cubicBezTo>
                      <a:pt x="5524" y="7946"/>
                      <a:pt x="5206" y="8034"/>
                      <a:pt x="4994" y="8127"/>
                    </a:cubicBezTo>
                    <a:cubicBezTo>
                      <a:pt x="4960" y="8142"/>
                      <a:pt x="4936" y="8168"/>
                      <a:pt x="4918" y="8197"/>
                    </a:cubicBezTo>
                    <a:cubicBezTo>
                      <a:pt x="4888" y="8246"/>
                      <a:pt x="4878" y="8306"/>
                      <a:pt x="4903" y="8363"/>
                    </a:cubicBezTo>
                    <a:cubicBezTo>
                      <a:pt x="4943" y="8452"/>
                      <a:pt x="5048" y="8493"/>
                      <a:pt x="5138" y="8454"/>
                    </a:cubicBezTo>
                    <a:cubicBezTo>
                      <a:pt x="5465" y="8310"/>
                      <a:pt x="5833" y="8286"/>
                      <a:pt x="6233" y="8382"/>
                    </a:cubicBezTo>
                    <a:cubicBezTo>
                      <a:pt x="6732" y="8503"/>
                      <a:pt x="7317" y="8582"/>
                      <a:pt x="7817" y="8582"/>
                    </a:cubicBezTo>
                    <a:cubicBezTo>
                      <a:pt x="8196" y="8582"/>
                      <a:pt x="8527" y="8536"/>
                      <a:pt x="8735" y="8429"/>
                    </a:cubicBezTo>
                    <a:cubicBezTo>
                      <a:pt x="8828" y="8381"/>
                      <a:pt x="8910" y="8308"/>
                      <a:pt x="8978" y="8223"/>
                    </a:cubicBezTo>
                    <a:cubicBezTo>
                      <a:pt x="9279" y="8130"/>
                      <a:pt x="9558" y="8062"/>
                      <a:pt x="9563" y="8061"/>
                    </a:cubicBezTo>
                    <a:cubicBezTo>
                      <a:pt x="9577" y="8057"/>
                      <a:pt x="9590" y="8052"/>
                      <a:pt x="9603" y="8045"/>
                    </a:cubicBezTo>
                    <a:lnTo>
                      <a:pt x="10404" y="7630"/>
                    </a:lnTo>
                    <a:cubicBezTo>
                      <a:pt x="10627" y="7523"/>
                      <a:pt x="10731" y="7601"/>
                      <a:pt x="10766" y="7626"/>
                    </a:cubicBezTo>
                    <a:cubicBezTo>
                      <a:pt x="10877" y="7708"/>
                      <a:pt x="10927" y="7862"/>
                      <a:pt x="10935" y="7937"/>
                    </a:cubicBezTo>
                    <a:cubicBezTo>
                      <a:pt x="10867" y="7990"/>
                      <a:pt x="10749" y="8081"/>
                      <a:pt x="10619" y="8183"/>
                    </a:cubicBezTo>
                    <a:cubicBezTo>
                      <a:pt x="10396" y="8357"/>
                      <a:pt x="10058" y="8621"/>
                      <a:pt x="10018" y="8647"/>
                    </a:cubicBezTo>
                    <a:cubicBezTo>
                      <a:pt x="9989" y="8661"/>
                      <a:pt x="9867" y="8708"/>
                      <a:pt x="9720" y="8765"/>
                    </a:cubicBezTo>
                    <a:cubicBezTo>
                      <a:pt x="9489" y="8855"/>
                      <a:pt x="9201" y="8966"/>
                      <a:pt x="9086" y="9020"/>
                    </a:cubicBezTo>
                    <a:cubicBezTo>
                      <a:pt x="8816" y="9144"/>
                      <a:pt x="8300" y="9346"/>
                      <a:pt x="8196" y="9349"/>
                    </a:cubicBezTo>
                    <a:cubicBezTo>
                      <a:pt x="8024" y="9349"/>
                      <a:pt x="7346" y="9463"/>
                      <a:pt x="6547" y="9626"/>
                    </a:cubicBezTo>
                    <a:cubicBezTo>
                      <a:pt x="5919" y="9754"/>
                      <a:pt x="5696" y="9741"/>
                      <a:pt x="5291" y="9552"/>
                    </a:cubicBezTo>
                    <a:cubicBezTo>
                      <a:pt x="4872" y="9356"/>
                      <a:pt x="2441" y="8613"/>
                      <a:pt x="2148" y="8613"/>
                    </a:cubicBezTo>
                    <a:lnTo>
                      <a:pt x="1979" y="8613"/>
                    </a:lnTo>
                    <a:lnTo>
                      <a:pt x="1979" y="8970"/>
                    </a:lnTo>
                    <a:lnTo>
                      <a:pt x="2146" y="8970"/>
                    </a:lnTo>
                    <a:cubicBezTo>
                      <a:pt x="2378" y="8981"/>
                      <a:pt x="4685" y="9662"/>
                      <a:pt x="5139" y="9875"/>
                    </a:cubicBezTo>
                    <a:cubicBezTo>
                      <a:pt x="5427" y="10010"/>
                      <a:pt x="5655" y="10067"/>
                      <a:pt x="5917" y="10067"/>
                    </a:cubicBezTo>
                    <a:cubicBezTo>
                      <a:pt x="6117" y="10067"/>
                      <a:pt x="6337" y="10034"/>
                      <a:pt x="6619" y="9976"/>
                    </a:cubicBezTo>
                    <a:cubicBezTo>
                      <a:pt x="7530" y="9790"/>
                      <a:pt x="8089" y="9706"/>
                      <a:pt x="8196" y="9706"/>
                    </a:cubicBezTo>
                    <a:cubicBezTo>
                      <a:pt x="8437" y="9706"/>
                      <a:pt x="9228" y="9348"/>
                      <a:pt x="9235" y="9344"/>
                    </a:cubicBezTo>
                    <a:cubicBezTo>
                      <a:pt x="9341" y="9296"/>
                      <a:pt x="9635" y="9181"/>
                      <a:pt x="9849" y="9098"/>
                    </a:cubicBezTo>
                    <a:cubicBezTo>
                      <a:pt x="10069" y="9013"/>
                      <a:pt x="10148" y="8982"/>
                      <a:pt x="10176" y="8967"/>
                    </a:cubicBezTo>
                    <a:cubicBezTo>
                      <a:pt x="10216" y="8947"/>
                      <a:pt x="10303" y="8883"/>
                      <a:pt x="10839" y="8464"/>
                    </a:cubicBezTo>
                    <a:cubicBezTo>
                      <a:pt x="11008" y="8332"/>
                      <a:pt x="11155" y="8217"/>
                      <a:pt x="11194" y="8190"/>
                    </a:cubicBezTo>
                    <a:cubicBezTo>
                      <a:pt x="11364" y="8068"/>
                      <a:pt x="11285" y="7748"/>
                      <a:pt x="11174" y="7560"/>
                    </a:cubicBezTo>
                    <a:close/>
                    <a:moveTo>
                      <a:pt x="0" y="9309"/>
                    </a:moveTo>
                    <a:lnTo>
                      <a:pt x="1630" y="9309"/>
                    </a:lnTo>
                    <a:lnTo>
                      <a:pt x="1630" y="5351"/>
                    </a:lnTo>
                    <a:lnTo>
                      <a:pt x="0" y="5351"/>
                    </a:lnTo>
                    <a:lnTo>
                      <a:pt x="0" y="9309"/>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nvGrpSpPr>
              <p:cNvPr id="201" name="Problem_Based_Learning" descr="{&quot;Key&quot;:&quot;POWER_USER_SHAPE_ICON&quot;,&quot;Value&quot;:&quot;POWER_USER_SHAPE_ICON_STYLE_1&quot;}">
                <a:extLst>
                  <a:ext uri="{FF2B5EF4-FFF2-40B4-BE49-F238E27FC236}">
                    <a16:creationId xmlns:a16="http://schemas.microsoft.com/office/drawing/2014/main" id="{3A39C97A-4E49-4961-809D-9CA2E54D940D}"/>
                  </a:ext>
                </a:extLst>
              </p:cNvPr>
              <p:cNvGrpSpPr>
                <a:grpSpLocks noChangeAspect="1"/>
              </p:cNvGrpSpPr>
              <p:nvPr>
                <p:custDataLst>
                  <p:tags r:id="rId5"/>
                </p:custDataLst>
              </p:nvPr>
            </p:nvGrpSpPr>
            <p:grpSpPr bwMode="auto">
              <a:xfrm>
                <a:off x="7183815" y="778521"/>
                <a:ext cx="172311" cy="185669"/>
                <a:chOff x="7" y="8"/>
                <a:chExt cx="424" cy="471"/>
              </a:xfrm>
              <a:solidFill>
                <a:schemeClr val="bg1"/>
              </a:solidFill>
            </p:grpSpPr>
            <p:sp>
              <p:nvSpPr>
                <p:cNvPr id="208" name="Problem_Based_Learning">
                  <a:extLst>
                    <a:ext uri="{FF2B5EF4-FFF2-40B4-BE49-F238E27FC236}">
                      <a16:creationId xmlns:a16="http://schemas.microsoft.com/office/drawing/2014/main" id="{79A470E1-1935-4F77-9202-DB4E47C236FE}"/>
                    </a:ext>
                  </a:extLst>
                </p:cNvPr>
                <p:cNvSpPr>
                  <a:spLocks/>
                </p:cNvSpPr>
                <p:nvPr>
                  <p:custDataLst>
                    <p:tags r:id="rId6"/>
                  </p:custDataLst>
                </p:nvPr>
              </p:nvSpPr>
              <p:spPr bwMode="auto">
                <a:xfrm>
                  <a:off x="214" y="8"/>
                  <a:ext cx="20" cy="69"/>
                </a:xfrm>
                <a:custGeom>
                  <a:avLst/>
                  <a:gdLst>
                    <a:gd name="T0" fmla="*/ 26 w 52"/>
                    <a:gd name="T1" fmla="*/ 183 h 183"/>
                    <a:gd name="T2" fmla="*/ 0 w 52"/>
                    <a:gd name="T3" fmla="*/ 156 h 183"/>
                    <a:gd name="T4" fmla="*/ 0 w 52"/>
                    <a:gd name="T5" fmla="*/ 26 h 183"/>
                    <a:gd name="T6" fmla="*/ 26 w 52"/>
                    <a:gd name="T7" fmla="*/ 0 h 183"/>
                    <a:gd name="T8" fmla="*/ 52 w 52"/>
                    <a:gd name="T9" fmla="*/ 26 h 183"/>
                    <a:gd name="T10" fmla="*/ 52 w 52"/>
                    <a:gd name="T11" fmla="*/ 156 h 183"/>
                    <a:gd name="T12" fmla="*/ 26 w 52"/>
                    <a:gd name="T13" fmla="*/ 183 h 183"/>
                  </a:gdLst>
                  <a:ahLst/>
                  <a:cxnLst>
                    <a:cxn ang="0">
                      <a:pos x="T0" y="T1"/>
                    </a:cxn>
                    <a:cxn ang="0">
                      <a:pos x="T2" y="T3"/>
                    </a:cxn>
                    <a:cxn ang="0">
                      <a:pos x="T4" y="T5"/>
                    </a:cxn>
                    <a:cxn ang="0">
                      <a:pos x="T6" y="T7"/>
                    </a:cxn>
                    <a:cxn ang="0">
                      <a:pos x="T8" y="T9"/>
                    </a:cxn>
                    <a:cxn ang="0">
                      <a:pos x="T10" y="T11"/>
                    </a:cxn>
                    <a:cxn ang="0">
                      <a:pos x="T12" y="T13"/>
                    </a:cxn>
                  </a:cxnLst>
                  <a:rect l="0" t="0" r="r" b="b"/>
                  <a:pathLst>
                    <a:path w="52" h="183">
                      <a:moveTo>
                        <a:pt x="26" y="183"/>
                      </a:moveTo>
                      <a:cubicBezTo>
                        <a:pt x="11" y="183"/>
                        <a:pt x="0" y="171"/>
                        <a:pt x="0" y="156"/>
                      </a:cubicBezTo>
                      <a:lnTo>
                        <a:pt x="0" y="26"/>
                      </a:lnTo>
                      <a:cubicBezTo>
                        <a:pt x="0" y="12"/>
                        <a:pt x="11" y="0"/>
                        <a:pt x="26" y="0"/>
                      </a:cubicBezTo>
                      <a:cubicBezTo>
                        <a:pt x="40" y="0"/>
                        <a:pt x="52" y="12"/>
                        <a:pt x="52" y="26"/>
                      </a:cubicBezTo>
                      <a:lnTo>
                        <a:pt x="52" y="156"/>
                      </a:lnTo>
                      <a:cubicBezTo>
                        <a:pt x="52" y="171"/>
                        <a:pt x="40" y="183"/>
                        <a:pt x="26" y="183"/>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noProof="0">
                    <a:ln>
                      <a:noFill/>
                    </a:ln>
                    <a:solidFill>
                      <a:prstClr val="black"/>
                    </a:solidFill>
                    <a:effectLst/>
                    <a:uLnTx/>
                    <a:uFillTx/>
                    <a:latin typeface="Calibri" panose="020F0502020204030204"/>
                    <a:ea typeface="+mn-ea"/>
                    <a:cs typeface="+mn-cs"/>
                  </a:endParaRPr>
                </a:p>
              </p:txBody>
            </p:sp>
            <p:sp>
              <p:nvSpPr>
                <p:cNvPr id="237" name="Problem_Based_Learning">
                  <a:extLst>
                    <a:ext uri="{FF2B5EF4-FFF2-40B4-BE49-F238E27FC236}">
                      <a16:creationId xmlns:a16="http://schemas.microsoft.com/office/drawing/2014/main" id="{A0314CBE-8932-4F95-826F-41032AFBF642}"/>
                    </a:ext>
                  </a:extLst>
                </p:cNvPr>
                <p:cNvSpPr>
                  <a:spLocks/>
                </p:cNvSpPr>
                <p:nvPr>
                  <p:custDataLst>
                    <p:tags r:id="rId7"/>
                  </p:custDataLst>
                </p:nvPr>
              </p:nvSpPr>
              <p:spPr bwMode="auto">
                <a:xfrm>
                  <a:off x="301" y="46"/>
                  <a:ext cx="51" cy="60"/>
                </a:xfrm>
                <a:custGeom>
                  <a:avLst/>
                  <a:gdLst>
                    <a:gd name="T0" fmla="*/ 29 w 137"/>
                    <a:gd name="T1" fmla="*/ 160 h 160"/>
                    <a:gd name="T2" fmla="*/ 14 w 137"/>
                    <a:gd name="T3" fmla="*/ 155 h 160"/>
                    <a:gd name="T4" fmla="*/ 9 w 137"/>
                    <a:gd name="T5" fmla="*/ 118 h 160"/>
                    <a:gd name="T6" fmla="*/ 87 w 137"/>
                    <a:gd name="T7" fmla="*/ 14 h 160"/>
                    <a:gd name="T8" fmla="*/ 123 w 137"/>
                    <a:gd name="T9" fmla="*/ 9 h 160"/>
                    <a:gd name="T10" fmla="*/ 128 w 137"/>
                    <a:gd name="T11" fmla="*/ 45 h 160"/>
                    <a:gd name="T12" fmla="*/ 50 w 137"/>
                    <a:gd name="T13" fmla="*/ 149 h 160"/>
                    <a:gd name="T14" fmla="*/ 29 w 137"/>
                    <a:gd name="T15" fmla="*/ 160 h 16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7" h="160">
                      <a:moveTo>
                        <a:pt x="29" y="160"/>
                      </a:moveTo>
                      <a:cubicBezTo>
                        <a:pt x="24" y="160"/>
                        <a:pt x="18" y="158"/>
                        <a:pt x="14" y="155"/>
                      </a:cubicBezTo>
                      <a:cubicBezTo>
                        <a:pt x="2" y="146"/>
                        <a:pt x="0" y="130"/>
                        <a:pt x="9" y="118"/>
                      </a:cubicBezTo>
                      <a:lnTo>
                        <a:pt x="87" y="14"/>
                      </a:lnTo>
                      <a:cubicBezTo>
                        <a:pt x="95" y="2"/>
                        <a:pt x="112" y="0"/>
                        <a:pt x="123" y="9"/>
                      </a:cubicBezTo>
                      <a:cubicBezTo>
                        <a:pt x="135" y="17"/>
                        <a:pt x="137" y="34"/>
                        <a:pt x="128" y="45"/>
                      </a:cubicBezTo>
                      <a:lnTo>
                        <a:pt x="50" y="149"/>
                      </a:lnTo>
                      <a:cubicBezTo>
                        <a:pt x="45" y="156"/>
                        <a:pt x="37" y="160"/>
                        <a:pt x="29" y="16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noProof="0">
                    <a:ln>
                      <a:noFill/>
                    </a:ln>
                    <a:solidFill>
                      <a:prstClr val="black"/>
                    </a:solidFill>
                    <a:effectLst/>
                    <a:uLnTx/>
                    <a:uFillTx/>
                    <a:latin typeface="Calibri" panose="020F0502020204030204"/>
                    <a:ea typeface="+mn-ea"/>
                    <a:cs typeface="+mn-cs"/>
                  </a:endParaRPr>
                </a:p>
              </p:txBody>
            </p:sp>
            <p:sp>
              <p:nvSpPr>
                <p:cNvPr id="239" name="Problem_Based_Learning">
                  <a:extLst>
                    <a:ext uri="{FF2B5EF4-FFF2-40B4-BE49-F238E27FC236}">
                      <a16:creationId xmlns:a16="http://schemas.microsoft.com/office/drawing/2014/main" id="{B30C3E34-6D87-4A21-AB9A-CB092CD70BB7}"/>
                    </a:ext>
                  </a:extLst>
                </p:cNvPr>
                <p:cNvSpPr>
                  <a:spLocks/>
                </p:cNvSpPr>
                <p:nvPr>
                  <p:custDataLst>
                    <p:tags r:id="rId8"/>
                  </p:custDataLst>
                </p:nvPr>
              </p:nvSpPr>
              <p:spPr bwMode="auto">
                <a:xfrm>
                  <a:off x="85" y="46"/>
                  <a:ext cx="52" cy="60"/>
                </a:xfrm>
                <a:custGeom>
                  <a:avLst/>
                  <a:gdLst>
                    <a:gd name="T0" fmla="*/ 108 w 137"/>
                    <a:gd name="T1" fmla="*/ 160 h 160"/>
                    <a:gd name="T2" fmla="*/ 87 w 137"/>
                    <a:gd name="T3" fmla="*/ 149 h 160"/>
                    <a:gd name="T4" fmla="*/ 9 w 137"/>
                    <a:gd name="T5" fmla="*/ 45 h 160"/>
                    <a:gd name="T6" fmla="*/ 14 w 137"/>
                    <a:gd name="T7" fmla="*/ 9 h 160"/>
                    <a:gd name="T8" fmla="*/ 51 w 137"/>
                    <a:gd name="T9" fmla="*/ 14 h 160"/>
                    <a:gd name="T10" fmla="*/ 129 w 137"/>
                    <a:gd name="T11" fmla="*/ 118 h 160"/>
                    <a:gd name="T12" fmla="*/ 124 w 137"/>
                    <a:gd name="T13" fmla="*/ 155 h 160"/>
                    <a:gd name="T14" fmla="*/ 108 w 137"/>
                    <a:gd name="T15" fmla="*/ 160 h 16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7" h="160">
                      <a:moveTo>
                        <a:pt x="108" y="160"/>
                      </a:moveTo>
                      <a:cubicBezTo>
                        <a:pt x="100" y="160"/>
                        <a:pt x="92" y="156"/>
                        <a:pt x="87" y="149"/>
                      </a:cubicBezTo>
                      <a:lnTo>
                        <a:pt x="9" y="45"/>
                      </a:lnTo>
                      <a:cubicBezTo>
                        <a:pt x="0" y="34"/>
                        <a:pt x="3" y="17"/>
                        <a:pt x="14" y="9"/>
                      </a:cubicBezTo>
                      <a:cubicBezTo>
                        <a:pt x="26" y="0"/>
                        <a:pt x="42" y="2"/>
                        <a:pt x="51" y="14"/>
                      </a:cubicBezTo>
                      <a:lnTo>
                        <a:pt x="129" y="118"/>
                      </a:lnTo>
                      <a:cubicBezTo>
                        <a:pt x="137" y="130"/>
                        <a:pt x="135" y="146"/>
                        <a:pt x="124" y="155"/>
                      </a:cubicBezTo>
                      <a:cubicBezTo>
                        <a:pt x="119" y="158"/>
                        <a:pt x="113" y="160"/>
                        <a:pt x="108" y="16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noProof="0">
                    <a:ln>
                      <a:noFill/>
                    </a:ln>
                    <a:solidFill>
                      <a:prstClr val="black"/>
                    </a:solidFill>
                    <a:effectLst/>
                    <a:uLnTx/>
                    <a:uFillTx/>
                    <a:latin typeface="Calibri" panose="020F0502020204030204"/>
                    <a:ea typeface="+mn-ea"/>
                    <a:cs typeface="+mn-cs"/>
                  </a:endParaRPr>
                </a:p>
              </p:txBody>
            </p:sp>
            <p:sp>
              <p:nvSpPr>
                <p:cNvPr id="240" name="Problem_Based_Learning">
                  <a:extLst>
                    <a:ext uri="{FF2B5EF4-FFF2-40B4-BE49-F238E27FC236}">
                      <a16:creationId xmlns:a16="http://schemas.microsoft.com/office/drawing/2014/main" id="{FE630581-17AD-4F30-BF64-50E1B1625118}"/>
                    </a:ext>
                  </a:extLst>
                </p:cNvPr>
                <p:cNvSpPr>
                  <a:spLocks/>
                </p:cNvSpPr>
                <p:nvPr>
                  <p:custDataLst>
                    <p:tags r:id="rId9"/>
                  </p:custDataLst>
                </p:nvPr>
              </p:nvSpPr>
              <p:spPr bwMode="auto">
                <a:xfrm>
                  <a:off x="7" y="134"/>
                  <a:ext cx="61" cy="41"/>
                </a:xfrm>
                <a:custGeom>
                  <a:avLst/>
                  <a:gdLst>
                    <a:gd name="T0" fmla="*/ 134 w 164"/>
                    <a:gd name="T1" fmla="*/ 108 h 108"/>
                    <a:gd name="T2" fmla="*/ 123 w 164"/>
                    <a:gd name="T3" fmla="*/ 106 h 108"/>
                    <a:gd name="T4" fmla="*/ 18 w 164"/>
                    <a:gd name="T5" fmla="*/ 53 h 108"/>
                    <a:gd name="T6" fmla="*/ 7 w 164"/>
                    <a:gd name="T7" fmla="*/ 18 h 108"/>
                    <a:gd name="T8" fmla="*/ 42 w 164"/>
                    <a:gd name="T9" fmla="*/ 7 h 108"/>
                    <a:gd name="T10" fmla="*/ 146 w 164"/>
                    <a:gd name="T11" fmla="*/ 59 h 108"/>
                    <a:gd name="T12" fmla="*/ 158 w 164"/>
                    <a:gd name="T13" fmla="*/ 94 h 108"/>
                    <a:gd name="T14" fmla="*/ 134 w 164"/>
                    <a:gd name="T15" fmla="*/ 108 h 1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4" h="108">
                      <a:moveTo>
                        <a:pt x="134" y="108"/>
                      </a:moveTo>
                      <a:cubicBezTo>
                        <a:pt x="130" y="108"/>
                        <a:pt x="126" y="107"/>
                        <a:pt x="123" y="106"/>
                      </a:cubicBezTo>
                      <a:lnTo>
                        <a:pt x="18" y="53"/>
                      </a:lnTo>
                      <a:cubicBezTo>
                        <a:pt x="6" y="47"/>
                        <a:pt x="0" y="31"/>
                        <a:pt x="7" y="18"/>
                      </a:cubicBezTo>
                      <a:cubicBezTo>
                        <a:pt x="13" y="6"/>
                        <a:pt x="29" y="0"/>
                        <a:pt x="42" y="7"/>
                      </a:cubicBezTo>
                      <a:lnTo>
                        <a:pt x="146" y="59"/>
                      </a:lnTo>
                      <a:cubicBezTo>
                        <a:pt x="159" y="65"/>
                        <a:pt x="164" y="81"/>
                        <a:pt x="158" y="94"/>
                      </a:cubicBezTo>
                      <a:cubicBezTo>
                        <a:pt x="153" y="103"/>
                        <a:pt x="144" y="108"/>
                        <a:pt x="134" y="108"/>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noProof="0">
                    <a:ln>
                      <a:noFill/>
                    </a:ln>
                    <a:solidFill>
                      <a:prstClr val="black"/>
                    </a:solidFill>
                    <a:effectLst/>
                    <a:uLnTx/>
                    <a:uFillTx/>
                    <a:latin typeface="Calibri" panose="020F0502020204030204"/>
                    <a:ea typeface="+mn-ea"/>
                    <a:cs typeface="+mn-cs"/>
                  </a:endParaRPr>
                </a:p>
              </p:txBody>
            </p:sp>
            <p:sp>
              <p:nvSpPr>
                <p:cNvPr id="241" name="Problem_Based_Learning">
                  <a:extLst>
                    <a:ext uri="{FF2B5EF4-FFF2-40B4-BE49-F238E27FC236}">
                      <a16:creationId xmlns:a16="http://schemas.microsoft.com/office/drawing/2014/main" id="{0360144B-A4DE-46CE-AC8A-57BB2E13E4D7}"/>
                    </a:ext>
                  </a:extLst>
                </p:cNvPr>
                <p:cNvSpPr>
                  <a:spLocks/>
                </p:cNvSpPr>
                <p:nvPr>
                  <p:custDataLst>
                    <p:tags r:id="rId10"/>
                  </p:custDataLst>
                </p:nvPr>
              </p:nvSpPr>
              <p:spPr bwMode="auto">
                <a:xfrm>
                  <a:off x="369" y="134"/>
                  <a:ext cx="62" cy="41"/>
                </a:xfrm>
                <a:custGeom>
                  <a:avLst/>
                  <a:gdLst>
                    <a:gd name="T0" fmla="*/ 30 w 164"/>
                    <a:gd name="T1" fmla="*/ 108 h 108"/>
                    <a:gd name="T2" fmla="*/ 7 w 164"/>
                    <a:gd name="T3" fmla="*/ 94 h 108"/>
                    <a:gd name="T4" fmla="*/ 18 w 164"/>
                    <a:gd name="T5" fmla="*/ 59 h 108"/>
                    <a:gd name="T6" fmla="*/ 123 w 164"/>
                    <a:gd name="T7" fmla="*/ 7 h 108"/>
                    <a:gd name="T8" fmla="*/ 158 w 164"/>
                    <a:gd name="T9" fmla="*/ 18 h 108"/>
                    <a:gd name="T10" fmla="*/ 146 w 164"/>
                    <a:gd name="T11" fmla="*/ 53 h 108"/>
                    <a:gd name="T12" fmla="*/ 42 w 164"/>
                    <a:gd name="T13" fmla="*/ 106 h 108"/>
                    <a:gd name="T14" fmla="*/ 30 w 164"/>
                    <a:gd name="T15" fmla="*/ 108 h 1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4" h="108">
                      <a:moveTo>
                        <a:pt x="30" y="108"/>
                      </a:moveTo>
                      <a:cubicBezTo>
                        <a:pt x="20" y="108"/>
                        <a:pt x="11" y="103"/>
                        <a:pt x="7" y="94"/>
                      </a:cubicBezTo>
                      <a:cubicBezTo>
                        <a:pt x="0" y="81"/>
                        <a:pt x="5" y="65"/>
                        <a:pt x="18" y="59"/>
                      </a:cubicBezTo>
                      <a:lnTo>
                        <a:pt x="123" y="7"/>
                      </a:lnTo>
                      <a:cubicBezTo>
                        <a:pt x="135" y="0"/>
                        <a:pt x="151" y="6"/>
                        <a:pt x="158" y="18"/>
                      </a:cubicBezTo>
                      <a:cubicBezTo>
                        <a:pt x="164" y="31"/>
                        <a:pt x="159" y="47"/>
                        <a:pt x="146" y="53"/>
                      </a:cubicBezTo>
                      <a:lnTo>
                        <a:pt x="42" y="106"/>
                      </a:lnTo>
                      <a:cubicBezTo>
                        <a:pt x="38" y="107"/>
                        <a:pt x="34" y="108"/>
                        <a:pt x="30" y="108"/>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noProof="0">
                    <a:ln>
                      <a:noFill/>
                    </a:ln>
                    <a:solidFill>
                      <a:prstClr val="black"/>
                    </a:solidFill>
                    <a:effectLst/>
                    <a:uLnTx/>
                    <a:uFillTx/>
                    <a:latin typeface="Calibri" panose="020F0502020204030204"/>
                    <a:ea typeface="+mn-ea"/>
                    <a:cs typeface="+mn-cs"/>
                  </a:endParaRPr>
                </a:p>
              </p:txBody>
            </p:sp>
            <p:sp>
              <p:nvSpPr>
                <p:cNvPr id="242" name="Problem_Based_Learning">
                  <a:extLst>
                    <a:ext uri="{FF2B5EF4-FFF2-40B4-BE49-F238E27FC236}">
                      <a16:creationId xmlns:a16="http://schemas.microsoft.com/office/drawing/2014/main" id="{43A23621-3F70-4A2C-B31D-797DB94F1203}"/>
                    </a:ext>
                  </a:extLst>
                </p:cNvPr>
                <p:cNvSpPr>
                  <a:spLocks noEditPoints="1"/>
                </p:cNvSpPr>
                <p:nvPr>
                  <p:custDataLst>
                    <p:tags r:id="rId11"/>
                  </p:custDataLst>
                </p:nvPr>
              </p:nvSpPr>
              <p:spPr bwMode="auto">
                <a:xfrm>
                  <a:off x="87" y="106"/>
                  <a:ext cx="303" cy="373"/>
                </a:xfrm>
                <a:custGeom>
                  <a:avLst/>
                  <a:gdLst>
                    <a:gd name="T0" fmla="*/ 730 w 808"/>
                    <a:gd name="T1" fmla="*/ 391 h 989"/>
                    <a:gd name="T2" fmla="*/ 730 w 808"/>
                    <a:gd name="T3" fmla="*/ 365 h 989"/>
                    <a:gd name="T4" fmla="*/ 365 w 808"/>
                    <a:gd name="T5" fmla="*/ 0 h 989"/>
                    <a:gd name="T6" fmla="*/ 0 w 808"/>
                    <a:gd name="T7" fmla="*/ 365 h 989"/>
                    <a:gd name="T8" fmla="*/ 78 w 808"/>
                    <a:gd name="T9" fmla="*/ 590 h 989"/>
                    <a:gd name="T10" fmla="*/ 78 w 808"/>
                    <a:gd name="T11" fmla="*/ 989 h 989"/>
                    <a:gd name="T12" fmla="*/ 547 w 808"/>
                    <a:gd name="T13" fmla="*/ 989 h 989"/>
                    <a:gd name="T14" fmla="*/ 547 w 808"/>
                    <a:gd name="T15" fmla="*/ 860 h 989"/>
                    <a:gd name="T16" fmla="*/ 704 w 808"/>
                    <a:gd name="T17" fmla="*/ 704 h 989"/>
                    <a:gd name="T18" fmla="*/ 704 w 808"/>
                    <a:gd name="T19" fmla="*/ 626 h 989"/>
                    <a:gd name="T20" fmla="*/ 782 w 808"/>
                    <a:gd name="T21" fmla="*/ 626 h 989"/>
                    <a:gd name="T22" fmla="*/ 808 w 808"/>
                    <a:gd name="T23" fmla="*/ 600 h 989"/>
                    <a:gd name="T24" fmla="*/ 730 w 808"/>
                    <a:gd name="T25" fmla="*/ 391 h 989"/>
                    <a:gd name="T26" fmla="*/ 587 w 808"/>
                    <a:gd name="T27" fmla="*/ 387 h 989"/>
                    <a:gd name="T28" fmla="*/ 547 w 808"/>
                    <a:gd name="T29" fmla="*/ 365 h 989"/>
                    <a:gd name="T30" fmla="*/ 522 w 808"/>
                    <a:gd name="T31" fmla="*/ 385 h 989"/>
                    <a:gd name="T32" fmla="*/ 520 w 808"/>
                    <a:gd name="T33" fmla="*/ 474 h 989"/>
                    <a:gd name="T34" fmla="*/ 410 w 808"/>
                    <a:gd name="T35" fmla="*/ 473 h 989"/>
                    <a:gd name="T36" fmla="*/ 390 w 808"/>
                    <a:gd name="T37" fmla="*/ 449 h 989"/>
                    <a:gd name="T38" fmla="*/ 412 w 808"/>
                    <a:gd name="T39" fmla="*/ 409 h 989"/>
                    <a:gd name="T40" fmla="*/ 368 w 808"/>
                    <a:gd name="T41" fmla="*/ 364 h 989"/>
                    <a:gd name="T42" fmla="*/ 325 w 808"/>
                    <a:gd name="T43" fmla="*/ 409 h 989"/>
                    <a:gd name="T44" fmla="*/ 347 w 808"/>
                    <a:gd name="T45" fmla="*/ 449 h 989"/>
                    <a:gd name="T46" fmla="*/ 326 w 808"/>
                    <a:gd name="T47" fmla="*/ 473 h 989"/>
                    <a:gd name="T48" fmla="*/ 214 w 808"/>
                    <a:gd name="T49" fmla="*/ 474 h 989"/>
                    <a:gd name="T50" fmla="*/ 213 w 808"/>
                    <a:gd name="T51" fmla="*/ 385 h 989"/>
                    <a:gd name="T52" fmla="*/ 188 w 808"/>
                    <a:gd name="T53" fmla="*/ 365 h 989"/>
                    <a:gd name="T54" fmla="*/ 148 w 808"/>
                    <a:gd name="T55" fmla="*/ 387 h 989"/>
                    <a:gd name="T56" fmla="*/ 104 w 808"/>
                    <a:gd name="T57" fmla="*/ 344 h 989"/>
                    <a:gd name="T58" fmla="*/ 148 w 808"/>
                    <a:gd name="T59" fmla="*/ 300 h 989"/>
                    <a:gd name="T60" fmla="*/ 188 w 808"/>
                    <a:gd name="T61" fmla="*/ 322 h 989"/>
                    <a:gd name="T62" fmla="*/ 213 w 808"/>
                    <a:gd name="T63" fmla="*/ 302 h 989"/>
                    <a:gd name="T64" fmla="*/ 216 w 808"/>
                    <a:gd name="T65" fmla="*/ 213 h 989"/>
                    <a:gd name="T66" fmla="*/ 326 w 808"/>
                    <a:gd name="T67" fmla="*/ 203 h 989"/>
                    <a:gd name="T68" fmla="*/ 347 w 808"/>
                    <a:gd name="T69" fmla="*/ 227 h 989"/>
                    <a:gd name="T70" fmla="*/ 325 w 808"/>
                    <a:gd name="T71" fmla="*/ 267 h 989"/>
                    <a:gd name="T72" fmla="*/ 368 w 808"/>
                    <a:gd name="T73" fmla="*/ 312 h 989"/>
                    <a:gd name="T74" fmla="*/ 412 w 808"/>
                    <a:gd name="T75" fmla="*/ 267 h 989"/>
                    <a:gd name="T76" fmla="*/ 390 w 808"/>
                    <a:gd name="T77" fmla="*/ 227 h 989"/>
                    <a:gd name="T78" fmla="*/ 410 w 808"/>
                    <a:gd name="T79" fmla="*/ 203 h 989"/>
                    <a:gd name="T80" fmla="*/ 521 w 808"/>
                    <a:gd name="T81" fmla="*/ 213 h 989"/>
                    <a:gd name="T82" fmla="*/ 522 w 808"/>
                    <a:gd name="T83" fmla="*/ 302 h 989"/>
                    <a:gd name="T84" fmla="*/ 547 w 808"/>
                    <a:gd name="T85" fmla="*/ 322 h 989"/>
                    <a:gd name="T86" fmla="*/ 587 w 808"/>
                    <a:gd name="T87" fmla="*/ 300 h 989"/>
                    <a:gd name="T88" fmla="*/ 631 w 808"/>
                    <a:gd name="T89" fmla="*/ 344 h 989"/>
                    <a:gd name="T90" fmla="*/ 587 w 808"/>
                    <a:gd name="T91" fmla="*/ 387 h 9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8" h="989">
                      <a:moveTo>
                        <a:pt x="730" y="391"/>
                      </a:moveTo>
                      <a:lnTo>
                        <a:pt x="730" y="365"/>
                      </a:lnTo>
                      <a:cubicBezTo>
                        <a:pt x="730" y="163"/>
                        <a:pt x="566" y="0"/>
                        <a:pt x="365" y="0"/>
                      </a:cubicBezTo>
                      <a:cubicBezTo>
                        <a:pt x="163" y="0"/>
                        <a:pt x="0" y="163"/>
                        <a:pt x="0" y="365"/>
                      </a:cubicBezTo>
                      <a:cubicBezTo>
                        <a:pt x="0" y="450"/>
                        <a:pt x="29" y="528"/>
                        <a:pt x="78" y="590"/>
                      </a:cubicBezTo>
                      <a:lnTo>
                        <a:pt x="78" y="989"/>
                      </a:lnTo>
                      <a:lnTo>
                        <a:pt x="547" y="989"/>
                      </a:lnTo>
                      <a:lnTo>
                        <a:pt x="547" y="860"/>
                      </a:lnTo>
                      <a:cubicBezTo>
                        <a:pt x="634" y="860"/>
                        <a:pt x="704" y="790"/>
                        <a:pt x="704" y="704"/>
                      </a:cubicBezTo>
                      <a:lnTo>
                        <a:pt x="704" y="626"/>
                      </a:lnTo>
                      <a:lnTo>
                        <a:pt x="782" y="626"/>
                      </a:lnTo>
                      <a:cubicBezTo>
                        <a:pt x="796" y="626"/>
                        <a:pt x="808" y="614"/>
                        <a:pt x="808" y="600"/>
                      </a:cubicBezTo>
                      <a:cubicBezTo>
                        <a:pt x="808" y="593"/>
                        <a:pt x="730" y="391"/>
                        <a:pt x="730" y="391"/>
                      </a:cubicBezTo>
                      <a:close/>
                      <a:moveTo>
                        <a:pt x="587" y="387"/>
                      </a:moveTo>
                      <a:cubicBezTo>
                        <a:pt x="562" y="381"/>
                        <a:pt x="566" y="365"/>
                        <a:pt x="547" y="365"/>
                      </a:cubicBezTo>
                      <a:cubicBezTo>
                        <a:pt x="528" y="365"/>
                        <a:pt x="524" y="378"/>
                        <a:pt x="522" y="385"/>
                      </a:cubicBezTo>
                      <a:cubicBezTo>
                        <a:pt x="519" y="407"/>
                        <a:pt x="520" y="474"/>
                        <a:pt x="520" y="474"/>
                      </a:cubicBezTo>
                      <a:cubicBezTo>
                        <a:pt x="520" y="474"/>
                        <a:pt x="432" y="477"/>
                        <a:pt x="410" y="473"/>
                      </a:cubicBezTo>
                      <a:cubicBezTo>
                        <a:pt x="402" y="472"/>
                        <a:pt x="390" y="468"/>
                        <a:pt x="390" y="449"/>
                      </a:cubicBezTo>
                      <a:cubicBezTo>
                        <a:pt x="390" y="430"/>
                        <a:pt x="406" y="434"/>
                        <a:pt x="412" y="409"/>
                      </a:cubicBezTo>
                      <a:cubicBezTo>
                        <a:pt x="414" y="383"/>
                        <a:pt x="392" y="364"/>
                        <a:pt x="368" y="364"/>
                      </a:cubicBezTo>
                      <a:cubicBezTo>
                        <a:pt x="344" y="364"/>
                        <a:pt x="323" y="383"/>
                        <a:pt x="325" y="409"/>
                      </a:cubicBezTo>
                      <a:cubicBezTo>
                        <a:pt x="331" y="434"/>
                        <a:pt x="347" y="430"/>
                        <a:pt x="347" y="449"/>
                      </a:cubicBezTo>
                      <a:cubicBezTo>
                        <a:pt x="347" y="468"/>
                        <a:pt x="334" y="472"/>
                        <a:pt x="326" y="473"/>
                      </a:cubicBezTo>
                      <a:cubicBezTo>
                        <a:pt x="305" y="477"/>
                        <a:pt x="214" y="474"/>
                        <a:pt x="214" y="474"/>
                      </a:cubicBezTo>
                      <a:cubicBezTo>
                        <a:pt x="214" y="474"/>
                        <a:pt x="216" y="407"/>
                        <a:pt x="213" y="385"/>
                      </a:cubicBezTo>
                      <a:cubicBezTo>
                        <a:pt x="212" y="377"/>
                        <a:pt x="207" y="365"/>
                        <a:pt x="188" y="365"/>
                      </a:cubicBezTo>
                      <a:cubicBezTo>
                        <a:pt x="169" y="365"/>
                        <a:pt x="174" y="381"/>
                        <a:pt x="148" y="387"/>
                      </a:cubicBezTo>
                      <a:cubicBezTo>
                        <a:pt x="123" y="389"/>
                        <a:pt x="104" y="368"/>
                        <a:pt x="104" y="344"/>
                      </a:cubicBezTo>
                      <a:cubicBezTo>
                        <a:pt x="104" y="319"/>
                        <a:pt x="123" y="298"/>
                        <a:pt x="148" y="300"/>
                      </a:cubicBezTo>
                      <a:cubicBezTo>
                        <a:pt x="174" y="306"/>
                        <a:pt x="169" y="322"/>
                        <a:pt x="188" y="322"/>
                      </a:cubicBezTo>
                      <a:cubicBezTo>
                        <a:pt x="207" y="322"/>
                        <a:pt x="212" y="310"/>
                        <a:pt x="213" y="302"/>
                      </a:cubicBezTo>
                      <a:cubicBezTo>
                        <a:pt x="216" y="280"/>
                        <a:pt x="216" y="213"/>
                        <a:pt x="216" y="213"/>
                      </a:cubicBezTo>
                      <a:cubicBezTo>
                        <a:pt x="216" y="213"/>
                        <a:pt x="305" y="199"/>
                        <a:pt x="326" y="203"/>
                      </a:cubicBezTo>
                      <a:cubicBezTo>
                        <a:pt x="334" y="204"/>
                        <a:pt x="347" y="208"/>
                        <a:pt x="347" y="227"/>
                      </a:cubicBezTo>
                      <a:cubicBezTo>
                        <a:pt x="347" y="246"/>
                        <a:pt x="331" y="242"/>
                        <a:pt x="325" y="267"/>
                      </a:cubicBezTo>
                      <a:cubicBezTo>
                        <a:pt x="323" y="293"/>
                        <a:pt x="344" y="312"/>
                        <a:pt x="368" y="312"/>
                      </a:cubicBezTo>
                      <a:cubicBezTo>
                        <a:pt x="392" y="312"/>
                        <a:pt x="414" y="293"/>
                        <a:pt x="412" y="267"/>
                      </a:cubicBezTo>
                      <a:cubicBezTo>
                        <a:pt x="406" y="242"/>
                        <a:pt x="390" y="246"/>
                        <a:pt x="390" y="227"/>
                      </a:cubicBezTo>
                      <a:cubicBezTo>
                        <a:pt x="390" y="208"/>
                        <a:pt x="402" y="204"/>
                        <a:pt x="410" y="203"/>
                      </a:cubicBezTo>
                      <a:cubicBezTo>
                        <a:pt x="432" y="199"/>
                        <a:pt x="521" y="213"/>
                        <a:pt x="521" y="213"/>
                      </a:cubicBezTo>
                      <a:cubicBezTo>
                        <a:pt x="521" y="213"/>
                        <a:pt x="519" y="280"/>
                        <a:pt x="522" y="302"/>
                      </a:cubicBezTo>
                      <a:cubicBezTo>
                        <a:pt x="524" y="310"/>
                        <a:pt x="528" y="322"/>
                        <a:pt x="547" y="322"/>
                      </a:cubicBezTo>
                      <a:cubicBezTo>
                        <a:pt x="566" y="322"/>
                        <a:pt x="562" y="306"/>
                        <a:pt x="587" y="300"/>
                      </a:cubicBezTo>
                      <a:cubicBezTo>
                        <a:pt x="613" y="298"/>
                        <a:pt x="631" y="319"/>
                        <a:pt x="631" y="344"/>
                      </a:cubicBezTo>
                      <a:cubicBezTo>
                        <a:pt x="631" y="368"/>
                        <a:pt x="613" y="389"/>
                        <a:pt x="587" y="387"/>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noProof="0">
                    <a:ln>
                      <a:noFill/>
                    </a:ln>
                    <a:solidFill>
                      <a:prstClr val="black"/>
                    </a:solidFill>
                    <a:effectLst/>
                    <a:uLnTx/>
                    <a:uFillTx/>
                    <a:latin typeface="Calibri" panose="020F0502020204030204"/>
                    <a:ea typeface="+mn-ea"/>
                    <a:cs typeface="+mn-cs"/>
                  </a:endParaRPr>
                </a:p>
              </p:txBody>
            </p:sp>
          </p:grpSp>
        </p:grpSp>
      </p:grpSp>
      <p:pic>
        <p:nvPicPr>
          <p:cNvPr id="9" name="Paginanummer Seinpost">
            <a:extLst>
              <a:ext uri="{FF2B5EF4-FFF2-40B4-BE49-F238E27FC236}">
                <a16:creationId xmlns:a16="http://schemas.microsoft.com/office/drawing/2014/main" id="{4709E8D0-31BE-4723-B25C-2A1CF0FE8849}"/>
              </a:ext>
            </a:extLst>
          </p:cNvPr>
          <p:cNvPicPr>
            <a:picLocks noChangeAspect="1"/>
          </p:cNvPicPr>
          <p:nvPr>
            <p:custDataLst>
              <p:tags r:id="rId2"/>
            </p:custDataLst>
          </p:nvPr>
        </p:nvPicPr>
        <p:blipFill>
          <a:blip r:embed="rId56">
            <a:extLst>
              <a:ext uri="{28A0092B-C50C-407E-A947-70E740481C1C}">
                <a14:useLocalDpi xmlns:a14="http://schemas.microsoft.com/office/drawing/2010/main" val="0"/>
              </a:ext>
            </a:extLst>
          </a:blip>
          <a:stretch>
            <a:fillRect/>
          </a:stretch>
        </p:blipFill>
        <p:spPr>
          <a:xfrm>
            <a:off x="11674818" y="172800"/>
            <a:ext cx="298705" cy="289561"/>
          </a:xfrm>
          <a:prstGeom prst="rect">
            <a:avLst/>
          </a:prstGeom>
        </p:spPr>
      </p:pic>
      <p:sp>
        <p:nvSpPr>
          <p:cNvPr id="10" name="Paginanummer Seinpost">
            <a:extLst>
              <a:ext uri="{FF2B5EF4-FFF2-40B4-BE49-F238E27FC236}">
                <a16:creationId xmlns:a16="http://schemas.microsoft.com/office/drawing/2014/main" id="{197FA77E-2A3E-4EFF-99EE-6A69F9375D6B}"/>
              </a:ext>
            </a:extLst>
          </p:cNvPr>
          <p:cNvSpPr txBox="1">
            <a:spLocks/>
          </p:cNvSpPr>
          <p:nvPr>
            <p:custDataLst>
              <p:tags r:id="rId3"/>
            </p:custDataLst>
          </p:nvPr>
        </p:nvSpPr>
        <p:spPr>
          <a:xfrm>
            <a:off x="11628018" y="252000"/>
            <a:ext cx="381601" cy="244800"/>
          </a:xfrm>
          <a:prstGeom prst="rect">
            <a:avLst/>
          </a:prstGeom>
          <a:noFill/>
        </p:spPr>
        <p:txBody>
          <a:bodyPr vert="horz" lIns="0" tIns="0" rIns="0" bIns="0" rtlCol="0" anchor="t">
            <a:noAutofit/>
          </a:bodyPr>
          <a:lstStyle/>
          <a:p>
            <a:pPr algn="ctr"/>
            <a:r>
              <a:rPr lang="nl-NL" sz="1000" b="1">
                <a:solidFill>
                  <a:srgbClr val="62366E"/>
                </a:solidFill>
                <a:latin typeface="Open Sans" panose="020B0606030504020204" pitchFamily="34" charset="0"/>
              </a:rPr>
              <a:t>17</a:t>
            </a:r>
          </a:p>
        </p:txBody>
      </p:sp>
    </p:spTree>
    <p:extLst>
      <p:ext uri="{BB962C8B-B14F-4D97-AF65-F5344CB8AC3E}">
        <p14:creationId xmlns:p14="http://schemas.microsoft.com/office/powerpoint/2010/main" val="39927754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38">
                                            <p:txEl>
                                              <p:pRg st="2" end="2"/>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238">
                                            <p:txEl>
                                              <p:pRg st="3" end="3"/>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238">
                                            <p:txEl>
                                              <p:pRg st="6" end="6"/>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238">
                                            <p:txEl>
                                              <p:pRg st="9" end="9"/>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238">
                                            <p:txEl>
                                              <p:pRg st="12" end="12"/>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238">
                                            <p:txEl>
                                              <p:pRg st="13" end="13"/>
                                            </p:txEl>
                                          </p:spTgt>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0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0" grpId="0" animBg="1"/>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0" name="Picture 111" descr="Diagram, engineering drawing&#10;&#10;Description automatically generated">
            <a:extLst>
              <a:ext uri="{FF2B5EF4-FFF2-40B4-BE49-F238E27FC236}">
                <a16:creationId xmlns:a16="http://schemas.microsoft.com/office/drawing/2014/main" id="{963EA51E-7041-4BD7-9D5C-2FF1A37E26DD}"/>
              </a:ext>
            </a:extLst>
          </p:cNvPr>
          <p:cNvPicPr>
            <a:picLocks noChangeAspect="1"/>
          </p:cNvPicPr>
          <p:nvPr/>
        </p:nvPicPr>
        <p:blipFill rotWithShape="1">
          <a:blip r:embed="rId54">
            <a:extLst>
              <a:ext uri="{28A0092B-C50C-407E-A947-70E740481C1C}">
                <a14:useLocalDpi xmlns:a14="http://schemas.microsoft.com/office/drawing/2010/main" val="0"/>
              </a:ext>
            </a:extLst>
          </a:blip>
          <a:srcRect l="12282" r="16581"/>
          <a:stretch/>
        </p:blipFill>
        <p:spPr>
          <a:xfrm>
            <a:off x="6437769" y="316375"/>
            <a:ext cx="5381625" cy="6418903"/>
          </a:xfrm>
          <a:prstGeom prst="rect">
            <a:avLst/>
          </a:prstGeom>
          <a:ln>
            <a:solidFill>
              <a:schemeClr val="tx1"/>
            </a:solidFill>
          </a:ln>
        </p:spPr>
      </p:pic>
      <p:sp>
        <p:nvSpPr>
          <p:cNvPr id="17" name="Tekstvak 16">
            <a:extLst>
              <a:ext uri="{FF2B5EF4-FFF2-40B4-BE49-F238E27FC236}">
                <a16:creationId xmlns:a16="http://schemas.microsoft.com/office/drawing/2014/main" id="{AD64F29F-73AC-40B9-B0F1-03A329886579}"/>
              </a:ext>
            </a:extLst>
          </p:cNvPr>
          <p:cNvSpPr txBox="1"/>
          <p:nvPr/>
        </p:nvSpPr>
        <p:spPr>
          <a:xfrm>
            <a:off x="440570" y="1162528"/>
            <a:ext cx="5674471" cy="4278094"/>
          </a:xfrm>
          <a:prstGeom prst="rect">
            <a:avLst/>
          </a:prstGeom>
          <a:noFill/>
        </p:spPr>
        <p:txBody>
          <a:bodyPr wrap="square" rtlCol="0">
            <a:spAutoFit/>
          </a:bodyPr>
          <a:lstStyle/>
          <a:p>
            <a:endParaRPr lang="nl-NL" sz="1600" b="1" dirty="0">
              <a:latin typeface="+mj-lt"/>
            </a:endParaRPr>
          </a:p>
          <a:p>
            <a:r>
              <a:rPr lang="nl-NL" sz="1600" b="1" dirty="0">
                <a:latin typeface="+mj-lt"/>
              </a:rPr>
              <a:t>Ontwikkelrichting</a:t>
            </a:r>
          </a:p>
          <a:p>
            <a:pPr marL="285750" indent="-285750">
              <a:buFont typeface="Arial" panose="020B0604020202020204" pitchFamily="34" charset="0"/>
              <a:buChar char="•"/>
            </a:pPr>
            <a:r>
              <a:rPr lang="nl-NL" sz="1600" b="0" dirty="0">
                <a:latin typeface="+mj-lt"/>
              </a:rPr>
              <a:t>Voormalige Kooikergracht kan uitgroeien tot een verblijfsgebied </a:t>
            </a:r>
            <a:r>
              <a:rPr lang="nl-NL" sz="1600" dirty="0">
                <a:solidFill>
                  <a:srgbClr val="000000"/>
                </a:solidFill>
                <a:latin typeface="+mj-lt"/>
              </a:rPr>
              <a:t>waar mensen elkaar ontmoeten en samenkomen, o.a. in één van de horecagelegenheden; </a:t>
            </a:r>
            <a:endParaRPr lang="nl-NL" sz="1600" dirty="0">
              <a:latin typeface="+mj-lt"/>
            </a:endParaRPr>
          </a:p>
          <a:p>
            <a:endParaRPr lang="nl-NL" sz="1600" b="0" dirty="0">
              <a:latin typeface="+mj-lt"/>
            </a:endParaRPr>
          </a:p>
          <a:p>
            <a:r>
              <a:rPr lang="nl-NL" sz="1600" b="1" dirty="0">
                <a:latin typeface="+mj-lt"/>
              </a:rPr>
              <a:t>Aan welke functies denken we?  </a:t>
            </a:r>
            <a:r>
              <a:rPr lang="nl-NL" sz="1600" dirty="0">
                <a:latin typeface="+mj-lt"/>
              </a:rPr>
              <a:t> </a:t>
            </a:r>
          </a:p>
          <a:p>
            <a:pPr marL="285750" indent="-285750">
              <a:buFont typeface="Arial" panose="020B0604020202020204" pitchFamily="34" charset="0"/>
              <a:buChar char="•"/>
            </a:pPr>
            <a:r>
              <a:rPr lang="nl-NL" sz="1600" b="0" dirty="0">
                <a:latin typeface="+mj-lt"/>
              </a:rPr>
              <a:t>Voornamelijk dag- en avondhoreca en terrassen. Geen nachthoreca</a:t>
            </a:r>
            <a:r>
              <a:rPr lang="nl-NL" sz="1600" dirty="0">
                <a:latin typeface="+mj-lt"/>
              </a:rPr>
              <a:t>; </a:t>
            </a:r>
            <a:endParaRPr lang="nl-NL" sz="1600" b="0" dirty="0">
              <a:latin typeface="+mj-lt"/>
            </a:endParaRPr>
          </a:p>
          <a:p>
            <a:pPr marL="285750" indent="-285750">
              <a:buFont typeface="Arial" panose="020B0604020202020204" pitchFamily="34" charset="0"/>
              <a:buChar char="•"/>
            </a:pPr>
            <a:endParaRPr lang="nl-NL" sz="1600" b="0" dirty="0">
              <a:latin typeface="+mj-lt"/>
            </a:endParaRPr>
          </a:p>
          <a:p>
            <a:pPr marL="285750" indent="-285750">
              <a:buFont typeface="Arial" panose="020B0604020202020204" pitchFamily="34" charset="0"/>
              <a:buChar char="•"/>
            </a:pPr>
            <a:r>
              <a:rPr lang="nl-NL" sz="1600" b="0" dirty="0">
                <a:latin typeface="+mj-lt"/>
              </a:rPr>
              <a:t>Liever geen winkels, dienstverleners of andere functies.   </a:t>
            </a:r>
          </a:p>
          <a:p>
            <a:pPr marL="285750" indent="-285750">
              <a:buFont typeface="Arial" panose="020B0604020202020204" pitchFamily="34" charset="0"/>
              <a:buChar char="•"/>
            </a:pPr>
            <a:endParaRPr lang="nl-NL" sz="1600" dirty="0">
              <a:latin typeface="+mj-lt"/>
            </a:endParaRPr>
          </a:p>
          <a:p>
            <a:pPr marL="285750" indent="-285750">
              <a:buFont typeface="Arial" panose="020B0604020202020204" pitchFamily="34" charset="0"/>
              <a:buChar char="•"/>
            </a:pPr>
            <a:endParaRPr lang="nl-NL" sz="1600" b="0" dirty="0">
              <a:latin typeface="+mj-lt"/>
            </a:endParaRPr>
          </a:p>
          <a:p>
            <a:pPr marL="285750" indent="-285750">
              <a:buFont typeface="Arial" panose="020B0604020202020204" pitchFamily="34" charset="0"/>
              <a:buChar char="•"/>
            </a:pPr>
            <a:endParaRPr lang="nl-NL" sz="1600" dirty="0">
              <a:latin typeface="+mj-lt"/>
            </a:endParaRPr>
          </a:p>
          <a:p>
            <a:pPr marL="285750" indent="-285750">
              <a:buFont typeface="Arial" panose="020B0604020202020204" pitchFamily="34" charset="0"/>
              <a:buChar char="•"/>
            </a:pPr>
            <a:endParaRPr lang="nl-NL" sz="1600" b="0" dirty="0"/>
          </a:p>
          <a:p>
            <a:pPr marL="285750" indent="-285750">
              <a:buFont typeface="Arial" panose="020B0604020202020204" pitchFamily="34" charset="0"/>
              <a:buChar char="•"/>
            </a:pPr>
            <a:endParaRPr lang="nl-NL" sz="1600" b="0" dirty="0"/>
          </a:p>
        </p:txBody>
      </p:sp>
      <p:sp>
        <p:nvSpPr>
          <p:cNvPr id="8" name="Tekstvak 78">
            <a:extLst>
              <a:ext uri="{FF2B5EF4-FFF2-40B4-BE49-F238E27FC236}">
                <a16:creationId xmlns:a16="http://schemas.microsoft.com/office/drawing/2014/main" id="{62DF0F4E-1703-469D-AB2D-7BD533D9592C}"/>
              </a:ext>
            </a:extLst>
          </p:cNvPr>
          <p:cNvSpPr txBox="1"/>
          <p:nvPr/>
        </p:nvSpPr>
        <p:spPr>
          <a:xfrm>
            <a:off x="440571" y="309628"/>
            <a:ext cx="5601191" cy="338554"/>
          </a:xfrm>
          <a:custGeom>
            <a:avLst/>
            <a:gdLst>
              <a:gd name="connsiteX0" fmla="*/ 0 w 5601191"/>
              <a:gd name="connsiteY0" fmla="*/ 0 h 338554"/>
              <a:gd name="connsiteX1" fmla="*/ 678366 w 5601191"/>
              <a:gd name="connsiteY1" fmla="*/ 0 h 338554"/>
              <a:gd name="connsiteX2" fmla="*/ 1132685 w 5601191"/>
              <a:gd name="connsiteY2" fmla="*/ 0 h 338554"/>
              <a:gd name="connsiteX3" fmla="*/ 1699028 w 5601191"/>
              <a:gd name="connsiteY3" fmla="*/ 0 h 338554"/>
              <a:gd name="connsiteX4" fmla="*/ 2209359 w 5601191"/>
              <a:gd name="connsiteY4" fmla="*/ 0 h 338554"/>
              <a:gd name="connsiteX5" fmla="*/ 2663677 w 5601191"/>
              <a:gd name="connsiteY5" fmla="*/ 0 h 338554"/>
              <a:gd name="connsiteX6" fmla="*/ 3342044 w 5601191"/>
              <a:gd name="connsiteY6" fmla="*/ 0 h 338554"/>
              <a:gd name="connsiteX7" fmla="*/ 3964399 w 5601191"/>
              <a:gd name="connsiteY7" fmla="*/ 0 h 338554"/>
              <a:gd name="connsiteX8" fmla="*/ 4698777 w 5601191"/>
              <a:gd name="connsiteY8" fmla="*/ 0 h 338554"/>
              <a:gd name="connsiteX9" fmla="*/ 5601191 w 5601191"/>
              <a:gd name="connsiteY9" fmla="*/ 0 h 338554"/>
              <a:gd name="connsiteX10" fmla="*/ 5601191 w 5601191"/>
              <a:gd name="connsiteY10" fmla="*/ 338554 h 338554"/>
              <a:gd name="connsiteX11" fmla="*/ 4866813 w 5601191"/>
              <a:gd name="connsiteY11" fmla="*/ 338554 h 338554"/>
              <a:gd name="connsiteX12" fmla="*/ 4300470 w 5601191"/>
              <a:gd name="connsiteY12" fmla="*/ 338554 h 338554"/>
              <a:gd name="connsiteX13" fmla="*/ 3846151 w 5601191"/>
              <a:gd name="connsiteY13" fmla="*/ 338554 h 338554"/>
              <a:gd name="connsiteX14" fmla="*/ 3111773 w 5601191"/>
              <a:gd name="connsiteY14" fmla="*/ 338554 h 338554"/>
              <a:gd name="connsiteX15" fmla="*/ 2545430 w 5601191"/>
              <a:gd name="connsiteY15" fmla="*/ 338554 h 338554"/>
              <a:gd name="connsiteX16" fmla="*/ 1979087 w 5601191"/>
              <a:gd name="connsiteY16" fmla="*/ 338554 h 338554"/>
              <a:gd name="connsiteX17" fmla="*/ 1300721 w 5601191"/>
              <a:gd name="connsiteY17" fmla="*/ 338554 h 338554"/>
              <a:gd name="connsiteX18" fmla="*/ 678366 w 5601191"/>
              <a:gd name="connsiteY18" fmla="*/ 338554 h 338554"/>
              <a:gd name="connsiteX19" fmla="*/ 0 w 5601191"/>
              <a:gd name="connsiteY19" fmla="*/ 338554 h 338554"/>
              <a:gd name="connsiteX20" fmla="*/ 0 w 5601191"/>
              <a:gd name="connsiteY20" fmla="*/ 0 h 3385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5601191" h="338554" fill="none" extrusionOk="0">
                <a:moveTo>
                  <a:pt x="0" y="0"/>
                </a:moveTo>
                <a:cubicBezTo>
                  <a:pt x="281294" y="23883"/>
                  <a:pt x="371907" y="27731"/>
                  <a:pt x="678366" y="0"/>
                </a:cubicBezTo>
                <a:cubicBezTo>
                  <a:pt x="984825" y="-27731"/>
                  <a:pt x="938150" y="7274"/>
                  <a:pt x="1132685" y="0"/>
                </a:cubicBezTo>
                <a:cubicBezTo>
                  <a:pt x="1327220" y="-7274"/>
                  <a:pt x="1558275" y="-6615"/>
                  <a:pt x="1699028" y="0"/>
                </a:cubicBezTo>
                <a:cubicBezTo>
                  <a:pt x="1839781" y="6615"/>
                  <a:pt x="2062647" y="3622"/>
                  <a:pt x="2209359" y="0"/>
                </a:cubicBezTo>
                <a:cubicBezTo>
                  <a:pt x="2356071" y="-3622"/>
                  <a:pt x="2563022" y="15579"/>
                  <a:pt x="2663677" y="0"/>
                </a:cubicBezTo>
                <a:cubicBezTo>
                  <a:pt x="2764332" y="-15579"/>
                  <a:pt x="3035547" y="24085"/>
                  <a:pt x="3342044" y="0"/>
                </a:cubicBezTo>
                <a:cubicBezTo>
                  <a:pt x="3648541" y="-24085"/>
                  <a:pt x="3711156" y="4123"/>
                  <a:pt x="3964399" y="0"/>
                </a:cubicBezTo>
                <a:cubicBezTo>
                  <a:pt x="4217643" y="-4123"/>
                  <a:pt x="4371560" y="-31689"/>
                  <a:pt x="4698777" y="0"/>
                </a:cubicBezTo>
                <a:cubicBezTo>
                  <a:pt x="5025994" y="31689"/>
                  <a:pt x="5311553" y="-25950"/>
                  <a:pt x="5601191" y="0"/>
                </a:cubicBezTo>
                <a:cubicBezTo>
                  <a:pt x="5591453" y="135042"/>
                  <a:pt x="5584320" y="201521"/>
                  <a:pt x="5601191" y="338554"/>
                </a:cubicBezTo>
                <a:cubicBezTo>
                  <a:pt x="5275770" y="374727"/>
                  <a:pt x="5160606" y="305445"/>
                  <a:pt x="4866813" y="338554"/>
                </a:cubicBezTo>
                <a:cubicBezTo>
                  <a:pt x="4573020" y="371663"/>
                  <a:pt x="4452769" y="356848"/>
                  <a:pt x="4300470" y="338554"/>
                </a:cubicBezTo>
                <a:cubicBezTo>
                  <a:pt x="4148171" y="320260"/>
                  <a:pt x="4034446" y="342144"/>
                  <a:pt x="3846151" y="338554"/>
                </a:cubicBezTo>
                <a:cubicBezTo>
                  <a:pt x="3657856" y="334964"/>
                  <a:pt x="3421009" y="329881"/>
                  <a:pt x="3111773" y="338554"/>
                </a:cubicBezTo>
                <a:cubicBezTo>
                  <a:pt x="2802537" y="347227"/>
                  <a:pt x="2825591" y="322448"/>
                  <a:pt x="2545430" y="338554"/>
                </a:cubicBezTo>
                <a:cubicBezTo>
                  <a:pt x="2265269" y="354660"/>
                  <a:pt x="2145457" y="364216"/>
                  <a:pt x="1979087" y="338554"/>
                </a:cubicBezTo>
                <a:cubicBezTo>
                  <a:pt x="1812717" y="312892"/>
                  <a:pt x="1632539" y="345233"/>
                  <a:pt x="1300721" y="338554"/>
                </a:cubicBezTo>
                <a:cubicBezTo>
                  <a:pt x="968903" y="331875"/>
                  <a:pt x="918789" y="320662"/>
                  <a:pt x="678366" y="338554"/>
                </a:cubicBezTo>
                <a:cubicBezTo>
                  <a:pt x="437944" y="356446"/>
                  <a:pt x="174707" y="354364"/>
                  <a:pt x="0" y="338554"/>
                </a:cubicBezTo>
                <a:cubicBezTo>
                  <a:pt x="-16138" y="261282"/>
                  <a:pt x="10953" y="99257"/>
                  <a:pt x="0" y="0"/>
                </a:cubicBezTo>
                <a:close/>
              </a:path>
              <a:path w="5601191" h="338554" stroke="0" extrusionOk="0">
                <a:moveTo>
                  <a:pt x="0" y="0"/>
                </a:moveTo>
                <a:cubicBezTo>
                  <a:pt x="244753" y="17226"/>
                  <a:pt x="335880" y="-21097"/>
                  <a:pt x="510331" y="0"/>
                </a:cubicBezTo>
                <a:cubicBezTo>
                  <a:pt x="684782" y="21097"/>
                  <a:pt x="806374" y="-20659"/>
                  <a:pt x="1076673" y="0"/>
                </a:cubicBezTo>
                <a:cubicBezTo>
                  <a:pt x="1346972" y="20659"/>
                  <a:pt x="1361498" y="-24274"/>
                  <a:pt x="1643016" y="0"/>
                </a:cubicBezTo>
                <a:cubicBezTo>
                  <a:pt x="1924534" y="24274"/>
                  <a:pt x="1979116" y="-3223"/>
                  <a:pt x="2209359" y="0"/>
                </a:cubicBezTo>
                <a:cubicBezTo>
                  <a:pt x="2439602" y="3223"/>
                  <a:pt x="2654777" y="21425"/>
                  <a:pt x="2887725" y="0"/>
                </a:cubicBezTo>
                <a:cubicBezTo>
                  <a:pt x="3120673" y="-21425"/>
                  <a:pt x="3217764" y="10801"/>
                  <a:pt x="3398056" y="0"/>
                </a:cubicBezTo>
                <a:cubicBezTo>
                  <a:pt x="3578348" y="-10801"/>
                  <a:pt x="3756722" y="6123"/>
                  <a:pt x="3964399" y="0"/>
                </a:cubicBezTo>
                <a:cubicBezTo>
                  <a:pt x="4172076" y="-6123"/>
                  <a:pt x="4312164" y="-15710"/>
                  <a:pt x="4530741" y="0"/>
                </a:cubicBezTo>
                <a:cubicBezTo>
                  <a:pt x="4749318" y="15710"/>
                  <a:pt x="4849102" y="16495"/>
                  <a:pt x="5041072" y="0"/>
                </a:cubicBezTo>
                <a:cubicBezTo>
                  <a:pt x="5233042" y="-16495"/>
                  <a:pt x="5392950" y="-23397"/>
                  <a:pt x="5601191" y="0"/>
                </a:cubicBezTo>
                <a:cubicBezTo>
                  <a:pt x="5605390" y="152999"/>
                  <a:pt x="5613958" y="196419"/>
                  <a:pt x="5601191" y="338554"/>
                </a:cubicBezTo>
                <a:cubicBezTo>
                  <a:pt x="5370864" y="328326"/>
                  <a:pt x="5193369" y="324828"/>
                  <a:pt x="5034848" y="338554"/>
                </a:cubicBezTo>
                <a:cubicBezTo>
                  <a:pt x="4876327" y="352280"/>
                  <a:pt x="4708599" y="363881"/>
                  <a:pt x="4524518" y="338554"/>
                </a:cubicBezTo>
                <a:cubicBezTo>
                  <a:pt x="4340437" y="313228"/>
                  <a:pt x="4022487" y="315223"/>
                  <a:pt x="3846151" y="338554"/>
                </a:cubicBezTo>
                <a:cubicBezTo>
                  <a:pt x="3669815" y="361885"/>
                  <a:pt x="3484028" y="346633"/>
                  <a:pt x="3335820" y="338554"/>
                </a:cubicBezTo>
                <a:cubicBezTo>
                  <a:pt x="3187612" y="330475"/>
                  <a:pt x="3048837" y="343794"/>
                  <a:pt x="2769478" y="338554"/>
                </a:cubicBezTo>
                <a:cubicBezTo>
                  <a:pt x="2490119" y="333314"/>
                  <a:pt x="2449773" y="343544"/>
                  <a:pt x="2315159" y="338554"/>
                </a:cubicBezTo>
                <a:cubicBezTo>
                  <a:pt x="2180545" y="333564"/>
                  <a:pt x="1919635" y="317953"/>
                  <a:pt x="1636792" y="338554"/>
                </a:cubicBezTo>
                <a:cubicBezTo>
                  <a:pt x="1353949" y="359155"/>
                  <a:pt x="1177566" y="320750"/>
                  <a:pt x="902414" y="338554"/>
                </a:cubicBezTo>
                <a:cubicBezTo>
                  <a:pt x="627262" y="356358"/>
                  <a:pt x="426464" y="317425"/>
                  <a:pt x="0" y="338554"/>
                </a:cubicBezTo>
                <a:cubicBezTo>
                  <a:pt x="-1105" y="249931"/>
                  <a:pt x="-319" y="101577"/>
                  <a:pt x="0" y="0"/>
                </a:cubicBezTo>
                <a:close/>
              </a:path>
            </a:pathLst>
          </a:custGeom>
          <a:solidFill>
            <a:srgbClr val="F6BD65"/>
          </a:solidFill>
          <a:ln>
            <a:solidFill>
              <a:srgbClr val="774803"/>
            </a:solidFill>
            <a:extLst>
              <a:ext uri="{C807C97D-BFC1-408E-A445-0C87EB9F89A2}">
                <ask:lineSketchStyleProps xmlns:ask="http://schemas.microsoft.com/office/drawing/2018/sketchyshapes" sd="1049799907">
                  <a:prstGeom prst="rect">
                    <a:avLst/>
                  </a:prstGeom>
                  <ask:type>
                    <ask:lineSketchFreehand/>
                  </ask:type>
                </ask:lineSketchStyleProps>
              </a:ext>
            </a:extLst>
          </a:ln>
        </p:spPr>
        <p:txBody>
          <a:bodyPr wrap="square" lIns="91440" tIns="45720" rIns="91440" bIns="45720" rtlCol="0" anchor="t">
            <a:spAutoFit/>
          </a:bodyPr>
          <a:lstStyle>
            <a:defPPr>
              <a:defRPr lang="nl-NL"/>
            </a:defPPr>
            <a:lvl1pPr>
              <a:defRPr sz="1600" b="1">
                <a:solidFill>
                  <a:srgbClr val="A27402"/>
                </a:solidFill>
                <a:latin typeface="+mj-lt"/>
              </a:defRPr>
            </a:lvl1pPr>
          </a:lstStyle>
          <a:p>
            <a:r>
              <a:rPr lang="nl-NL" dirty="0"/>
              <a:t>5. Kooikersgracht </a:t>
            </a:r>
            <a:r>
              <a:rPr lang="nl-NL" b="0" dirty="0"/>
              <a:t>– ontwikkellocatie </a:t>
            </a:r>
          </a:p>
        </p:txBody>
      </p:sp>
      <p:sp>
        <p:nvSpPr>
          <p:cNvPr id="141" name="Ovaal 140">
            <a:extLst>
              <a:ext uri="{FF2B5EF4-FFF2-40B4-BE49-F238E27FC236}">
                <a16:creationId xmlns:a16="http://schemas.microsoft.com/office/drawing/2014/main" id="{B709D55D-F35D-4AE3-BB44-A8F186CCA35F}"/>
              </a:ext>
            </a:extLst>
          </p:cNvPr>
          <p:cNvSpPr/>
          <p:nvPr/>
        </p:nvSpPr>
        <p:spPr>
          <a:xfrm rot="19787095">
            <a:off x="8221751" y="4846251"/>
            <a:ext cx="962025" cy="571088"/>
          </a:xfrm>
          <a:custGeom>
            <a:avLst/>
            <a:gdLst>
              <a:gd name="connsiteX0" fmla="*/ 0 w 962025"/>
              <a:gd name="connsiteY0" fmla="*/ 285544 h 571088"/>
              <a:gd name="connsiteX1" fmla="*/ 481013 w 962025"/>
              <a:gd name="connsiteY1" fmla="*/ 0 h 571088"/>
              <a:gd name="connsiteX2" fmla="*/ 962026 w 962025"/>
              <a:gd name="connsiteY2" fmla="*/ 285544 h 571088"/>
              <a:gd name="connsiteX3" fmla="*/ 481013 w 962025"/>
              <a:gd name="connsiteY3" fmla="*/ 571088 h 571088"/>
              <a:gd name="connsiteX4" fmla="*/ 0 w 962025"/>
              <a:gd name="connsiteY4" fmla="*/ 285544 h 5710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62025" h="571088" fill="none" extrusionOk="0">
                <a:moveTo>
                  <a:pt x="0" y="285544"/>
                </a:moveTo>
                <a:cubicBezTo>
                  <a:pt x="13892" y="147464"/>
                  <a:pt x="162099" y="-6482"/>
                  <a:pt x="481013" y="0"/>
                </a:cubicBezTo>
                <a:cubicBezTo>
                  <a:pt x="764061" y="27883"/>
                  <a:pt x="975469" y="114686"/>
                  <a:pt x="962026" y="285544"/>
                </a:cubicBezTo>
                <a:cubicBezTo>
                  <a:pt x="952825" y="430623"/>
                  <a:pt x="800915" y="575181"/>
                  <a:pt x="481013" y="571088"/>
                </a:cubicBezTo>
                <a:cubicBezTo>
                  <a:pt x="188208" y="601951"/>
                  <a:pt x="-21382" y="432845"/>
                  <a:pt x="0" y="285544"/>
                </a:cubicBezTo>
                <a:close/>
              </a:path>
              <a:path w="962025" h="571088" stroke="0" extrusionOk="0">
                <a:moveTo>
                  <a:pt x="0" y="285544"/>
                </a:moveTo>
                <a:cubicBezTo>
                  <a:pt x="-5438" y="130323"/>
                  <a:pt x="267944" y="2167"/>
                  <a:pt x="481013" y="0"/>
                </a:cubicBezTo>
                <a:cubicBezTo>
                  <a:pt x="744467" y="11007"/>
                  <a:pt x="975934" y="86133"/>
                  <a:pt x="962026" y="285544"/>
                </a:cubicBezTo>
                <a:cubicBezTo>
                  <a:pt x="907139" y="433650"/>
                  <a:pt x="764095" y="567672"/>
                  <a:pt x="481013" y="571088"/>
                </a:cubicBezTo>
                <a:cubicBezTo>
                  <a:pt x="217662" y="537004"/>
                  <a:pt x="-16090" y="408565"/>
                  <a:pt x="0" y="285544"/>
                </a:cubicBezTo>
                <a:close/>
              </a:path>
            </a:pathLst>
          </a:custGeom>
          <a:solidFill>
            <a:srgbClr val="67B2E8">
              <a:alpha val="50196"/>
            </a:srgbClr>
          </a:solidFill>
          <a:ln w="19050">
            <a:solidFill>
              <a:schemeClr val="accent2">
                <a:lumMod val="50000"/>
              </a:schemeClr>
            </a:solidFill>
            <a:prstDash val="lgDash"/>
            <a:extLst>
              <a:ext uri="{C807C97D-BFC1-408E-A445-0C87EB9F89A2}">
                <ask:lineSketchStyleProps xmlns:ask="http://schemas.microsoft.com/office/drawing/2018/sketchyshapes" sd="378522932">
                  <a:prstGeom prst="ellipse">
                    <a:avLst/>
                  </a:prstGeom>
                  <ask:type>
                    <ask:lineSketchScribble/>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42" name="Ovaal 10">
            <a:extLst>
              <a:ext uri="{FF2B5EF4-FFF2-40B4-BE49-F238E27FC236}">
                <a16:creationId xmlns:a16="http://schemas.microsoft.com/office/drawing/2014/main" id="{C12E5104-B0AA-41BB-8226-BE2FEDB0F735}"/>
              </a:ext>
            </a:extLst>
          </p:cNvPr>
          <p:cNvSpPr/>
          <p:nvPr/>
        </p:nvSpPr>
        <p:spPr>
          <a:xfrm rot="606373">
            <a:off x="8170098" y="1727825"/>
            <a:ext cx="1005378" cy="3587738"/>
          </a:xfrm>
          <a:custGeom>
            <a:avLst/>
            <a:gdLst>
              <a:gd name="connsiteX0" fmla="*/ 0 w 946926"/>
              <a:gd name="connsiteY0" fmla="*/ 1669257 h 3338513"/>
              <a:gd name="connsiteX1" fmla="*/ 473463 w 946926"/>
              <a:gd name="connsiteY1" fmla="*/ 0 h 3338513"/>
              <a:gd name="connsiteX2" fmla="*/ 946926 w 946926"/>
              <a:gd name="connsiteY2" fmla="*/ 1669257 h 3338513"/>
              <a:gd name="connsiteX3" fmla="*/ 473463 w 946926"/>
              <a:gd name="connsiteY3" fmla="*/ 3338514 h 3338513"/>
              <a:gd name="connsiteX4" fmla="*/ 0 w 946926"/>
              <a:gd name="connsiteY4" fmla="*/ 1669257 h 3338513"/>
              <a:gd name="connsiteX0" fmla="*/ 104949 w 1051875"/>
              <a:gd name="connsiteY0" fmla="*/ 1669257 h 3498566"/>
              <a:gd name="connsiteX1" fmla="*/ 578412 w 1051875"/>
              <a:gd name="connsiteY1" fmla="*/ 0 h 3498566"/>
              <a:gd name="connsiteX2" fmla="*/ 1051875 w 1051875"/>
              <a:gd name="connsiteY2" fmla="*/ 1669257 h 3498566"/>
              <a:gd name="connsiteX3" fmla="*/ 578412 w 1051875"/>
              <a:gd name="connsiteY3" fmla="*/ 3338514 h 3498566"/>
              <a:gd name="connsiteX4" fmla="*/ 37651 w 1051875"/>
              <a:gd name="connsiteY4" fmla="*/ 3242728 h 3498566"/>
              <a:gd name="connsiteX5" fmla="*/ 104949 w 1051875"/>
              <a:gd name="connsiteY5" fmla="*/ 1669257 h 3498566"/>
              <a:gd name="connsiteX0" fmla="*/ 232888 w 1032014"/>
              <a:gd name="connsiteY0" fmla="*/ 1307467 h 3501749"/>
              <a:gd name="connsiteX1" fmla="*/ 558551 w 1032014"/>
              <a:gd name="connsiteY1" fmla="*/ 3183 h 3501749"/>
              <a:gd name="connsiteX2" fmla="*/ 1032014 w 1032014"/>
              <a:gd name="connsiteY2" fmla="*/ 1672440 h 3501749"/>
              <a:gd name="connsiteX3" fmla="*/ 558551 w 1032014"/>
              <a:gd name="connsiteY3" fmla="*/ 3341697 h 3501749"/>
              <a:gd name="connsiteX4" fmla="*/ 17790 w 1032014"/>
              <a:gd name="connsiteY4" fmla="*/ 3245911 h 3501749"/>
              <a:gd name="connsiteX5" fmla="*/ 232888 w 1032014"/>
              <a:gd name="connsiteY5" fmla="*/ 1307467 h 3501749"/>
              <a:gd name="connsiteX0" fmla="*/ 232888 w 1036057"/>
              <a:gd name="connsiteY0" fmla="*/ 1412927 h 3607209"/>
              <a:gd name="connsiteX1" fmla="*/ 558551 w 1036057"/>
              <a:gd name="connsiteY1" fmla="*/ 108643 h 3607209"/>
              <a:gd name="connsiteX2" fmla="*/ 841253 w 1036057"/>
              <a:gd name="connsiteY2" fmla="*/ 263362 h 3607209"/>
              <a:gd name="connsiteX3" fmla="*/ 1032014 w 1036057"/>
              <a:gd name="connsiteY3" fmla="*/ 1777900 h 3607209"/>
              <a:gd name="connsiteX4" fmla="*/ 558551 w 1036057"/>
              <a:gd name="connsiteY4" fmla="*/ 3447157 h 3607209"/>
              <a:gd name="connsiteX5" fmla="*/ 17790 w 1036057"/>
              <a:gd name="connsiteY5" fmla="*/ 3351371 h 3607209"/>
              <a:gd name="connsiteX6" fmla="*/ 232888 w 1036057"/>
              <a:gd name="connsiteY6" fmla="*/ 1412927 h 3607209"/>
              <a:gd name="connsiteX0" fmla="*/ 230669 w 1033838"/>
              <a:gd name="connsiteY0" fmla="*/ 1341761 h 3536043"/>
              <a:gd name="connsiteX1" fmla="*/ 314560 w 1033838"/>
              <a:gd name="connsiteY1" fmla="*/ 343728 h 3536043"/>
              <a:gd name="connsiteX2" fmla="*/ 556332 w 1033838"/>
              <a:gd name="connsiteY2" fmla="*/ 37477 h 3536043"/>
              <a:gd name="connsiteX3" fmla="*/ 839034 w 1033838"/>
              <a:gd name="connsiteY3" fmla="*/ 192196 h 3536043"/>
              <a:gd name="connsiteX4" fmla="*/ 1029795 w 1033838"/>
              <a:gd name="connsiteY4" fmla="*/ 1706734 h 3536043"/>
              <a:gd name="connsiteX5" fmla="*/ 556332 w 1033838"/>
              <a:gd name="connsiteY5" fmla="*/ 3375991 h 3536043"/>
              <a:gd name="connsiteX6" fmla="*/ 15571 w 1033838"/>
              <a:gd name="connsiteY6" fmla="*/ 3280205 h 3536043"/>
              <a:gd name="connsiteX7" fmla="*/ 230669 w 1033838"/>
              <a:gd name="connsiteY7" fmla="*/ 1341761 h 3536043"/>
              <a:gd name="connsiteX0" fmla="*/ 230669 w 1033838"/>
              <a:gd name="connsiteY0" fmla="*/ 1306773 h 3501055"/>
              <a:gd name="connsiteX1" fmla="*/ 314560 w 1033838"/>
              <a:gd name="connsiteY1" fmla="*/ 308740 h 3501055"/>
              <a:gd name="connsiteX2" fmla="*/ 530523 w 1033838"/>
              <a:gd name="connsiteY2" fmla="*/ 74815 h 3501055"/>
              <a:gd name="connsiteX3" fmla="*/ 839034 w 1033838"/>
              <a:gd name="connsiteY3" fmla="*/ 157208 h 3501055"/>
              <a:gd name="connsiteX4" fmla="*/ 1029795 w 1033838"/>
              <a:gd name="connsiteY4" fmla="*/ 1671746 h 3501055"/>
              <a:gd name="connsiteX5" fmla="*/ 556332 w 1033838"/>
              <a:gd name="connsiteY5" fmla="*/ 3341003 h 3501055"/>
              <a:gd name="connsiteX6" fmla="*/ 15571 w 1033838"/>
              <a:gd name="connsiteY6" fmla="*/ 3245217 h 3501055"/>
              <a:gd name="connsiteX7" fmla="*/ 230669 w 1033838"/>
              <a:gd name="connsiteY7" fmla="*/ 1306773 h 3501055"/>
              <a:gd name="connsiteX0" fmla="*/ 230669 w 1033548"/>
              <a:gd name="connsiteY0" fmla="*/ 1306773 h 3404596"/>
              <a:gd name="connsiteX1" fmla="*/ 314560 w 1033548"/>
              <a:gd name="connsiteY1" fmla="*/ 308740 h 3404596"/>
              <a:gd name="connsiteX2" fmla="*/ 530523 w 1033548"/>
              <a:gd name="connsiteY2" fmla="*/ 74815 h 3404596"/>
              <a:gd name="connsiteX3" fmla="*/ 839034 w 1033548"/>
              <a:gd name="connsiteY3" fmla="*/ 157208 h 3404596"/>
              <a:gd name="connsiteX4" fmla="*/ 1029795 w 1033548"/>
              <a:gd name="connsiteY4" fmla="*/ 1671746 h 3404596"/>
              <a:gd name="connsiteX5" fmla="*/ 760965 w 1033548"/>
              <a:gd name="connsiteY5" fmla="*/ 3155086 h 3404596"/>
              <a:gd name="connsiteX6" fmla="*/ 556332 w 1033548"/>
              <a:gd name="connsiteY6" fmla="*/ 3341003 h 3404596"/>
              <a:gd name="connsiteX7" fmla="*/ 15571 w 1033548"/>
              <a:gd name="connsiteY7" fmla="*/ 3245217 h 3404596"/>
              <a:gd name="connsiteX8" fmla="*/ 230669 w 1033548"/>
              <a:gd name="connsiteY8" fmla="*/ 1306773 h 3404596"/>
              <a:gd name="connsiteX0" fmla="*/ 229374 w 1032253"/>
              <a:gd name="connsiteY0" fmla="*/ 1306773 h 3372214"/>
              <a:gd name="connsiteX1" fmla="*/ 313265 w 1032253"/>
              <a:gd name="connsiteY1" fmla="*/ 308740 h 3372214"/>
              <a:gd name="connsiteX2" fmla="*/ 529228 w 1032253"/>
              <a:gd name="connsiteY2" fmla="*/ 74815 h 3372214"/>
              <a:gd name="connsiteX3" fmla="*/ 837739 w 1032253"/>
              <a:gd name="connsiteY3" fmla="*/ 157208 h 3372214"/>
              <a:gd name="connsiteX4" fmla="*/ 1028500 w 1032253"/>
              <a:gd name="connsiteY4" fmla="*/ 1671746 h 3372214"/>
              <a:gd name="connsiteX5" fmla="*/ 759670 w 1032253"/>
              <a:gd name="connsiteY5" fmla="*/ 3155086 h 3372214"/>
              <a:gd name="connsiteX6" fmla="*/ 555037 w 1032253"/>
              <a:gd name="connsiteY6" fmla="*/ 3341003 h 3372214"/>
              <a:gd name="connsiteX7" fmla="*/ 14276 w 1032253"/>
              <a:gd name="connsiteY7" fmla="*/ 3245217 h 3372214"/>
              <a:gd name="connsiteX8" fmla="*/ 204072 w 1032253"/>
              <a:gd name="connsiteY8" fmla="*/ 2209203 h 3372214"/>
              <a:gd name="connsiteX9" fmla="*/ 229374 w 1032253"/>
              <a:gd name="connsiteY9" fmla="*/ 1306773 h 3372214"/>
              <a:gd name="connsiteX0" fmla="*/ 231939 w 1034818"/>
              <a:gd name="connsiteY0" fmla="*/ 1306773 h 3349218"/>
              <a:gd name="connsiteX1" fmla="*/ 315830 w 1034818"/>
              <a:gd name="connsiteY1" fmla="*/ 308740 h 3349218"/>
              <a:gd name="connsiteX2" fmla="*/ 531793 w 1034818"/>
              <a:gd name="connsiteY2" fmla="*/ 74815 h 3349218"/>
              <a:gd name="connsiteX3" fmla="*/ 840304 w 1034818"/>
              <a:gd name="connsiteY3" fmla="*/ 157208 h 3349218"/>
              <a:gd name="connsiteX4" fmla="*/ 1031065 w 1034818"/>
              <a:gd name="connsiteY4" fmla="*/ 1671746 h 3349218"/>
              <a:gd name="connsiteX5" fmla="*/ 762235 w 1034818"/>
              <a:gd name="connsiteY5" fmla="*/ 3155086 h 3349218"/>
              <a:gd name="connsiteX6" fmla="*/ 557602 w 1034818"/>
              <a:gd name="connsiteY6" fmla="*/ 3341003 h 3349218"/>
              <a:gd name="connsiteX7" fmla="*/ 16841 w 1034818"/>
              <a:gd name="connsiteY7" fmla="*/ 3245217 h 3349218"/>
              <a:gd name="connsiteX8" fmla="*/ 173317 w 1034818"/>
              <a:gd name="connsiteY8" fmla="*/ 2727923 h 3349218"/>
              <a:gd name="connsiteX9" fmla="*/ 206637 w 1034818"/>
              <a:gd name="connsiteY9" fmla="*/ 2209203 h 3349218"/>
              <a:gd name="connsiteX10" fmla="*/ 231939 w 1034818"/>
              <a:gd name="connsiteY10" fmla="*/ 1306773 h 3349218"/>
              <a:gd name="connsiteX0" fmla="*/ 231939 w 1034818"/>
              <a:gd name="connsiteY0" fmla="*/ 1306773 h 3460498"/>
              <a:gd name="connsiteX1" fmla="*/ 315830 w 1034818"/>
              <a:gd name="connsiteY1" fmla="*/ 308740 h 3460498"/>
              <a:gd name="connsiteX2" fmla="*/ 531793 w 1034818"/>
              <a:gd name="connsiteY2" fmla="*/ 74815 h 3460498"/>
              <a:gd name="connsiteX3" fmla="*/ 840304 w 1034818"/>
              <a:gd name="connsiteY3" fmla="*/ 157208 h 3460498"/>
              <a:gd name="connsiteX4" fmla="*/ 1031065 w 1034818"/>
              <a:gd name="connsiteY4" fmla="*/ 1671746 h 3460498"/>
              <a:gd name="connsiteX5" fmla="*/ 762235 w 1034818"/>
              <a:gd name="connsiteY5" fmla="*/ 3155086 h 3460498"/>
              <a:gd name="connsiteX6" fmla="*/ 491592 w 1034818"/>
              <a:gd name="connsiteY6" fmla="*/ 3459195 h 3460498"/>
              <a:gd name="connsiteX7" fmla="*/ 16841 w 1034818"/>
              <a:gd name="connsiteY7" fmla="*/ 3245217 h 3460498"/>
              <a:gd name="connsiteX8" fmla="*/ 173317 w 1034818"/>
              <a:gd name="connsiteY8" fmla="*/ 2727923 h 3460498"/>
              <a:gd name="connsiteX9" fmla="*/ 206637 w 1034818"/>
              <a:gd name="connsiteY9" fmla="*/ 2209203 h 3460498"/>
              <a:gd name="connsiteX10" fmla="*/ 231939 w 1034818"/>
              <a:gd name="connsiteY10" fmla="*/ 1306773 h 3460498"/>
              <a:gd name="connsiteX0" fmla="*/ 231939 w 1034818"/>
              <a:gd name="connsiteY0" fmla="*/ 1306773 h 3461993"/>
              <a:gd name="connsiteX1" fmla="*/ 315830 w 1034818"/>
              <a:gd name="connsiteY1" fmla="*/ 308740 h 3461993"/>
              <a:gd name="connsiteX2" fmla="*/ 531793 w 1034818"/>
              <a:gd name="connsiteY2" fmla="*/ 74815 h 3461993"/>
              <a:gd name="connsiteX3" fmla="*/ 840304 w 1034818"/>
              <a:gd name="connsiteY3" fmla="*/ 157208 h 3461993"/>
              <a:gd name="connsiteX4" fmla="*/ 1031065 w 1034818"/>
              <a:gd name="connsiteY4" fmla="*/ 1671746 h 3461993"/>
              <a:gd name="connsiteX5" fmla="*/ 762235 w 1034818"/>
              <a:gd name="connsiteY5" fmla="*/ 3155086 h 3461993"/>
              <a:gd name="connsiteX6" fmla="*/ 491592 w 1034818"/>
              <a:gd name="connsiteY6" fmla="*/ 3459195 h 3461993"/>
              <a:gd name="connsiteX7" fmla="*/ 16841 w 1034818"/>
              <a:gd name="connsiteY7" fmla="*/ 3245217 h 3461993"/>
              <a:gd name="connsiteX8" fmla="*/ 173317 w 1034818"/>
              <a:gd name="connsiteY8" fmla="*/ 2727923 h 3461993"/>
              <a:gd name="connsiteX9" fmla="*/ 206637 w 1034818"/>
              <a:gd name="connsiteY9" fmla="*/ 2209203 h 3461993"/>
              <a:gd name="connsiteX10" fmla="*/ 231939 w 1034818"/>
              <a:gd name="connsiteY10" fmla="*/ 1306773 h 3461993"/>
              <a:gd name="connsiteX0" fmla="*/ 231939 w 1034818"/>
              <a:gd name="connsiteY0" fmla="*/ 1306773 h 3587738"/>
              <a:gd name="connsiteX1" fmla="*/ 315830 w 1034818"/>
              <a:gd name="connsiteY1" fmla="*/ 308740 h 3587738"/>
              <a:gd name="connsiteX2" fmla="*/ 531793 w 1034818"/>
              <a:gd name="connsiteY2" fmla="*/ 74815 h 3587738"/>
              <a:gd name="connsiteX3" fmla="*/ 840304 w 1034818"/>
              <a:gd name="connsiteY3" fmla="*/ 157208 h 3587738"/>
              <a:gd name="connsiteX4" fmla="*/ 1031065 w 1034818"/>
              <a:gd name="connsiteY4" fmla="*/ 1671746 h 3587738"/>
              <a:gd name="connsiteX5" fmla="*/ 762235 w 1034818"/>
              <a:gd name="connsiteY5" fmla="*/ 3155086 h 3587738"/>
              <a:gd name="connsiteX6" fmla="*/ 427254 w 1034818"/>
              <a:gd name="connsiteY6" fmla="*/ 3586764 h 3587738"/>
              <a:gd name="connsiteX7" fmla="*/ 16841 w 1034818"/>
              <a:gd name="connsiteY7" fmla="*/ 3245217 h 3587738"/>
              <a:gd name="connsiteX8" fmla="*/ 173317 w 1034818"/>
              <a:gd name="connsiteY8" fmla="*/ 2727923 h 3587738"/>
              <a:gd name="connsiteX9" fmla="*/ 206637 w 1034818"/>
              <a:gd name="connsiteY9" fmla="*/ 2209203 h 3587738"/>
              <a:gd name="connsiteX10" fmla="*/ 231939 w 1034818"/>
              <a:gd name="connsiteY10" fmla="*/ 1306773 h 3587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34818" h="3587738">
                <a:moveTo>
                  <a:pt x="231939" y="1306773"/>
                </a:moveTo>
                <a:cubicBezTo>
                  <a:pt x="250138" y="990029"/>
                  <a:pt x="261553" y="526121"/>
                  <a:pt x="315830" y="308740"/>
                </a:cubicBezTo>
                <a:cubicBezTo>
                  <a:pt x="370107" y="91359"/>
                  <a:pt x="444381" y="100070"/>
                  <a:pt x="531793" y="74815"/>
                </a:cubicBezTo>
                <a:cubicBezTo>
                  <a:pt x="619205" y="49560"/>
                  <a:pt x="761394" y="-121002"/>
                  <a:pt x="840304" y="157208"/>
                </a:cubicBezTo>
                <a:cubicBezTo>
                  <a:pt x="919215" y="435418"/>
                  <a:pt x="1059535" y="1177407"/>
                  <a:pt x="1031065" y="1671746"/>
                </a:cubicBezTo>
                <a:cubicBezTo>
                  <a:pt x="1002595" y="2166085"/>
                  <a:pt x="841146" y="2876877"/>
                  <a:pt x="762235" y="3155086"/>
                </a:cubicBezTo>
                <a:cubicBezTo>
                  <a:pt x="683325" y="3433296"/>
                  <a:pt x="489188" y="3602197"/>
                  <a:pt x="427254" y="3586764"/>
                </a:cubicBezTo>
                <a:cubicBezTo>
                  <a:pt x="365320" y="3571331"/>
                  <a:pt x="92216" y="3356666"/>
                  <a:pt x="16841" y="3245217"/>
                </a:cubicBezTo>
                <a:cubicBezTo>
                  <a:pt x="-58534" y="3133768"/>
                  <a:pt x="141684" y="2900592"/>
                  <a:pt x="173317" y="2727923"/>
                </a:cubicBezTo>
                <a:cubicBezTo>
                  <a:pt x="204950" y="2555254"/>
                  <a:pt x="185540" y="2436793"/>
                  <a:pt x="206637" y="2209203"/>
                </a:cubicBezTo>
                <a:cubicBezTo>
                  <a:pt x="242487" y="1886129"/>
                  <a:pt x="213740" y="1623517"/>
                  <a:pt x="231939" y="1306773"/>
                </a:cubicBezTo>
                <a:close/>
              </a:path>
            </a:pathLst>
          </a:custGeom>
          <a:solidFill>
            <a:schemeClr val="accent4">
              <a:lumMod val="60000"/>
              <a:lumOff val="40000"/>
              <a:alpha val="50000"/>
            </a:schemeClr>
          </a:solidFill>
          <a:ln w="19050">
            <a:solidFill>
              <a:schemeClr val="accent4">
                <a:lumMod val="50000"/>
              </a:schemeClr>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43" name="Ovaal 142">
            <a:extLst>
              <a:ext uri="{FF2B5EF4-FFF2-40B4-BE49-F238E27FC236}">
                <a16:creationId xmlns:a16="http://schemas.microsoft.com/office/drawing/2014/main" id="{7E83EEB0-FC54-4472-8581-AC80D7A69840}"/>
              </a:ext>
            </a:extLst>
          </p:cNvPr>
          <p:cNvSpPr/>
          <p:nvPr/>
        </p:nvSpPr>
        <p:spPr>
          <a:xfrm rot="651834">
            <a:off x="8800761" y="2325452"/>
            <a:ext cx="404813" cy="638587"/>
          </a:xfrm>
          <a:custGeom>
            <a:avLst/>
            <a:gdLst>
              <a:gd name="connsiteX0" fmla="*/ 0 w 404813"/>
              <a:gd name="connsiteY0" fmla="*/ 319294 h 638587"/>
              <a:gd name="connsiteX1" fmla="*/ 202407 w 404813"/>
              <a:gd name="connsiteY1" fmla="*/ 0 h 638587"/>
              <a:gd name="connsiteX2" fmla="*/ 404814 w 404813"/>
              <a:gd name="connsiteY2" fmla="*/ 319294 h 638587"/>
              <a:gd name="connsiteX3" fmla="*/ 202407 w 404813"/>
              <a:gd name="connsiteY3" fmla="*/ 638588 h 638587"/>
              <a:gd name="connsiteX4" fmla="*/ 0 w 404813"/>
              <a:gd name="connsiteY4" fmla="*/ 319294 h 6385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4813" h="638587" fill="none" extrusionOk="0">
                <a:moveTo>
                  <a:pt x="0" y="319294"/>
                </a:moveTo>
                <a:cubicBezTo>
                  <a:pt x="5587" y="145475"/>
                  <a:pt x="82698" y="-11820"/>
                  <a:pt x="202407" y="0"/>
                </a:cubicBezTo>
                <a:cubicBezTo>
                  <a:pt x="325096" y="31346"/>
                  <a:pt x="367070" y="127993"/>
                  <a:pt x="404814" y="319294"/>
                </a:cubicBezTo>
                <a:cubicBezTo>
                  <a:pt x="412177" y="492111"/>
                  <a:pt x="320552" y="647823"/>
                  <a:pt x="202407" y="638588"/>
                </a:cubicBezTo>
                <a:cubicBezTo>
                  <a:pt x="101140" y="598697"/>
                  <a:pt x="2982" y="470959"/>
                  <a:pt x="0" y="319294"/>
                </a:cubicBezTo>
                <a:close/>
              </a:path>
              <a:path w="404813" h="638587" stroke="0" extrusionOk="0">
                <a:moveTo>
                  <a:pt x="0" y="319294"/>
                </a:moveTo>
                <a:cubicBezTo>
                  <a:pt x="7359" y="138006"/>
                  <a:pt x="83062" y="810"/>
                  <a:pt x="202407" y="0"/>
                </a:cubicBezTo>
                <a:cubicBezTo>
                  <a:pt x="326641" y="-22425"/>
                  <a:pt x="395708" y="166190"/>
                  <a:pt x="404814" y="319294"/>
                </a:cubicBezTo>
                <a:cubicBezTo>
                  <a:pt x="389144" y="510403"/>
                  <a:pt x="294049" y="644166"/>
                  <a:pt x="202407" y="638588"/>
                </a:cubicBezTo>
                <a:cubicBezTo>
                  <a:pt x="93781" y="602158"/>
                  <a:pt x="-13212" y="507303"/>
                  <a:pt x="0" y="319294"/>
                </a:cubicBezTo>
                <a:close/>
              </a:path>
            </a:pathLst>
          </a:custGeom>
          <a:solidFill>
            <a:srgbClr val="62366E">
              <a:alpha val="50196"/>
            </a:srgbClr>
          </a:solidFill>
          <a:ln w="19050">
            <a:solidFill>
              <a:schemeClr val="accent1"/>
            </a:solidFill>
            <a:prstDash val="lgDash"/>
            <a:extLst>
              <a:ext uri="{C807C97D-BFC1-408E-A445-0C87EB9F89A2}">
                <ask:lineSketchStyleProps xmlns:ask="http://schemas.microsoft.com/office/drawing/2018/sketchyshapes" sd="1935646484">
                  <a:prstGeom prst="ellipse">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44" name="Ovaal 143">
            <a:extLst>
              <a:ext uri="{FF2B5EF4-FFF2-40B4-BE49-F238E27FC236}">
                <a16:creationId xmlns:a16="http://schemas.microsoft.com/office/drawing/2014/main" id="{FDFEE06C-A55E-4F1B-BCDF-EEDC7EF2EF1E}"/>
              </a:ext>
            </a:extLst>
          </p:cNvPr>
          <p:cNvSpPr/>
          <p:nvPr/>
        </p:nvSpPr>
        <p:spPr>
          <a:xfrm rot="1177676">
            <a:off x="9248005" y="1845286"/>
            <a:ext cx="1120065" cy="824325"/>
          </a:xfrm>
          <a:custGeom>
            <a:avLst/>
            <a:gdLst>
              <a:gd name="connsiteX0" fmla="*/ 0 w 1120065"/>
              <a:gd name="connsiteY0" fmla="*/ 412163 h 824325"/>
              <a:gd name="connsiteX1" fmla="*/ 560033 w 1120065"/>
              <a:gd name="connsiteY1" fmla="*/ 0 h 824325"/>
              <a:gd name="connsiteX2" fmla="*/ 1120066 w 1120065"/>
              <a:gd name="connsiteY2" fmla="*/ 412163 h 824325"/>
              <a:gd name="connsiteX3" fmla="*/ 560033 w 1120065"/>
              <a:gd name="connsiteY3" fmla="*/ 824326 h 824325"/>
              <a:gd name="connsiteX4" fmla="*/ 0 w 1120065"/>
              <a:gd name="connsiteY4" fmla="*/ 412163 h 8243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20065" h="824325" fill="none" extrusionOk="0">
                <a:moveTo>
                  <a:pt x="0" y="412163"/>
                </a:moveTo>
                <a:cubicBezTo>
                  <a:pt x="-7979" y="251689"/>
                  <a:pt x="239423" y="-88093"/>
                  <a:pt x="560033" y="0"/>
                </a:cubicBezTo>
                <a:cubicBezTo>
                  <a:pt x="874259" y="-43109"/>
                  <a:pt x="1169754" y="155711"/>
                  <a:pt x="1120066" y="412163"/>
                </a:cubicBezTo>
                <a:cubicBezTo>
                  <a:pt x="1161638" y="712069"/>
                  <a:pt x="932795" y="875233"/>
                  <a:pt x="560033" y="824326"/>
                </a:cubicBezTo>
                <a:cubicBezTo>
                  <a:pt x="283216" y="846254"/>
                  <a:pt x="49399" y="654351"/>
                  <a:pt x="0" y="412163"/>
                </a:cubicBezTo>
                <a:close/>
              </a:path>
              <a:path w="1120065" h="824325" stroke="0" extrusionOk="0">
                <a:moveTo>
                  <a:pt x="0" y="412163"/>
                </a:moveTo>
                <a:cubicBezTo>
                  <a:pt x="15127" y="194124"/>
                  <a:pt x="310107" y="-39020"/>
                  <a:pt x="560033" y="0"/>
                </a:cubicBezTo>
                <a:cubicBezTo>
                  <a:pt x="845648" y="-24985"/>
                  <a:pt x="1103020" y="191431"/>
                  <a:pt x="1120066" y="412163"/>
                </a:cubicBezTo>
                <a:cubicBezTo>
                  <a:pt x="1116453" y="610666"/>
                  <a:pt x="819396" y="779863"/>
                  <a:pt x="560033" y="824326"/>
                </a:cubicBezTo>
                <a:cubicBezTo>
                  <a:pt x="262805" y="856935"/>
                  <a:pt x="4488" y="636861"/>
                  <a:pt x="0" y="412163"/>
                </a:cubicBezTo>
                <a:close/>
              </a:path>
            </a:pathLst>
          </a:custGeom>
          <a:solidFill>
            <a:srgbClr val="67B2E8">
              <a:alpha val="50196"/>
            </a:srgbClr>
          </a:solidFill>
          <a:ln w="19050">
            <a:solidFill>
              <a:schemeClr val="accent2">
                <a:lumMod val="50000"/>
              </a:schemeClr>
            </a:solidFill>
            <a:prstDash val="lgDash"/>
            <a:extLst>
              <a:ext uri="{C807C97D-BFC1-408E-A445-0C87EB9F89A2}">
                <ask:lineSketchStyleProps xmlns:ask="http://schemas.microsoft.com/office/drawing/2018/sketchyshapes" sd="3401541704">
                  <a:prstGeom prst="ellipse">
                    <a:avLst/>
                  </a:prstGeom>
                  <ask:type>
                    <ask:lineSketchScribble/>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45" name="Rechthoek: afgeronde hoeken 13">
            <a:extLst>
              <a:ext uri="{FF2B5EF4-FFF2-40B4-BE49-F238E27FC236}">
                <a16:creationId xmlns:a16="http://schemas.microsoft.com/office/drawing/2014/main" id="{0F1C36CD-E60A-4B4A-A2F9-7A7CE30EC4A8}"/>
              </a:ext>
            </a:extLst>
          </p:cNvPr>
          <p:cNvSpPr/>
          <p:nvPr/>
        </p:nvSpPr>
        <p:spPr>
          <a:xfrm rot="21153609">
            <a:off x="10095606" y="751526"/>
            <a:ext cx="290185" cy="979329"/>
          </a:xfrm>
          <a:custGeom>
            <a:avLst/>
            <a:gdLst>
              <a:gd name="connsiteX0" fmla="*/ 1438 w 290185"/>
              <a:gd name="connsiteY0" fmla="*/ 31103 h 979329"/>
              <a:gd name="connsiteX1" fmla="*/ 66934 w 290185"/>
              <a:gd name="connsiteY1" fmla="*/ 0 h 979329"/>
              <a:gd name="connsiteX2" fmla="*/ 167290 w 290185"/>
              <a:gd name="connsiteY2" fmla="*/ 40325 h 979329"/>
              <a:gd name="connsiteX3" fmla="*/ 216753 w 290185"/>
              <a:gd name="connsiteY3" fmla="*/ 96893 h 979329"/>
              <a:gd name="connsiteX4" fmla="*/ 250203 w 290185"/>
              <a:gd name="connsiteY4" fmla="*/ 186161 h 979329"/>
              <a:gd name="connsiteX5" fmla="*/ 289420 w 290185"/>
              <a:gd name="connsiteY5" fmla="*/ 429548 h 979329"/>
              <a:gd name="connsiteX6" fmla="*/ 280704 w 290185"/>
              <a:gd name="connsiteY6" fmla="*/ 513502 h 979329"/>
              <a:gd name="connsiteX7" fmla="*/ 272706 w 290185"/>
              <a:gd name="connsiteY7" fmla="*/ 672286 h 979329"/>
              <a:gd name="connsiteX8" fmla="*/ 244470 w 290185"/>
              <a:gd name="connsiteY8" fmla="*/ 882795 h 979329"/>
              <a:gd name="connsiteX9" fmla="*/ 187455 w 290185"/>
              <a:gd name="connsiteY9" fmla="*/ 979329 h 979329"/>
              <a:gd name="connsiteX10" fmla="*/ 45817 w 290185"/>
              <a:gd name="connsiteY10" fmla="*/ 977052 h 979329"/>
              <a:gd name="connsiteX11" fmla="*/ 18915 w 290185"/>
              <a:gd name="connsiteY11" fmla="*/ 915648 h 979329"/>
              <a:gd name="connsiteX12" fmla="*/ 38053 w 290185"/>
              <a:gd name="connsiteY12" fmla="*/ 497121 h 979329"/>
              <a:gd name="connsiteX13" fmla="*/ 1438 w 290185"/>
              <a:gd name="connsiteY13" fmla="*/ 31103 h 9793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90185" h="979329" fill="none" extrusionOk="0">
                <a:moveTo>
                  <a:pt x="1438" y="31103"/>
                </a:moveTo>
                <a:cubicBezTo>
                  <a:pt x="902" y="3999"/>
                  <a:pt x="44407" y="4121"/>
                  <a:pt x="66934" y="0"/>
                </a:cubicBezTo>
                <a:cubicBezTo>
                  <a:pt x="112426" y="14824"/>
                  <a:pt x="135867" y="23999"/>
                  <a:pt x="167290" y="40325"/>
                </a:cubicBezTo>
                <a:cubicBezTo>
                  <a:pt x="187727" y="35684"/>
                  <a:pt x="218113" y="70274"/>
                  <a:pt x="216753" y="96893"/>
                </a:cubicBezTo>
                <a:cubicBezTo>
                  <a:pt x="227384" y="123498"/>
                  <a:pt x="237826" y="129839"/>
                  <a:pt x="250203" y="186161"/>
                </a:cubicBezTo>
                <a:cubicBezTo>
                  <a:pt x="259832" y="253675"/>
                  <a:pt x="283304" y="373751"/>
                  <a:pt x="289420" y="429548"/>
                </a:cubicBezTo>
                <a:cubicBezTo>
                  <a:pt x="294717" y="490098"/>
                  <a:pt x="283368" y="477350"/>
                  <a:pt x="280704" y="513502"/>
                </a:cubicBezTo>
                <a:cubicBezTo>
                  <a:pt x="280873" y="549156"/>
                  <a:pt x="275284" y="622449"/>
                  <a:pt x="272706" y="672286"/>
                </a:cubicBezTo>
                <a:cubicBezTo>
                  <a:pt x="261657" y="732088"/>
                  <a:pt x="254769" y="787896"/>
                  <a:pt x="244470" y="882795"/>
                </a:cubicBezTo>
                <a:cubicBezTo>
                  <a:pt x="243253" y="908774"/>
                  <a:pt x="210878" y="978183"/>
                  <a:pt x="187455" y="979329"/>
                </a:cubicBezTo>
                <a:cubicBezTo>
                  <a:pt x="158928" y="983107"/>
                  <a:pt x="76093" y="970760"/>
                  <a:pt x="45817" y="977052"/>
                </a:cubicBezTo>
                <a:cubicBezTo>
                  <a:pt x="26233" y="975414"/>
                  <a:pt x="17153" y="942603"/>
                  <a:pt x="18915" y="915648"/>
                </a:cubicBezTo>
                <a:cubicBezTo>
                  <a:pt x="-20230" y="834110"/>
                  <a:pt x="26433" y="637344"/>
                  <a:pt x="38053" y="497121"/>
                </a:cubicBezTo>
                <a:cubicBezTo>
                  <a:pt x="20589" y="363776"/>
                  <a:pt x="3198" y="126485"/>
                  <a:pt x="1438" y="31103"/>
                </a:cubicBezTo>
                <a:close/>
              </a:path>
              <a:path w="290185" h="979329" stroke="0" extrusionOk="0">
                <a:moveTo>
                  <a:pt x="1438" y="31103"/>
                </a:moveTo>
                <a:cubicBezTo>
                  <a:pt x="3125" y="83"/>
                  <a:pt x="43795" y="-88"/>
                  <a:pt x="66934" y="0"/>
                </a:cubicBezTo>
                <a:cubicBezTo>
                  <a:pt x="106499" y="15137"/>
                  <a:pt x="116901" y="21496"/>
                  <a:pt x="167290" y="40325"/>
                </a:cubicBezTo>
                <a:cubicBezTo>
                  <a:pt x="187954" y="37261"/>
                  <a:pt x="211488" y="73431"/>
                  <a:pt x="216753" y="96893"/>
                </a:cubicBezTo>
                <a:cubicBezTo>
                  <a:pt x="227725" y="123261"/>
                  <a:pt x="241578" y="128636"/>
                  <a:pt x="250203" y="186161"/>
                </a:cubicBezTo>
                <a:cubicBezTo>
                  <a:pt x="262304" y="245359"/>
                  <a:pt x="288366" y="374695"/>
                  <a:pt x="289420" y="429548"/>
                </a:cubicBezTo>
                <a:cubicBezTo>
                  <a:pt x="291058" y="484804"/>
                  <a:pt x="281560" y="473814"/>
                  <a:pt x="280704" y="513502"/>
                </a:cubicBezTo>
                <a:cubicBezTo>
                  <a:pt x="280764" y="564544"/>
                  <a:pt x="279359" y="598440"/>
                  <a:pt x="272706" y="672286"/>
                </a:cubicBezTo>
                <a:cubicBezTo>
                  <a:pt x="256380" y="727517"/>
                  <a:pt x="258118" y="814419"/>
                  <a:pt x="244470" y="882795"/>
                </a:cubicBezTo>
                <a:cubicBezTo>
                  <a:pt x="240782" y="906256"/>
                  <a:pt x="206411" y="978424"/>
                  <a:pt x="187455" y="979329"/>
                </a:cubicBezTo>
                <a:cubicBezTo>
                  <a:pt x="132256" y="971481"/>
                  <a:pt x="114089" y="978126"/>
                  <a:pt x="45817" y="977052"/>
                </a:cubicBezTo>
                <a:cubicBezTo>
                  <a:pt x="23573" y="979271"/>
                  <a:pt x="15264" y="941794"/>
                  <a:pt x="18915" y="915648"/>
                </a:cubicBezTo>
                <a:cubicBezTo>
                  <a:pt x="-3186" y="830999"/>
                  <a:pt x="27244" y="638573"/>
                  <a:pt x="38053" y="497121"/>
                </a:cubicBezTo>
                <a:cubicBezTo>
                  <a:pt x="55531" y="348923"/>
                  <a:pt x="-4778" y="103397"/>
                  <a:pt x="1438" y="31103"/>
                </a:cubicBezTo>
                <a:close/>
              </a:path>
            </a:pathLst>
          </a:custGeom>
          <a:solidFill>
            <a:schemeClr val="accent3">
              <a:lumMod val="75000"/>
              <a:alpha val="50196"/>
            </a:schemeClr>
          </a:solidFill>
          <a:ln w="19050">
            <a:solidFill>
              <a:schemeClr val="accent3">
                <a:lumMod val="50000"/>
              </a:schemeClr>
            </a:solidFill>
            <a:prstDash val="lgDash"/>
            <a:extLst>
              <a:ext uri="{C807C97D-BFC1-408E-A445-0C87EB9F89A2}">
                <ask:lineSketchStyleProps xmlns:ask="http://schemas.microsoft.com/office/drawing/2018/sketchyshapes" sd="1270709264">
                  <a:custGeom>
                    <a:avLst/>
                    <a:gdLst>
                      <a:gd name="connsiteX0" fmla="*/ 0 w 290126"/>
                      <a:gd name="connsiteY0" fmla="*/ 48355 h 920750"/>
                      <a:gd name="connsiteX1" fmla="*/ 48355 w 290126"/>
                      <a:gd name="connsiteY1" fmla="*/ 0 h 920750"/>
                      <a:gd name="connsiteX2" fmla="*/ 241771 w 290126"/>
                      <a:gd name="connsiteY2" fmla="*/ 0 h 920750"/>
                      <a:gd name="connsiteX3" fmla="*/ 290126 w 290126"/>
                      <a:gd name="connsiteY3" fmla="*/ 48355 h 920750"/>
                      <a:gd name="connsiteX4" fmla="*/ 290126 w 290126"/>
                      <a:gd name="connsiteY4" fmla="*/ 872395 h 920750"/>
                      <a:gd name="connsiteX5" fmla="*/ 241771 w 290126"/>
                      <a:gd name="connsiteY5" fmla="*/ 920750 h 920750"/>
                      <a:gd name="connsiteX6" fmla="*/ 48355 w 290126"/>
                      <a:gd name="connsiteY6" fmla="*/ 920750 h 920750"/>
                      <a:gd name="connsiteX7" fmla="*/ 0 w 290126"/>
                      <a:gd name="connsiteY7" fmla="*/ 872395 h 920750"/>
                      <a:gd name="connsiteX8" fmla="*/ 0 w 290126"/>
                      <a:gd name="connsiteY8" fmla="*/ 48355 h 920750"/>
                      <a:gd name="connsiteX0" fmla="*/ 0 w 300252"/>
                      <a:gd name="connsiteY0" fmla="*/ 27821 h 920750"/>
                      <a:gd name="connsiteX1" fmla="*/ 58481 w 300252"/>
                      <a:gd name="connsiteY1" fmla="*/ 0 h 920750"/>
                      <a:gd name="connsiteX2" fmla="*/ 251897 w 300252"/>
                      <a:gd name="connsiteY2" fmla="*/ 0 h 920750"/>
                      <a:gd name="connsiteX3" fmla="*/ 300252 w 300252"/>
                      <a:gd name="connsiteY3" fmla="*/ 48355 h 920750"/>
                      <a:gd name="connsiteX4" fmla="*/ 300252 w 300252"/>
                      <a:gd name="connsiteY4" fmla="*/ 872395 h 920750"/>
                      <a:gd name="connsiteX5" fmla="*/ 251897 w 300252"/>
                      <a:gd name="connsiteY5" fmla="*/ 920750 h 920750"/>
                      <a:gd name="connsiteX6" fmla="*/ 58481 w 300252"/>
                      <a:gd name="connsiteY6" fmla="*/ 920750 h 920750"/>
                      <a:gd name="connsiteX7" fmla="*/ 10126 w 300252"/>
                      <a:gd name="connsiteY7" fmla="*/ 872395 h 920750"/>
                      <a:gd name="connsiteX8" fmla="*/ 0 w 300252"/>
                      <a:gd name="connsiteY8" fmla="*/ 27821 h 920750"/>
                      <a:gd name="connsiteX0" fmla="*/ 0 w 300252"/>
                      <a:gd name="connsiteY0" fmla="*/ 27821 h 920750"/>
                      <a:gd name="connsiteX1" fmla="*/ 58481 w 300252"/>
                      <a:gd name="connsiteY1" fmla="*/ 0 h 920750"/>
                      <a:gd name="connsiteX2" fmla="*/ 251897 w 300252"/>
                      <a:gd name="connsiteY2" fmla="*/ 0 h 920750"/>
                      <a:gd name="connsiteX3" fmla="*/ 300252 w 300252"/>
                      <a:gd name="connsiteY3" fmla="*/ 48355 h 920750"/>
                      <a:gd name="connsiteX4" fmla="*/ 265488 w 300252"/>
                      <a:gd name="connsiteY4" fmla="*/ 844374 h 920750"/>
                      <a:gd name="connsiteX5" fmla="*/ 251897 w 300252"/>
                      <a:gd name="connsiteY5" fmla="*/ 920750 h 920750"/>
                      <a:gd name="connsiteX6" fmla="*/ 58481 w 300252"/>
                      <a:gd name="connsiteY6" fmla="*/ 920750 h 920750"/>
                      <a:gd name="connsiteX7" fmla="*/ 10126 w 300252"/>
                      <a:gd name="connsiteY7" fmla="*/ 872395 h 920750"/>
                      <a:gd name="connsiteX8" fmla="*/ 0 w 300252"/>
                      <a:gd name="connsiteY8" fmla="*/ 27821 h 920750"/>
                      <a:gd name="connsiteX0" fmla="*/ 0 w 300252"/>
                      <a:gd name="connsiteY0" fmla="*/ 27821 h 940908"/>
                      <a:gd name="connsiteX1" fmla="*/ 58481 w 300252"/>
                      <a:gd name="connsiteY1" fmla="*/ 0 h 940908"/>
                      <a:gd name="connsiteX2" fmla="*/ 251897 w 300252"/>
                      <a:gd name="connsiteY2" fmla="*/ 0 h 940908"/>
                      <a:gd name="connsiteX3" fmla="*/ 300252 w 300252"/>
                      <a:gd name="connsiteY3" fmla="*/ 48355 h 940908"/>
                      <a:gd name="connsiteX4" fmla="*/ 265488 w 300252"/>
                      <a:gd name="connsiteY4" fmla="*/ 844374 h 940908"/>
                      <a:gd name="connsiteX5" fmla="*/ 193764 w 300252"/>
                      <a:gd name="connsiteY5" fmla="*/ 940908 h 940908"/>
                      <a:gd name="connsiteX6" fmla="*/ 58481 w 300252"/>
                      <a:gd name="connsiteY6" fmla="*/ 920750 h 940908"/>
                      <a:gd name="connsiteX7" fmla="*/ 10126 w 300252"/>
                      <a:gd name="connsiteY7" fmla="*/ 872395 h 940908"/>
                      <a:gd name="connsiteX8" fmla="*/ 0 w 300252"/>
                      <a:gd name="connsiteY8" fmla="*/ 27821 h 940908"/>
                      <a:gd name="connsiteX0" fmla="*/ 0 w 300252"/>
                      <a:gd name="connsiteY0" fmla="*/ 27821 h 940908"/>
                      <a:gd name="connsiteX1" fmla="*/ 58481 w 300252"/>
                      <a:gd name="connsiteY1" fmla="*/ 0 h 940908"/>
                      <a:gd name="connsiteX2" fmla="*/ 251897 w 300252"/>
                      <a:gd name="connsiteY2" fmla="*/ 0 h 940908"/>
                      <a:gd name="connsiteX3" fmla="*/ 300252 w 300252"/>
                      <a:gd name="connsiteY3" fmla="*/ 48355 h 940908"/>
                      <a:gd name="connsiteX4" fmla="*/ 265488 w 300252"/>
                      <a:gd name="connsiteY4" fmla="*/ 844374 h 940908"/>
                      <a:gd name="connsiteX5" fmla="*/ 193764 w 300252"/>
                      <a:gd name="connsiteY5" fmla="*/ 940908 h 940908"/>
                      <a:gd name="connsiteX6" fmla="*/ 15588 w 300252"/>
                      <a:gd name="connsiteY6" fmla="*/ 938631 h 940908"/>
                      <a:gd name="connsiteX7" fmla="*/ 10126 w 300252"/>
                      <a:gd name="connsiteY7" fmla="*/ 872395 h 940908"/>
                      <a:gd name="connsiteX8" fmla="*/ 0 w 300252"/>
                      <a:gd name="connsiteY8" fmla="*/ 27821 h 940908"/>
                      <a:gd name="connsiteX0" fmla="*/ 18254 w 318506"/>
                      <a:gd name="connsiteY0" fmla="*/ 27821 h 940908"/>
                      <a:gd name="connsiteX1" fmla="*/ 76735 w 318506"/>
                      <a:gd name="connsiteY1" fmla="*/ 0 h 940908"/>
                      <a:gd name="connsiteX2" fmla="*/ 270151 w 318506"/>
                      <a:gd name="connsiteY2" fmla="*/ 0 h 940908"/>
                      <a:gd name="connsiteX3" fmla="*/ 318506 w 318506"/>
                      <a:gd name="connsiteY3" fmla="*/ 48355 h 940908"/>
                      <a:gd name="connsiteX4" fmla="*/ 283742 w 318506"/>
                      <a:gd name="connsiteY4" fmla="*/ 844374 h 940908"/>
                      <a:gd name="connsiteX5" fmla="*/ 212018 w 318506"/>
                      <a:gd name="connsiteY5" fmla="*/ 940908 h 940908"/>
                      <a:gd name="connsiteX6" fmla="*/ 33842 w 318506"/>
                      <a:gd name="connsiteY6" fmla="*/ 938631 h 940908"/>
                      <a:gd name="connsiteX7" fmla="*/ 0 w 318506"/>
                      <a:gd name="connsiteY7" fmla="*/ 877227 h 940908"/>
                      <a:gd name="connsiteX8" fmla="*/ 18254 w 318506"/>
                      <a:gd name="connsiteY8" fmla="*/ 27821 h 940908"/>
                      <a:gd name="connsiteX0" fmla="*/ 0 w 340491"/>
                      <a:gd name="connsiteY0" fmla="*/ 10229 h 958455"/>
                      <a:gd name="connsiteX1" fmla="*/ 98720 w 340491"/>
                      <a:gd name="connsiteY1" fmla="*/ 17547 h 958455"/>
                      <a:gd name="connsiteX2" fmla="*/ 292136 w 340491"/>
                      <a:gd name="connsiteY2" fmla="*/ 17547 h 958455"/>
                      <a:gd name="connsiteX3" fmla="*/ 340491 w 340491"/>
                      <a:gd name="connsiteY3" fmla="*/ 65902 h 958455"/>
                      <a:gd name="connsiteX4" fmla="*/ 305727 w 340491"/>
                      <a:gd name="connsiteY4" fmla="*/ 861921 h 958455"/>
                      <a:gd name="connsiteX5" fmla="*/ 234003 w 340491"/>
                      <a:gd name="connsiteY5" fmla="*/ 958455 h 958455"/>
                      <a:gd name="connsiteX6" fmla="*/ 55827 w 340491"/>
                      <a:gd name="connsiteY6" fmla="*/ 956178 h 958455"/>
                      <a:gd name="connsiteX7" fmla="*/ 21985 w 340491"/>
                      <a:gd name="connsiteY7" fmla="*/ 894774 h 958455"/>
                      <a:gd name="connsiteX8" fmla="*/ 0 w 340491"/>
                      <a:gd name="connsiteY8" fmla="*/ 10229 h 958455"/>
                      <a:gd name="connsiteX0" fmla="*/ 0 w 340491"/>
                      <a:gd name="connsiteY0" fmla="*/ 31103 h 979329"/>
                      <a:gd name="connsiteX1" fmla="*/ 82391 w 340491"/>
                      <a:gd name="connsiteY1" fmla="*/ 0 h 979329"/>
                      <a:gd name="connsiteX2" fmla="*/ 292136 w 340491"/>
                      <a:gd name="connsiteY2" fmla="*/ 38421 h 979329"/>
                      <a:gd name="connsiteX3" fmla="*/ 340491 w 340491"/>
                      <a:gd name="connsiteY3" fmla="*/ 86776 h 979329"/>
                      <a:gd name="connsiteX4" fmla="*/ 305727 w 340491"/>
                      <a:gd name="connsiteY4" fmla="*/ 882795 h 979329"/>
                      <a:gd name="connsiteX5" fmla="*/ 234003 w 340491"/>
                      <a:gd name="connsiteY5" fmla="*/ 979329 h 979329"/>
                      <a:gd name="connsiteX6" fmla="*/ 55827 w 340491"/>
                      <a:gd name="connsiteY6" fmla="*/ 977052 h 979329"/>
                      <a:gd name="connsiteX7" fmla="*/ 21985 w 340491"/>
                      <a:gd name="connsiteY7" fmla="*/ 915648 h 979329"/>
                      <a:gd name="connsiteX8" fmla="*/ 0 w 340491"/>
                      <a:gd name="connsiteY8" fmla="*/ 31103 h 979329"/>
                      <a:gd name="connsiteX0" fmla="*/ 0 w 305727"/>
                      <a:gd name="connsiteY0" fmla="*/ 31103 h 979329"/>
                      <a:gd name="connsiteX1" fmla="*/ 82391 w 305727"/>
                      <a:gd name="connsiteY1" fmla="*/ 0 h 979329"/>
                      <a:gd name="connsiteX2" fmla="*/ 292136 w 305727"/>
                      <a:gd name="connsiteY2" fmla="*/ 38421 h 979329"/>
                      <a:gd name="connsiteX3" fmla="*/ 288748 w 305727"/>
                      <a:gd name="connsiteY3" fmla="*/ 90690 h 979329"/>
                      <a:gd name="connsiteX4" fmla="*/ 305727 w 305727"/>
                      <a:gd name="connsiteY4" fmla="*/ 882795 h 979329"/>
                      <a:gd name="connsiteX5" fmla="*/ 234003 w 305727"/>
                      <a:gd name="connsiteY5" fmla="*/ 979329 h 979329"/>
                      <a:gd name="connsiteX6" fmla="*/ 55827 w 305727"/>
                      <a:gd name="connsiteY6" fmla="*/ 977052 h 979329"/>
                      <a:gd name="connsiteX7" fmla="*/ 21985 w 305727"/>
                      <a:gd name="connsiteY7" fmla="*/ 915648 h 979329"/>
                      <a:gd name="connsiteX8" fmla="*/ 0 w 305727"/>
                      <a:gd name="connsiteY8" fmla="*/ 31103 h 979329"/>
                      <a:gd name="connsiteX0" fmla="*/ 0 w 305727"/>
                      <a:gd name="connsiteY0" fmla="*/ 31103 h 979329"/>
                      <a:gd name="connsiteX1" fmla="*/ 82391 w 305727"/>
                      <a:gd name="connsiteY1" fmla="*/ 0 h 979329"/>
                      <a:gd name="connsiteX2" fmla="*/ 208636 w 305727"/>
                      <a:gd name="connsiteY2" fmla="*/ 40325 h 979329"/>
                      <a:gd name="connsiteX3" fmla="*/ 288748 w 305727"/>
                      <a:gd name="connsiteY3" fmla="*/ 90690 h 979329"/>
                      <a:gd name="connsiteX4" fmla="*/ 305727 w 305727"/>
                      <a:gd name="connsiteY4" fmla="*/ 882795 h 979329"/>
                      <a:gd name="connsiteX5" fmla="*/ 234003 w 305727"/>
                      <a:gd name="connsiteY5" fmla="*/ 979329 h 979329"/>
                      <a:gd name="connsiteX6" fmla="*/ 55827 w 305727"/>
                      <a:gd name="connsiteY6" fmla="*/ 977052 h 979329"/>
                      <a:gd name="connsiteX7" fmla="*/ 21985 w 305727"/>
                      <a:gd name="connsiteY7" fmla="*/ 915648 h 979329"/>
                      <a:gd name="connsiteX8" fmla="*/ 0 w 305727"/>
                      <a:gd name="connsiteY8" fmla="*/ 31103 h 979329"/>
                      <a:gd name="connsiteX0" fmla="*/ 0 w 305727"/>
                      <a:gd name="connsiteY0" fmla="*/ 31103 h 979329"/>
                      <a:gd name="connsiteX1" fmla="*/ 82391 w 305727"/>
                      <a:gd name="connsiteY1" fmla="*/ 0 h 979329"/>
                      <a:gd name="connsiteX2" fmla="*/ 208636 w 305727"/>
                      <a:gd name="connsiteY2" fmla="*/ 40325 h 979329"/>
                      <a:gd name="connsiteX3" fmla="*/ 270859 w 305727"/>
                      <a:gd name="connsiteY3" fmla="*/ 96893 h 979329"/>
                      <a:gd name="connsiteX4" fmla="*/ 305727 w 305727"/>
                      <a:gd name="connsiteY4" fmla="*/ 882795 h 979329"/>
                      <a:gd name="connsiteX5" fmla="*/ 234003 w 305727"/>
                      <a:gd name="connsiteY5" fmla="*/ 979329 h 979329"/>
                      <a:gd name="connsiteX6" fmla="*/ 55827 w 305727"/>
                      <a:gd name="connsiteY6" fmla="*/ 977052 h 979329"/>
                      <a:gd name="connsiteX7" fmla="*/ 21985 w 305727"/>
                      <a:gd name="connsiteY7" fmla="*/ 915648 h 979329"/>
                      <a:gd name="connsiteX8" fmla="*/ 0 w 305727"/>
                      <a:gd name="connsiteY8" fmla="*/ 31103 h 979329"/>
                      <a:gd name="connsiteX0" fmla="*/ 1810 w 307537"/>
                      <a:gd name="connsiteY0" fmla="*/ 31103 h 979329"/>
                      <a:gd name="connsiteX1" fmla="*/ 84201 w 307537"/>
                      <a:gd name="connsiteY1" fmla="*/ 0 h 979329"/>
                      <a:gd name="connsiteX2" fmla="*/ 210446 w 307537"/>
                      <a:gd name="connsiteY2" fmla="*/ 40325 h 979329"/>
                      <a:gd name="connsiteX3" fmla="*/ 272669 w 307537"/>
                      <a:gd name="connsiteY3" fmla="*/ 96893 h 979329"/>
                      <a:gd name="connsiteX4" fmla="*/ 307537 w 307537"/>
                      <a:gd name="connsiteY4" fmla="*/ 882795 h 979329"/>
                      <a:gd name="connsiteX5" fmla="*/ 235813 w 307537"/>
                      <a:gd name="connsiteY5" fmla="*/ 979329 h 979329"/>
                      <a:gd name="connsiteX6" fmla="*/ 57637 w 307537"/>
                      <a:gd name="connsiteY6" fmla="*/ 977052 h 979329"/>
                      <a:gd name="connsiteX7" fmla="*/ 23795 w 307537"/>
                      <a:gd name="connsiteY7" fmla="*/ 915648 h 979329"/>
                      <a:gd name="connsiteX8" fmla="*/ 47870 w 307537"/>
                      <a:gd name="connsiteY8" fmla="*/ 497121 h 979329"/>
                      <a:gd name="connsiteX9" fmla="*/ 1810 w 307537"/>
                      <a:gd name="connsiteY9" fmla="*/ 31103 h 979329"/>
                      <a:gd name="connsiteX0" fmla="*/ 1810 w 341174"/>
                      <a:gd name="connsiteY0" fmla="*/ 31103 h 979329"/>
                      <a:gd name="connsiteX1" fmla="*/ 84201 w 341174"/>
                      <a:gd name="connsiteY1" fmla="*/ 0 h 979329"/>
                      <a:gd name="connsiteX2" fmla="*/ 210446 w 341174"/>
                      <a:gd name="connsiteY2" fmla="*/ 40325 h 979329"/>
                      <a:gd name="connsiteX3" fmla="*/ 272669 w 341174"/>
                      <a:gd name="connsiteY3" fmla="*/ 96893 h 979329"/>
                      <a:gd name="connsiteX4" fmla="*/ 341174 w 341174"/>
                      <a:gd name="connsiteY4" fmla="*/ 441499 h 979329"/>
                      <a:gd name="connsiteX5" fmla="*/ 307537 w 341174"/>
                      <a:gd name="connsiteY5" fmla="*/ 882795 h 979329"/>
                      <a:gd name="connsiteX6" fmla="*/ 235813 w 341174"/>
                      <a:gd name="connsiteY6" fmla="*/ 979329 h 979329"/>
                      <a:gd name="connsiteX7" fmla="*/ 57637 w 341174"/>
                      <a:gd name="connsiteY7" fmla="*/ 977052 h 979329"/>
                      <a:gd name="connsiteX8" fmla="*/ 23795 w 341174"/>
                      <a:gd name="connsiteY8" fmla="*/ 915648 h 979329"/>
                      <a:gd name="connsiteX9" fmla="*/ 47870 w 341174"/>
                      <a:gd name="connsiteY9" fmla="*/ 497121 h 979329"/>
                      <a:gd name="connsiteX10" fmla="*/ 1810 w 341174"/>
                      <a:gd name="connsiteY10" fmla="*/ 31103 h 979329"/>
                      <a:gd name="connsiteX0" fmla="*/ 1810 w 341174"/>
                      <a:gd name="connsiteY0" fmla="*/ 31103 h 979329"/>
                      <a:gd name="connsiteX1" fmla="*/ 84201 w 341174"/>
                      <a:gd name="connsiteY1" fmla="*/ 0 h 979329"/>
                      <a:gd name="connsiteX2" fmla="*/ 210446 w 341174"/>
                      <a:gd name="connsiteY2" fmla="*/ 40325 h 979329"/>
                      <a:gd name="connsiteX3" fmla="*/ 272669 w 341174"/>
                      <a:gd name="connsiteY3" fmla="*/ 96893 h 979329"/>
                      <a:gd name="connsiteX4" fmla="*/ 314748 w 341174"/>
                      <a:gd name="connsiteY4" fmla="*/ 186161 h 979329"/>
                      <a:gd name="connsiteX5" fmla="*/ 341174 w 341174"/>
                      <a:gd name="connsiteY5" fmla="*/ 441499 h 979329"/>
                      <a:gd name="connsiteX6" fmla="*/ 307537 w 341174"/>
                      <a:gd name="connsiteY6" fmla="*/ 882795 h 979329"/>
                      <a:gd name="connsiteX7" fmla="*/ 235813 w 341174"/>
                      <a:gd name="connsiteY7" fmla="*/ 979329 h 979329"/>
                      <a:gd name="connsiteX8" fmla="*/ 57637 w 341174"/>
                      <a:gd name="connsiteY8" fmla="*/ 977052 h 979329"/>
                      <a:gd name="connsiteX9" fmla="*/ 23795 w 341174"/>
                      <a:gd name="connsiteY9" fmla="*/ 915648 h 979329"/>
                      <a:gd name="connsiteX10" fmla="*/ 47870 w 341174"/>
                      <a:gd name="connsiteY10" fmla="*/ 497121 h 979329"/>
                      <a:gd name="connsiteX11" fmla="*/ 1810 w 341174"/>
                      <a:gd name="connsiteY11" fmla="*/ 31103 h 979329"/>
                      <a:gd name="connsiteX0" fmla="*/ 1810 w 344398"/>
                      <a:gd name="connsiteY0" fmla="*/ 31103 h 979329"/>
                      <a:gd name="connsiteX1" fmla="*/ 84201 w 344398"/>
                      <a:gd name="connsiteY1" fmla="*/ 0 h 979329"/>
                      <a:gd name="connsiteX2" fmla="*/ 210446 w 344398"/>
                      <a:gd name="connsiteY2" fmla="*/ 40325 h 979329"/>
                      <a:gd name="connsiteX3" fmla="*/ 272669 w 344398"/>
                      <a:gd name="connsiteY3" fmla="*/ 96893 h 979329"/>
                      <a:gd name="connsiteX4" fmla="*/ 314748 w 344398"/>
                      <a:gd name="connsiteY4" fmla="*/ 186161 h 979329"/>
                      <a:gd name="connsiteX5" fmla="*/ 341174 w 344398"/>
                      <a:gd name="connsiteY5" fmla="*/ 441499 h 979329"/>
                      <a:gd name="connsiteX6" fmla="*/ 343056 w 344398"/>
                      <a:gd name="connsiteY6" fmla="*/ 672286 h 979329"/>
                      <a:gd name="connsiteX7" fmla="*/ 307537 w 344398"/>
                      <a:gd name="connsiteY7" fmla="*/ 882795 h 979329"/>
                      <a:gd name="connsiteX8" fmla="*/ 235813 w 344398"/>
                      <a:gd name="connsiteY8" fmla="*/ 979329 h 979329"/>
                      <a:gd name="connsiteX9" fmla="*/ 57637 w 344398"/>
                      <a:gd name="connsiteY9" fmla="*/ 977052 h 979329"/>
                      <a:gd name="connsiteX10" fmla="*/ 23795 w 344398"/>
                      <a:gd name="connsiteY10" fmla="*/ 915648 h 979329"/>
                      <a:gd name="connsiteX11" fmla="*/ 47870 w 344398"/>
                      <a:gd name="connsiteY11" fmla="*/ 497121 h 979329"/>
                      <a:gd name="connsiteX12" fmla="*/ 1810 w 344398"/>
                      <a:gd name="connsiteY12" fmla="*/ 31103 h 979329"/>
                      <a:gd name="connsiteX0" fmla="*/ 1810 w 353134"/>
                      <a:gd name="connsiteY0" fmla="*/ 31103 h 979329"/>
                      <a:gd name="connsiteX1" fmla="*/ 84201 w 353134"/>
                      <a:gd name="connsiteY1" fmla="*/ 0 h 979329"/>
                      <a:gd name="connsiteX2" fmla="*/ 210446 w 353134"/>
                      <a:gd name="connsiteY2" fmla="*/ 40325 h 979329"/>
                      <a:gd name="connsiteX3" fmla="*/ 272669 w 353134"/>
                      <a:gd name="connsiteY3" fmla="*/ 96893 h 979329"/>
                      <a:gd name="connsiteX4" fmla="*/ 314748 w 353134"/>
                      <a:gd name="connsiteY4" fmla="*/ 186161 h 979329"/>
                      <a:gd name="connsiteX5" fmla="*/ 341174 w 353134"/>
                      <a:gd name="connsiteY5" fmla="*/ 441499 h 979329"/>
                      <a:gd name="connsiteX6" fmla="*/ 353118 w 353134"/>
                      <a:gd name="connsiteY6" fmla="*/ 513502 h 979329"/>
                      <a:gd name="connsiteX7" fmla="*/ 343056 w 353134"/>
                      <a:gd name="connsiteY7" fmla="*/ 672286 h 979329"/>
                      <a:gd name="connsiteX8" fmla="*/ 307537 w 353134"/>
                      <a:gd name="connsiteY8" fmla="*/ 882795 h 979329"/>
                      <a:gd name="connsiteX9" fmla="*/ 235813 w 353134"/>
                      <a:gd name="connsiteY9" fmla="*/ 979329 h 979329"/>
                      <a:gd name="connsiteX10" fmla="*/ 57637 w 353134"/>
                      <a:gd name="connsiteY10" fmla="*/ 977052 h 979329"/>
                      <a:gd name="connsiteX11" fmla="*/ 23795 w 353134"/>
                      <a:gd name="connsiteY11" fmla="*/ 915648 h 979329"/>
                      <a:gd name="connsiteX12" fmla="*/ 47870 w 353134"/>
                      <a:gd name="connsiteY12" fmla="*/ 497121 h 979329"/>
                      <a:gd name="connsiteX13" fmla="*/ 1810 w 353134"/>
                      <a:gd name="connsiteY13" fmla="*/ 31103 h 979329"/>
                      <a:gd name="connsiteX0" fmla="*/ 1810 w 365044"/>
                      <a:gd name="connsiteY0" fmla="*/ 31103 h 979329"/>
                      <a:gd name="connsiteX1" fmla="*/ 84201 w 365044"/>
                      <a:gd name="connsiteY1" fmla="*/ 0 h 979329"/>
                      <a:gd name="connsiteX2" fmla="*/ 210446 w 365044"/>
                      <a:gd name="connsiteY2" fmla="*/ 40325 h 979329"/>
                      <a:gd name="connsiteX3" fmla="*/ 272669 w 365044"/>
                      <a:gd name="connsiteY3" fmla="*/ 96893 h 979329"/>
                      <a:gd name="connsiteX4" fmla="*/ 314748 w 365044"/>
                      <a:gd name="connsiteY4" fmla="*/ 186161 h 979329"/>
                      <a:gd name="connsiteX5" fmla="*/ 364082 w 365044"/>
                      <a:gd name="connsiteY5" fmla="*/ 429548 h 979329"/>
                      <a:gd name="connsiteX6" fmla="*/ 353118 w 365044"/>
                      <a:gd name="connsiteY6" fmla="*/ 513502 h 979329"/>
                      <a:gd name="connsiteX7" fmla="*/ 343056 w 365044"/>
                      <a:gd name="connsiteY7" fmla="*/ 672286 h 979329"/>
                      <a:gd name="connsiteX8" fmla="*/ 307537 w 365044"/>
                      <a:gd name="connsiteY8" fmla="*/ 882795 h 979329"/>
                      <a:gd name="connsiteX9" fmla="*/ 235813 w 365044"/>
                      <a:gd name="connsiteY9" fmla="*/ 979329 h 979329"/>
                      <a:gd name="connsiteX10" fmla="*/ 57637 w 365044"/>
                      <a:gd name="connsiteY10" fmla="*/ 977052 h 979329"/>
                      <a:gd name="connsiteX11" fmla="*/ 23795 w 365044"/>
                      <a:gd name="connsiteY11" fmla="*/ 915648 h 979329"/>
                      <a:gd name="connsiteX12" fmla="*/ 47870 w 365044"/>
                      <a:gd name="connsiteY12" fmla="*/ 497121 h 979329"/>
                      <a:gd name="connsiteX13" fmla="*/ 1810 w 365044"/>
                      <a:gd name="connsiteY13" fmla="*/ 31103 h 9793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65044" h="979329">
                        <a:moveTo>
                          <a:pt x="1810" y="31103"/>
                        </a:moveTo>
                        <a:cubicBezTo>
                          <a:pt x="1810" y="4397"/>
                          <a:pt x="57495" y="0"/>
                          <a:pt x="84201" y="0"/>
                        </a:cubicBezTo>
                        <a:lnTo>
                          <a:pt x="210446" y="40325"/>
                        </a:lnTo>
                        <a:cubicBezTo>
                          <a:pt x="237152" y="40325"/>
                          <a:pt x="272669" y="70187"/>
                          <a:pt x="272669" y="96893"/>
                        </a:cubicBezTo>
                        <a:cubicBezTo>
                          <a:pt x="285626" y="122400"/>
                          <a:pt x="303331" y="128727"/>
                          <a:pt x="314748" y="186161"/>
                        </a:cubicBezTo>
                        <a:cubicBezTo>
                          <a:pt x="326165" y="243595"/>
                          <a:pt x="359056" y="372680"/>
                          <a:pt x="364082" y="429548"/>
                        </a:cubicBezTo>
                        <a:cubicBezTo>
                          <a:pt x="369108" y="486416"/>
                          <a:pt x="352804" y="475038"/>
                          <a:pt x="353118" y="513502"/>
                        </a:cubicBezTo>
                        <a:cubicBezTo>
                          <a:pt x="353432" y="551966"/>
                          <a:pt x="349284" y="613049"/>
                          <a:pt x="343056" y="672286"/>
                        </a:cubicBezTo>
                        <a:lnTo>
                          <a:pt x="307537" y="882795"/>
                        </a:lnTo>
                        <a:cubicBezTo>
                          <a:pt x="307537" y="909501"/>
                          <a:pt x="262519" y="979329"/>
                          <a:pt x="235813" y="979329"/>
                        </a:cubicBezTo>
                        <a:lnTo>
                          <a:pt x="57637" y="977052"/>
                        </a:lnTo>
                        <a:cubicBezTo>
                          <a:pt x="30931" y="977052"/>
                          <a:pt x="23795" y="942354"/>
                          <a:pt x="23795" y="915648"/>
                        </a:cubicBezTo>
                        <a:cubicBezTo>
                          <a:pt x="15871" y="834837"/>
                          <a:pt x="51534" y="644545"/>
                          <a:pt x="47870" y="497121"/>
                        </a:cubicBezTo>
                        <a:cubicBezTo>
                          <a:pt x="44206" y="349697"/>
                          <a:pt x="-10542" y="113134"/>
                          <a:pt x="1810" y="31103"/>
                        </a:cubicBezTo>
                        <a:close/>
                      </a:path>
                    </a:pathLst>
                  </a:cu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46" name="Rechthoek: afgeronde hoeken 14">
            <a:extLst>
              <a:ext uri="{FF2B5EF4-FFF2-40B4-BE49-F238E27FC236}">
                <a16:creationId xmlns:a16="http://schemas.microsoft.com/office/drawing/2014/main" id="{5EF43718-1B7C-4C52-A489-E743BF3FA4BC}"/>
              </a:ext>
            </a:extLst>
          </p:cNvPr>
          <p:cNvSpPr/>
          <p:nvPr/>
        </p:nvSpPr>
        <p:spPr>
          <a:xfrm rot="646931">
            <a:off x="7566996" y="2444231"/>
            <a:ext cx="326633" cy="699313"/>
          </a:xfrm>
          <a:custGeom>
            <a:avLst/>
            <a:gdLst>
              <a:gd name="connsiteX0" fmla="*/ 41215 w 326633"/>
              <a:gd name="connsiteY0" fmla="*/ 41142 h 699313"/>
              <a:gd name="connsiteX1" fmla="*/ 83166 w 326633"/>
              <a:gd name="connsiteY1" fmla="*/ 304 h 699313"/>
              <a:gd name="connsiteX2" fmla="*/ 264579 w 326633"/>
              <a:gd name="connsiteY2" fmla="*/ 0 h 699313"/>
              <a:gd name="connsiteX3" fmla="*/ 292919 w 326633"/>
              <a:gd name="connsiteY3" fmla="*/ 41142 h 699313"/>
              <a:gd name="connsiteX4" fmla="*/ 326633 w 326633"/>
              <a:gd name="connsiteY4" fmla="*/ 667751 h 699313"/>
              <a:gd name="connsiteX5" fmla="*/ 250967 w 326633"/>
              <a:gd name="connsiteY5" fmla="*/ 699313 h 699313"/>
              <a:gd name="connsiteX6" fmla="*/ 83166 w 326633"/>
              <a:gd name="connsiteY6" fmla="*/ 699313 h 699313"/>
              <a:gd name="connsiteX7" fmla="*/ 41215 w 326633"/>
              <a:gd name="connsiteY7" fmla="*/ 658474 h 699313"/>
              <a:gd name="connsiteX8" fmla="*/ 0 w 326633"/>
              <a:gd name="connsiteY8" fmla="*/ 292059 h 699313"/>
              <a:gd name="connsiteX9" fmla="*/ 41215 w 326633"/>
              <a:gd name="connsiteY9" fmla="*/ 41142 h 6993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26633" h="699313" fill="none" extrusionOk="0">
                <a:moveTo>
                  <a:pt x="41215" y="41142"/>
                </a:moveTo>
                <a:cubicBezTo>
                  <a:pt x="46527" y="19365"/>
                  <a:pt x="57739" y="-2106"/>
                  <a:pt x="83166" y="304"/>
                </a:cubicBezTo>
                <a:cubicBezTo>
                  <a:pt x="146510" y="294"/>
                  <a:pt x="211190" y="-4990"/>
                  <a:pt x="264579" y="0"/>
                </a:cubicBezTo>
                <a:cubicBezTo>
                  <a:pt x="287761" y="1207"/>
                  <a:pt x="290626" y="18176"/>
                  <a:pt x="292919" y="41142"/>
                </a:cubicBezTo>
                <a:cubicBezTo>
                  <a:pt x="313461" y="296224"/>
                  <a:pt x="267889" y="441194"/>
                  <a:pt x="326633" y="667751"/>
                </a:cubicBezTo>
                <a:cubicBezTo>
                  <a:pt x="330276" y="693907"/>
                  <a:pt x="270706" y="699095"/>
                  <a:pt x="250967" y="699313"/>
                </a:cubicBezTo>
                <a:cubicBezTo>
                  <a:pt x="210763" y="698781"/>
                  <a:pt x="130077" y="697708"/>
                  <a:pt x="83166" y="699313"/>
                </a:cubicBezTo>
                <a:cubicBezTo>
                  <a:pt x="60123" y="700529"/>
                  <a:pt x="42584" y="681779"/>
                  <a:pt x="41215" y="658474"/>
                </a:cubicBezTo>
                <a:cubicBezTo>
                  <a:pt x="31787" y="520597"/>
                  <a:pt x="9069" y="399299"/>
                  <a:pt x="0" y="292059"/>
                </a:cubicBezTo>
                <a:cubicBezTo>
                  <a:pt x="23567" y="215025"/>
                  <a:pt x="19997" y="119162"/>
                  <a:pt x="41215" y="41142"/>
                </a:cubicBezTo>
                <a:close/>
              </a:path>
              <a:path w="326633" h="699313" stroke="0" extrusionOk="0">
                <a:moveTo>
                  <a:pt x="41215" y="41142"/>
                </a:moveTo>
                <a:cubicBezTo>
                  <a:pt x="41379" y="17857"/>
                  <a:pt x="55452" y="2229"/>
                  <a:pt x="83166" y="304"/>
                </a:cubicBezTo>
                <a:cubicBezTo>
                  <a:pt x="134729" y="-2620"/>
                  <a:pt x="218615" y="8385"/>
                  <a:pt x="264579" y="0"/>
                </a:cubicBezTo>
                <a:cubicBezTo>
                  <a:pt x="290869" y="2605"/>
                  <a:pt x="292126" y="20255"/>
                  <a:pt x="292919" y="41142"/>
                </a:cubicBezTo>
                <a:cubicBezTo>
                  <a:pt x="334447" y="250029"/>
                  <a:pt x="252114" y="463463"/>
                  <a:pt x="326633" y="667751"/>
                </a:cubicBezTo>
                <a:cubicBezTo>
                  <a:pt x="329251" y="686496"/>
                  <a:pt x="272724" y="695847"/>
                  <a:pt x="250967" y="699313"/>
                </a:cubicBezTo>
                <a:cubicBezTo>
                  <a:pt x="195632" y="695766"/>
                  <a:pt x="134634" y="703016"/>
                  <a:pt x="83166" y="699313"/>
                </a:cubicBezTo>
                <a:cubicBezTo>
                  <a:pt x="59285" y="701873"/>
                  <a:pt x="40460" y="679606"/>
                  <a:pt x="41215" y="658474"/>
                </a:cubicBezTo>
                <a:cubicBezTo>
                  <a:pt x="34037" y="526091"/>
                  <a:pt x="-1268" y="416179"/>
                  <a:pt x="0" y="292059"/>
                </a:cubicBezTo>
                <a:cubicBezTo>
                  <a:pt x="3224" y="236970"/>
                  <a:pt x="33350" y="147320"/>
                  <a:pt x="41215" y="41142"/>
                </a:cubicBezTo>
                <a:close/>
              </a:path>
            </a:pathLst>
          </a:custGeom>
          <a:solidFill>
            <a:schemeClr val="accent3">
              <a:lumMod val="75000"/>
              <a:alpha val="50196"/>
            </a:schemeClr>
          </a:solidFill>
          <a:ln w="19050">
            <a:solidFill>
              <a:schemeClr val="accent3">
                <a:lumMod val="50000"/>
              </a:schemeClr>
            </a:solidFill>
            <a:prstDash val="lgDash"/>
            <a:extLst>
              <a:ext uri="{C807C97D-BFC1-408E-A445-0C87EB9F89A2}">
                <ask:lineSketchStyleProps xmlns:ask="http://schemas.microsoft.com/office/drawing/2018/sketchyshapes" sd="1343802768">
                  <a:custGeom>
                    <a:avLst/>
                    <a:gdLst>
                      <a:gd name="connsiteX0" fmla="*/ 0 w 303332"/>
                      <a:gd name="connsiteY0" fmla="*/ 50556 h 865339"/>
                      <a:gd name="connsiteX1" fmla="*/ 50556 w 303332"/>
                      <a:gd name="connsiteY1" fmla="*/ 0 h 865339"/>
                      <a:gd name="connsiteX2" fmla="*/ 252776 w 303332"/>
                      <a:gd name="connsiteY2" fmla="*/ 0 h 865339"/>
                      <a:gd name="connsiteX3" fmla="*/ 303332 w 303332"/>
                      <a:gd name="connsiteY3" fmla="*/ 50556 h 865339"/>
                      <a:gd name="connsiteX4" fmla="*/ 303332 w 303332"/>
                      <a:gd name="connsiteY4" fmla="*/ 814783 h 865339"/>
                      <a:gd name="connsiteX5" fmla="*/ 252776 w 303332"/>
                      <a:gd name="connsiteY5" fmla="*/ 865339 h 865339"/>
                      <a:gd name="connsiteX6" fmla="*/ 50556 w 303332"/>
                      <a:gd name="connsiteY6" fmla="*/ 865339 h 865339"/>
                      <a:gd name="connsiteX7" fmla="*/ 0 w 303332"/>
                      <a:gd name="connsiteY7" fmla="*/ 814783 h 865339"/>
                      <a:gd name="connsiteX8" fmla="*/ 0 w 303332"/>
                      <a:gd name="connsiteY8" fmla="*/ 50556 h 865339"/>
                      <a:gd name="connsiteX0" fmla="*/ 0 w 303332"/>
                      <a:gd name="connsiteY0" fmla="*/ 50933 h 865716"/>
                      <a:gd name="connsiteX1" fmla="*/ 50556 w 303332"/>
                      <a:gd name="connsiteY1" fmla="*/ 377 h 865716"/>
                      <a:gd name="connsiteX2" fmla="*/ 269179 w 303332"/>
                      <a:gd name="connsiteY2" fmla="*/ 0 h 865716"/>
                      <a:gd name="connsiteX3" fmla="*/ 303332 w 303332"/>
                      <a:gd name="connsiteY3" fmla="*/ 50933 h 865716"/>
                      <a:gd name="connsiteX4" fmla="*/ 303332 w 303332"/>
                      <a:gd name="connsiteY4" fmla="*/ 815160 h 865716"/>
                      <a:gd name="connsiteX5" fmla="*/ 252776 w 303332"/>
                      <a:gd name="connsiteY5" fmla="*/ 865716 h 865716"/>
                      <a:gd name="connsiteX6" fmla="*/ 50556 w 303332"/>
                      <a:gd name="connsiteY6" fmla="*/ 865716 h 865716"/>
                      <a:gd name="connsiteX7" fmla="*/ 0 w 303332"/>
                      <a:gd name="connsiteY7" fmla="*/ 815160 h 865716"/>
                      <a:gd name="connsiteX8" fmla="*/ 0 w 303332"/>
                      <a:gd name="connsiteY8" fmla="*/ 50933 h 865716"/>
                      <a:gd name="connsiteX0" fmla="*/ 49669 w 353001"/>
                      <a:gd name="connsiteY0" fmla="*/ 50933 h 865716"/>
                      <a:gd name="connsiteX1" fmla="*/ 100225 w 353001"/>
                      <a:gd name="connsiteY1" fmla="*/ 377 h 865716"/>
                      <a:gd name="connsiteX2" fmla="*/ 318848 w 353001"/>
                      <a:gd name="connsiteY2" fmla="*/ 0 h 865716"/>
                      <a:gd name="connsiteX3" fmla="*/ 353001 w 353001"/>
                      <a:gd name="connsiteY3" fmla="*/ 50933 h 865716"/>
                      <a:gd name="connsiteX4" fmla="*/ 353001 w 353001"/>
                      <a:gd name="connsiteY4" fmla="*/ 815160 h 865716"/>
                      <a:gd name="connsiteX5" fmla="*/ 302445 w 353001"/>
                      <a:gd name="connsiteY5" fmla="*/ 865716 h 865716"/>
                      <a:gd name="connsiteX6" fmla="*/ 100225 w 353001"/>
                      <a:gd name="connsiteY6" fmla="*/ 865716 h 865716"/>
                      <a:gd name="connsiteX7" fmla="*/ 49669 w 353001"/>
                      <a:gd name="connsiteY7" fmla="*/ 815160 h 865716"/>
                      <a:gd name="connsiteX8" fmla="*/ 0 w 353001"/>
                      <a:gd name="connsiteY8" fmla="*/ 361556 h 865716"/>
                      <a:gd name="connsiteX9" fmla="*/ 49669 w 353001"/>
                      <a:gd name="connsiteY9" fmla="*/ 50933 h 865716"/>
                      <a:gd name="connsiteX0" fmla="*/ 49669 w 393630"/>
                      <a:gd name="connsiteY0" fmla="*/ 50933 h 865716"/>
                      <a:gd name="connsiteX1" fmla="*/ 100225 w 393630"/>
                      <a:gd name="connsiteY1" fmla="*/ 377 h 865716"/>
                      <a:gd name="connsiteX2" fmla="*/ 318848 w 393630"/>
                      <a:gd name="connsiteY2" fmla="*/ 0 h 865716"/>
                      <a:gd name="connsiteX3" fmla="*/ 353001 w 393630"/>
                      <a:gd name="connsiteY3" fmla="*/ 50933 h 865716"/>
                      <a:gd name="connsiteX4" fmla="*/ 393630 w 393630"/>
                      <a:gd name="connsiteY4" fmla="*/ 826644 h 865716"/>
                      <a:gd name="connsiteX5" fmla="*/ 302445 w 393630"/>
                      <a:gd name="connsiteY5" fmla="*/ 865716 h 865716"/>
                      <a:gd name="connsiteX6" fmla="*/ 100225 w 393630"/>
                      <a:gd name="connsiteY6" fmla="*/ 865716 h 865716"/>
                      <a:gd name="connsiteX7" fmla="*/ 49669 w 393630"/>
                      <a:gd name="connsiteY7" fmla="*/ 815160 h 865716"/>
                      <a:gd name="connsiteX8" fmla="*/ 0 w 393630"/>
                      <a:gd name="connsiteY8" fmla="*/ 361556 h 865716"/>
                      <a:gd name="connsiteX9" fmla="*/ 49669 w 393630"/>
                      <a:gd name="connsiteY9" fmla="*/ 50933 h 865716"/>
                      <a:gd name="connsiteX0" fmla="*/ 49669 w 393630"/>
                      <a:gd name="connsiteY0" fmla="*/ 50933 h 865716"/>
                      <a:gd name="connsiteX1" fmla="*/ 100225 w 393630"/>
                      <a:gd name="connsiteY1" fmla="*/ 377 h 865716"/>
                      <a:gd name="connsiteX2" fmla="*/ 318848 w 393630"/>
                      <a:gd name="connsiteY2" fmla="*/ 0 h 865716"/>
                      <a:gd name="connsiteX3" fmla="*/ 353001 w 393630"/>
                      <a:gd name="connsiteY3" fmla="*/ 50933 h 865716"/>
                      <a:gd name="connsiteX4" fmla="*/ 393630 w 393630"/>
                      <a:gd name="connsiteY4" fmla="*/ 826644 h 865716"/>
                      <a:gd name="connsiteX5" fmla="*/ 302445 w 393630"/>
                      <a:gd name="connsiteY5" fmla="*/ 865716 h 865716"/>
                      <a:gd name="connsiteX6" fmla="*/ 100225 w 393630"/>
                      <a:gd name="connsiteY6" fmla="*/ 865716 h 865716"/>
                      <a:gd name="connsiteX7" fmla="*/ 49669 w 393630"/>
                      <a:gd name="connsiteY7" fmla="*/ 815160 h 865716"/>
                      <a:gd name="connsiteX8" fmla="*/ 0 w 393630"/>
                      <a:gd name="connsiteY8" fmla="*/ 361556 h 865716"/>
                      <a:gd name="connsiteX9" fmla="*/ 49669 w 393630"/>
                      <a:gd name="connsiteY9" fmla="*/ 50933 h 8657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93630" h="865716">
                        <a:moveTo>
                          <a:pt x="49669" y="50933"/>
                        </a:moveTo>
                        <a:cubicBezTo>
                          <a:pt x="49669" y="23012"/>
                          <a:pt x="72304" y="377"/>
                          <a:pt x="100225" y="377"/>
                        </a:cubicBezTo>
                        <a:lnTo>
                          <a:pt x="318848" y="0"/>
                        </a:lnTo>
                        <a:cubicBezTo>
                          <a:pt x="346769" y="0"/>
                          <a:pt x="353001" y="23012"/>
                          <a:pt x="353001" y="50933"/>
                        </a:cubicBezTo>
                        <a:cubicBezTo>
                          <a:pt x="366544" y="309503"/>
                          <a:pt x="337945" y="548640"/>
                          <a:pt x="393630" y="826644"/>
                        </a:cubicBezTo>
                        <a:cubicBezTo>
                          <a:pt x="393630" y="854565"/>
                          <a:pt x="330366" y="865716"/>
                          <a:pt x="302445" y="865716"/>
                        </a:cubicBezTo>
                        <a:lnTo>
                          <a:pt x="100225" y="865716"/>
                        </a:lnTo>
                        <a:cubicBezTo>
                          <a:pt x="72304" y="865716"/>
                          <a:pt x="49669" y="843081"/>
                          <a:pt x="49669" y="815160"/>
                        </a:cubicBezTo>
                        <a:cubicBezTo>
                          <a:pt x="47076" y="660384"/>
                          <a:pt x="2593" y="516332"/>
                          <a:pt x="0" y="361556"/>
                        </a:cubicBezTo>
                        <a:lnTo>
                          <a:pt x="49669" y="50933"/>
                        </a:lnTo>
                        <a:close/>
                      </a:path>
                    </a:pathLst>
                  </a:cu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47" name="Rechthoek: afgeronde hoeken 202">
            <a:extLst>
              <a:ext uri="{FF2B5EF4-FFF2-40B4-BE49-F238E27FC236}">
                <a16:creationId xmlns:a16="http://schemas.microsoft.com/office/drawing/2014/main" id="{53AA44A7-D134-4988-AA77-94DB92058F24}"/>
              </a:ext>
            </a:extLst>
          </p:cNvPr>
          <p:cNvSpPr/>
          <p:nvPr/>
        </p:nvSpPr>
        <p:spPr>
          <a:xfrm rot="646931">
            <a:off x="7357547" y="3575166"/>
            <a:ext cx="289187" cy="724393"/>
          </a:xfrm>
          <a:custGeom>
            <a:avLst/>
            <a:gdLst>
              <a:gd name="connsiteX0" fmla="*/ 0 w 289187"/>
              <a:gd name="connsiteY0" fmla="*/ 48199 h 715183"/>
              <a:gd name="connsiteX1" fmla="*/ 48199 w 289187"/>
              <a:gd name="connsiteY1" fmla="*/ 0 h 715183"/>
              <a:gd name="connsiteX2" fmla="*/ 240988 w 289187"/>
              <a:gd name="connsiteY2" fmla="*/ 0 h 715183"/>
              <a:gd name="connsiteX3" fmla="*/ 289187 w 289187"/>
              <a:gd name="connsiteY3" fmla="*/ 48199 h 715183"/>
              <a:gd name="connsiteX4" fmla="*/ 289187 w 289187"/>
              <a:gd name="connsiteY4" fmla="*/ 666984 h 715183"/>
              <a:gd name="connsiteX5" fmla="*/ 240988 w 289187"/>
              <a:gd name="connsiteY5" fmla="*/ 715183 h 715183"/>
              <a:gd name="connsiteX6" fmla="*/ 48199 w 289187"/>
              <a:gd name="connsiteY6" fmla="*/ 715183 h 715183"/>
              <a:gd name="connsiteX7" fmla="*/ 0 w 289187"/>
              <a:gd name="connsiteY7" fmla="*/ 666984 h 715183"/>
              <a:gd name="connsiteX8" fmla="*/ 0 w 289187"/>
              <a:gd name="connsiteY8" fmla="*/ 48199 h 715183"/>
              <a:gd name="connsiteX0" fmla="*/ 0 w 289187"/>
              <a:gd name="connsiteY0" fmla="*/ 57409 h 724393"/>
              <a:gd name="connsiteX1" fmla="*/ 82140 w 289187"/>
              <a:gd name="connsiteY1" fmla="*/ 0 h 724393"/>
              <a:gd name="connsiteX2" fmla="*/ 240988 w 289187"/>
              <a:gd name="connsiteY2" fmla="*/ 9210 h 724393"/>
              <a:gd name="connsiteX3" fmla="*/ 289187 w 289187"/>
              <a:gd name="connsiteY3" fmla="*/ 57409 h 724393"/>
              <a:gd name="connsiteX4" fmla="*/ 289187 w 289187"/>
              <a:gd name="connsiteY4" fmla="*/ 676194 h 724393"/>
              <a:gd name="connsiteX5" fmla="*/ 240988 w 289187"/>
              <a:gd name="connsiteY5" fmla="*/ 724393 h 724393"/>
              <a:gd name="connsiteX6" fmla="*/ 48199 w 289187"/>
              <a:gd name="connsiteY6" fmla="*/ 724393 h 724393"/>
              <a:gd name="connsiteX7" fmla="*/ 0 w 289187"/>
              <a:gd name="connsiteY7" fmla="*/ 676194 h 724393"/>
              <a:gd name="connsiteX8" fmla="*/ 0 w 289187"/>
              <a:gd name="connsiteY8" fmla="*/ 57409 h 7243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9187" h="724393">
                <a:moveTo>
                  <a:pt x="0" y="57409"/>
                </a:moveTo>
                <a:cubicBezTo>
                  <a:pt x="0" y="30789"/>
                  <a:pt x="55520" y="0"/>
                  <a:pt x="82140" y="0"/>
                </a:cubicBezTo>
                <a:cubicBezTo>
                  <a:pt x="146403" y="0"/>
                  <a:pt x="176725" y="9210"/>
                  <a:pt x="240988" y="9210"/>
                </a:cubicBezTo>
                <a:cubicBezTo>
                  <a:pt x="267608" y="9210"/>
                  <a:pt x="289187" y="30789"/>
                  <a:pt x="289187" y="57409"/>
                </a:cubicBezTo>
                <a:lnTo>
                  <a:pt x="289187" y="676194"/>
                </a:lnTo>
                <a:cubicBezTo>
                  <a:pt x="289187" y="702814"/>
                  <a:pt x="267608" y="724393"/>
                  <a:pt x="240988" y="724393"/>
                </a:cubicBezTo>
                <a:lnTo>
                  <a:pt x="48199" y="724393"/>
                </a:lnTo>
                <a:cubicBezTo>
                  <a:pt x="21579" y="724393"/>
                  <a:pt x="0" y="702814"/>
                  <a:pt x="0" y="676194"/>
                </a:cubicBezTo>
                <a:lnTo>
                  <a:pt x="0" y="57409"/>
                </a:lnTo>
                <a:close/>
              </a:path>
            </a:pathLst>
          </a:custGeom>
          <a:solidFill>
            <a:schemeClr val="accent3">
              <a:lumMod val="75000"/>
              <a:alpha val="50196"/>
            </a:schemeClr>
          </a:solidFill>
          <a:ln w="19050">
            <a:solidFill>
              <a:schemeClr val="accent3">
                <a:lumMod val="50000"/>
              </a:schemeClr>
            </a:solidFill>
            <a:prstDash val="lgDash"/>
            <a:extLst>
              <a:ext uri="{C807C97D-BFC1-408E-A445-0C87EB9F89A2}">
                <ask:lineSketchStyleProps xmlns:ask="http://schemas.microsoft.com/office/drawing/2018/sketchyshapes" sd="690809821">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48" name="Rechthoek: afgeronde hoeken 105">
            <a:extLst>
              <a:ext uri="{FF2B5EF4-FFF2-40B4-BE49-F238E27FC236}">
                <a16:creationId xmlns:a16="http://schemas.microsoft.com/office/drawing/2014/main" id="{DFADCEB4-EA24-422B-9DDE-39DE715FBFC0}"/>
              </a:ext>
            </a:extLst>
          </p:cNvPr>
          <p:cNvSpPr/>
          <p:nvPr/>
        </p:nvSpPr>
        <p:spPr>
          <a:xfrm rot="646931">
            <a:off x="9693942" y="2998226"/>
            <a:ext cx="297940" cy="564150"/>
          </a:xfrm>
          <a:solidFill>
            <a:schemeClr val="accent3">
              <a:lumMod val="75000"/>
              <a:alpha val="50196"/>
            </a:schemeClr>
          </a:solidFill>
          <a:ln w="19050">
            <a:solidFill>
              <a:schemeClr val="accent3">
                <a:lumMod val="50000"/>
              </a:schemeClr>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49" name="Rechthoek: afgeronde hoeken 106">
            <a:extLst>
              <a:ext uri="{FF2B5EF4-FFF2-40B4-BE49-F238E27FC236}">
                <a16:creationId xmlns:a16="http://schemas.microsoft.com/office/drawing/2014/main" id="{1B8455AC-4CA0-4A0D-80A2-1B722EE03B26}"/>
              </a:ext>
            </a:extLst>
          </p:cNvPr>
          <p:cNvSpPr/>
          <p:nvPr/>
        </p:nvSpPr>
        <p:spPr>
          <a:xfrm rot="646931">
            <a:off x="9427230" y="4087662"/>
            <a:ext cx="296543" cy="826980"/>
          </a:xfrm>
          <a:solidFill>
            <a:schemeClr val="accent3">
              <a:lumMod val="75000"/>
              <a:alpha val="50196"/>
            </a:schemeClr>
          </a:solidFill>
          <a:ln w="19050">
            <a:solidFill>
              <a:schemeClr val="accent3">
                <a:lumMod val="50000"/>
              </a:schemeClr>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50" name="Ovaal 149">
            <a:extLst>
              <a:ext uri="{FF2B5EF4-FFF2-40B4-BE49-F238E27FC236}">
                <a16:creationId xmlns:a16="http://schemas.microsoft.com/office/drawing/2014/main" id="{401E1C5F-7FE8-4EE6-A779-76747CDFA956}"/>
              </a:ext>
            </a:extLst>
          </p:cNvPr>
          <p:cNvSpPr/>
          <p:nvPr/>
        </p:nvSpPr>
        <p:spPr>
          <a:xfrm rot="768690">
            <a:off x="8901691" y="3347435"/>
            <a:ext cx="1121630" cy="706473"/>
          </a:xfrm>
          <a:custGeom>
            <a:avLst/>
            <a:gdLst>
              <a:gd name="connsiteX0" fmla="*/ 0 w 1121630"/>
              <a:gd name="connsiteY0" fmla="*/ 353237 h 706473"/>
              <a:gd name="connsiteX1" fmla="*/ 560815 w 1121630"/>
              <a:gd name="connsiteY1" fmla="*/ 0 h 706473"/>
              <a:gd name="connsiteX2" fmla="*/ 1121630 w 1121630"/>
              <a:gd name="connsiteY2" fmla="*/ 353237 h 706473"/>
              <a:gd name="connsiteX3" fmla="*/ 560815 w 1121630"/>
              <a:gd name="connsiteY3" fmla="*/ 706474 h 706473"/>
              <a:gd name="connsiteX4" fmla="*/ 0 w 1121630"/>
              <a:gd name="connsiteY4" fmla="*/ 353237 h 706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21630" h="706473" fill="none" extrusionOk="0">
                <a:moveTo>
                  <a:pt x="0" y="353237"/>
                </a:moveTo>
                <a:cubicBezTo>
                  <a:pt x="17883" y="174722"/>
                  <a:pt x="279540" y="-4123"/>
                  <a:pt x="560815" y="0"/>
                </a:cubicBezTo>
                <a:cubicBezTo>
                  <a:pt x="839175" y="-5290"/>
                  <a:pt x="1125705" y="160119"/>
                  <a:pt x="1121630" y="353237"/>
                </a:cubicBezTo>
                <a:cubicBezTo>
                  <a:pt x="1061207" y="532203"/>
                  <a:pt x="853353" y="704917"/>
                  <a:pt x="560815" y="706474"/>
                </a:cubicBezTo>
                <a:cubicBezTo>
                  <a:pt x="243658" y="739916"/>
                  <a:pt x="-26383" y="541573"/>
                  <a:pt x="0" y="353237"/>
                </a:cubicBezTo>
                <a:close/>
              </a:path>
              <a:path w="1121630" h="706473" stroke="0" extrusionOk="0">
                <a:moveTo>
                  <a:pt x="0" y="353237"/>
                </a:moveTo>
                <a:cubicBezTo>
                  <a:pt x="-10850" y="85418"/>
                  <a:pt x="244915" y="-12932"/>
                  <a:pt x="560815" y="0"/>
                </a:cubicBezTo>
                <a:cubicBezTo>
                  <a:pt x="898279" y="-1195"/>
                  <a:pt x="1123316" y="165394"/>
                  <a:pt x="1121630" y="353237"/>
                </a:cubicBezTo>
                <a:cubicBezTo>
                  <a:pt x="1137775" y="539288"/>
                  <a:pt x="820957" y="751682"/>
                  <a:pt x="560815" y="706474"/>
                </a:cubicBezTo>
                <a:cubicBezTo>
                  <a:pt x="267327" y="711656"/>
                  <a:pt x="-3479" y="575193"/>
                  <a:pt x="0" y="353237"/>
                </a:cubicBezTo>
                <a:close/>
              </a:path>
            </a:pathLst>
          </a:custGeom>
          <a:solidFill>
            <a:srgbClr val="FFC000">
              <a:alpha val="50196"/>
            </a:srgbClr>
          </a:solidFill>
          <a:ln w="19050">
            <a:solidFill>
              <a:srgbClr val="A27402"/>
            </a:solidFill>
            <a:prstDash val="lgDash"/>
            <a:extLst>
              <a:ext uri="{C807C97D-BFC1-408E-A445-0C87EB9F89A2}">
                <ask:lineSketchStyleProps xmlns:ask="http://schemas.microsoft.com/office/drawing/2018/sketchyshapes" sd="1688614087">
                  <a:prstGeom prst="ellipse">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51" name="Rechthoek: afgeronde hoeken 19">
            <a:extLst>
              <a:ext uri="{FF2B5EF4-FFF2-40B4-BE49-F238E27FC236}">
                <a16:creationId xmlns:a16="http://schemas.microsoft.com/office/drawing/2014/main" id="{DBB980C2-E9A2-42C7-A1BD-DA8B291C584C}"/>
              </a:ext>
            </a:extLst>
          </p:cNvPr>
          <p:cNvSpPr/>
          <p:nvPr/>
        </p:nvSpPr>
        <p:spPr>
          <a:xfrm rot="21152301">
            <a:off x="9460012" y="840129"/>
            <a:ext cx="602403" cy="967251"/>
          </a:xfrm>
          <a:custGeom>
            <a:avLst/>
            <a:gdLst>
              <a:gd name="connsiteX0" fmla="*/ 0 w 602403"/>
              <a:gd name="connsiteY0" fmla="*/ 100403 h 966899"/>
              <a:gd name="connsiteX1" fmla="*/ 100403 w 602403"/>
              <a:gd name="connsiteY1" fmla="*/ 0 h 966899"/>
              <a:gd name="connsiteX2" fmla="*/ 502000 w 602403"/>
              <a:gd name="connsiteY2" fmla="*/ 0 h 966899"/>
              <a:gd name="connsiteX3" fmla="*/ 602403 w 602403"/>
              <a:gd name="connsiteY3" fmla="*/ 100403 h 966899"/>
              <a:gd name="connsiteX4" fmla="*/ 602403 w 602403"/>
              <a:gd name="connsiteY4" fmla="*/ 866496 h 966899"/>
              <a:gd name="connsiteX5" fmla="*/ 502000 w 602403"/>
              <a:gd name="connsiteY5" fmla="*/ 966899 h 966899"/>
              <a:gd name="connsiteX6" fmla="*/ 100403 w 602403"/>
              <a:gd name="connsiteY6" fmla="*/ 966899 h 966899"/>
              <a:gd name="connsiteX7" fmla="*/ 0 w 602403"/>
              <a:gd name="connsiteY7" fmla="*/ 866496 h 966899"/>
              <a:gd name="connsiteX8" fmla="*/ 0 w 602403"/>
              <a:gd name="connsiteY8" fmla="*/ 100403 h 966899"/>
              <a:gd name="connsiteX0" fmla="*/ 0 w 602403"/>
              <a:gd name="connsiteY0" fmla="*/ 100403 h 966899"/>
              <a:gd name="connsiteX1" fmla="*/ 200541 w 602403"/>
              <a:gd name="connsiteY1" fmla="*/ 115583 h 966899"/>
              <a:gd name="connsiteX2" fmla="*/ 502000 w 602403"/>
              <a:gd name="connsiteY2" fmla="*/ 0 h 966899"/>
              <a:gd name="connsiteX3" fmla="*/ 602403 w 602403"/>
              <a:gd name="connsiteY3" fmla="*/ 100403 h 966899"/>
              <a:gd name="connsiteX4" fmla="*/ 602403 w 602403"/>
              <a:gd name="connsiteY4" fmla="*/ 866496 h 966899"/>
              <a:gd name="connsiteX5" fmla="*/ 502000 w 602403"/>
              <a:gd name="connsiteY5" fmla="*/ 966899 h 966899"/>
              <a:gd name="connsiteX6" fmla="*/ 100403 w 602403"/>
              <a:gd name="connsiteY6" fmla="*/ 966899 h 966899"/>
              <a:gd name="connsiteX7" fmla="*/ 0 w 602403"/>
              <a:gd name="connsiteY7" fmla="*/ 866496 h 966899"/>
              <a:gd name="connsiteX8" fmla="*/ 0 w 602403"/>
              <a:gd name="connsiteY8" fmla="*/ 100403 h 966899"/>
              <a:gd name="connsiteX0" fmla="*/ 6442 w 602403"/>
              <a:gd name="connsiteY0" fmla="*/ 344607 h 966899"/>
              <a:gd name="connsiteX1" fmla="*/ 200541 w 602403"/>
              <a:gd name="connsiteY1" fmla="*/ 115583 h 966899"/>
              <a:gd name="connsiteX2" fmla="*/ 502000 w 602403"/>
              <a:gd name="connsiteY2" fmla="*/ 0 h 966899"/>
              <a:gd name="connsiteX3" fmla="*/ 602403 w 602403"/>
              <a:gd name="connsiteY3" fmla="*/ 100403 h 966899"/>
              <a:gd name="connsiteX4" fmla="*/ 602403 w 602403"/>
              <a:gd name="connsiteY4" fmla="*/ 866496 h 966899"/>
              <a:gd name="connsiteX5" fmla="*/ 502000 w 602403"/>
              <a:gd name="connsiteY5" fmla="*/ 966899 h 966899"/>
              <a:gd name="connsiteX6" fmla="*/ 100403 w 602403"/>
              <a:gd name="connsiteY6" fmla="*/ 966899 h 966899"/>
              <a:gd name="connsiteX7" fmla="*/ 0 w 602403"/>
              <a:gd name="connsiteY7" fmla="*/ 866496 h 966899"/>
              <a:gd name="connsiteX8" fmla="*/ 6442 w 602403"/>
              <a:gd name="connsiteY8" fmla="*/ 344607 h 966899"/>
              <a:gd name="connsiteX0" fmla="*/ 6442 w 602403"/>
              <a:gd name="connsiteY0" fmla="*/ 344959 h 967251"/>
              <a:gd name="connsiteX1" fmla="*/ 200541 w 602403"/>
              <a:gd name="connsiteY1" fmla="*/ 115935 h 967251"/>
              <a:gd name="connsiteX2" fmla="*/ 303695 w 602403"/>
              <a:gd name="connsiteY2" fmla="*/ 32315 h 967251"/>
              <a:gd name="connsiteX3" fmla="*/ 502000 w 602403"/>
              <a:gd name="connsiteY3" fmla="*/ 352 h 967251"/>
              <a:gd name="connsiteX4" fmla="*/ 602403 w 602403"/>
              <a:gd name="connsiteY4" fmla="*/ 100755 h 967251"/>
              <a:gd name="connsiteX5" fmla="*/ 602403 w 602403"/>
              <a:gd name="connsiteY5" fmla="*/ 866848 h 967251"/>
              <a:gd name="connsiteX6" fmla="*/ 502000 w 602403"/>
              <a:gd name="connsiteY6" fmla="*/ 967251 h 967251"/>
              <a:gd name="connsiteX7" fmla="*/ 100403 w 602403"/>
              <a:gd name="connsiteY7" fmla="*/ 967251 h 967251"/>
              <a:gd name="connsiteX8" fmla="*/ 0 w 602403"/>
              <a:gd name="connsiteY8" fmla="*/ 866848 h 967251"/>
              <a:gd name="connsiteX9" fmla="*/ 6442 w 602403"/>
              <a:gd name="connsiteY9" fmla="*/ 344959 h 9672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02403" h="967251">
                <a:moveTo>
                  <a:pt x="6442" y="344959"/>
                </a:moveTo>
                <a:cubicBezTo>
                  <a:pt x="6442" y="289508"/>
                  <a:pt x="145090" y="115935"/>
                  <a:pt x="200541" y="115935"/>
                </a:cubicBezTo>
                <a:cubicBezTo>
                  <a:pt x="249683" y="72314"/>
                  <a:pt x="253452" y="51579"/>
                  <a:pt x="303695" y="32315"/>
                </a:cubicBezTo>
                <a:cubicBezTo>
                  <a:pt x="353938" y="13051"/>
                  <a:pt x="451815" y="-2568"/>
                  <a:pt x="502000" y="352"/>
                </a:cubicBezTo>
                <a:cubicBezTo>
                  <a:pt x="557451" y="352"/>
                  <a:pt x="602403" y="45304"/>
                  <a:pt x="602403" y="100755"/>
                </a:cubicBezTo>
                <a:lnTo>
                  <a:pt x="602403" y="866848"/>
                </a:lnTo>
                <a:cubicBezTo>
                  <a:pt x="602403" y="922299"/>
                  <a:pt x="557451" y="967251"/>
                  <a:pt x="502000" y="967251"/>
                </a:cubicBezTo>
                <a:lnTo>
                  <a:pt x="100403" y="967251"/>
                </a:lnTo>
                <a:cubicBezTo>
                  <a:pt x="44952" y="967251"/>
                  <a:pt x="0" y="922299"/>
                  <a:pt x="0" y="866848"/>
                </a:cubicBezTo>
                <a:cubicBezTo>
                  <a:pt x="2147" y="692885"/>
                  <a:pt x="4295" y="518922"/>
                  <a:pt x="6442" y="344959"/>
                </a:cubicBezTo>
                <a:close/>
              </a:path>
            </a:pathLst>
          </a:custGeom>
          <a:solidFill>
            <a:srgbClr val="62366E">
              <a:alpha val="50196"/>
            </a:srgbClr>
          </a:solidFill>
          <a:ln w="19050">
            <a:solidFill>
              <a:schemeClr val="accent1"/>
            </a:solidFill>
            <a:prstDash val="lgDash"/>
            <a:extLst>
              <a:ext uri="{C807C97D-BFC1-408E-A445-0C87EB9F89A2}">
                <ask:lineSketchStyleProps xmlns:ask="http://schemas.microsoft.com/office/drawing/2018/sketchyshapes" sd="3986773996">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52" name="Ovaal 216">
            <a:extLst>
              <a:ext uri="{FF2B5EF4-FFF2-40B4-BE49-F238E27FC236}">
                <a16:creationId xmlns:a16="http://schemas.microsoft.com/office/drawing/2014/main" id="{DCF44D75-538C-4E9B-B65E-6892C648223D}"/>
              </a:ext>
            </a:extLst>
          </p:cNvPr>
          <p:cNvSpPr/>
          <p:nvPr/>
        </p:nvSpPr>
        <p:spPr>
          <a:xfrm rot="2334895">
            <a:off x="8577667" y="4817765"/>
            <a:ext cx="977943" cy="1448917"/>
          </a:xfrm>
          <a:custGeom>
            <a:avLst/>
            <a:gdLst>
              <a:gd name="connsiteX0" fmla="*/ 0 w 951616"/>
              <a:gd name="connsiteY0" fmla="*/ 601230 h 1202460"/>
              <a:gd name="connsiteX1" fmla="*/ 475808 w 951616"/>
              <a:gd name="connsiteY1" fmla="*/ 0 h 1202460"/>
              <a:gd name="connsiteX2" fmla="*/ 951616 w 951616"/>
              <a:gd name="connsiteY2" fmla="*/ 601230 h 1202460"/>
              <a:gd name="connsiteX3" fmla="*/ 475808 w 951616"/>
              <a:gd name="connsiteY3" fmla="*/ 1202460 h 1202460"/>
              <a:gd name="connsiteX4" fmla="*/ 0 w 951616"/>
              <a:gd name="connsiteY4" fmla="*/ 601230 h 1202460"/>
              <a:gd name="connsiteX0" fmla="*/ 37983 w 989599"/>
              <a:gd name="connsiteY0" fmla="*/ 601230 h 1318861"/>
              <a:gd name="connsiteX1" fmla="*/ 513791 w 989599"/>
              <a:gd name="connsiteY1" fmla="*/ 0 h 1318861"/>
              <a:gd name="connsiteX2" fmla="*/ 989599 w 989599"/>
              <a:gd name="connsiteY2" fmla="*/ 601230 h 1318861"/>
              <a:gd name="connsiteX3" fmla="*/ 207870 w 989599"/>
              <a:gd name="connsiteY3" fmla="*/ 1318861 h 1318861"/>
              <a:gd name="connsiteX4" fmla="*/ 37983 w 989599"/>
              <a:gd name="connsiteY4" fmla="*/ 601230 h 1318861"/>
              <a:gd name="connsiteX0" fmla="*/ 46258 w 877800"/>
              <a:gd name="connsiteY0" fmla="*/ 618569 h 1318895"/>
              <a:gd name="connsiteX1" fmla="*/ 401992 w 877800"/>
              <a:gd name="connsiteY1" fmla="*/ 22 h 1318895"/>
              <a:gd name="connsiteX2" fmla="*/ 877800 w 877800"/>
              <a:gd name="connsiteY2" fmla="*/ 601252 h 1318895"/>
              <a:gd name="connsiteX3" fmla="*/ 96071 w 877800"/>
              <a:gd name="connsiteY3" fmla="*/ 1318883 h 1318895"/>
              <a:gd name="connsiteX4" fmla="*/ 46258 w 877800"/>
              <a:gd name="connsiteY4" fmla="*/ 618569 h 1318895"/>
              <a:gd name="connsiteX0" fmla="*/ 145976 w 977518"/>
              <a:gd name="connsiteY0" fmla="*/ 618569 h 1337824"/>
              <a:gd name="connsiteX1" fmla="*/ 501710 w 977518"/>
              <a:gd name="connsiteY1" fmla="*/ 22 h 1337824"/>
              <a:gd name="connsiteX2" fmla="*/ 977518 w 977518"/>
              <a:gd name="connsiteY2" fmla="*/ 601252 h 1337824"/>
              <a:gd name="connsiteX3" fmla="*/ 195789 w 977518"/>
              <a:gd name="connsiteY3" fmla="*/ 1318883 h 1337824"/>
              <a:gd name="connsiteX4" fmla="*/ 669 w 977518"/>
              <a:gd name="connsiteY4" fmla="*/ 1086179 h 1337824"/>
              <a:gd name="connsiteX5" fmla="*/ 145976 w 977518"/>
              <a:gd name="connsiteY5" fmla="*/ 618569 h 1337824"/>
              <a:gd name="connsiteX0" fmla="*/ 246862 w 977141"/>
              <a:gd name="connsiteY0" fmla="*/ 643017 h 1337930"/>
              <a:gd name="connsiteX1" fmla="*/ 501333 w 977141"/>
              <a:gd name="connsiteY1" fmla="*/ 128 h 1337930"/>
              <a:gd name="connsiteX2" fmla="*/ 977141 w 977141"/>
              <a:gd name="connsiteY2" fmla="*/ 601358 h 1337930"/>
              <a:gd name="connsiteX3" fmla="*/ 195412 w 977141"/>
              <a:gd name="connsiteY3" fmla="*/ 1318989 h 1337930"/>
              <a:gd name="connsiteX4" fmla="*/ 292 w 977141"/>
              <a:gd name="connsiteY4" fmla="*/ 1086285 h 1337930"/>
              <a:gd name="connsiteX5" fmla="*/ 246862 w 977141"/>
              <a:gd name="connsiteY5" fmla="*/ 643017 h 1337930"/>
              <a:gd name="connsiteX0" fmla="*/ 246814 w 977093"/>
              <a:gd name="connsiteY0" fmla="*/ 688278 h 1383191"/>
              <a:gd name="connsiteX1" fmla="*/ 289264 w 977093"/>
              <a:gd name="connsiteY1" fmla="*/ 114745 h 1383191"/>
              <a:gd name="connsiteX2" fmla="*/ 501285 w 977093"/>
              <a:gd name="connsiteY2" fmla="*/ 45389 h 1383191"/>
              <a:gd name="connsiteX3" fmla="*/ 977093 w 977093"/>
              <a:gd name="connsiteY3" fmla="*/ 646619 h 1383191"/>
              <a:gd name="connsiteX4" fmla="*/ 195364 w 977093"/>
              <a:gd name="connsiteY4" fmla="*/ 1364250 h 1383191"/>
              <a:gd name="connsiteX5" fmla="*/ 244 w 977093"/>
              <a:gd name="connsiteY5" fmla="*/ 1131546 h 1383191"/>
              <a:gd name="connsiteX6" fmla="*/ 246814 w 977093"/>
              <a:gd name="connsiteY6" fmla="*/ 688278 h 1383191"/>
              <a:gd name="connsiteX0" fmla="*/ 246814 w 984760"/>
              <a:gd name="connsiteY0" fmla="*/ 762162 h 1457075"/>
              <a:gd name="connsiteX1" fmla="*/ 289264 w 984760"/>
              <a:gd name="connsiteY1" fmla="*/ 188629 h 1457075"/>
              <a:gd name="connsiteX2" fmla="*/ 501285 w 984760"/>
              <a:gd name="connsiteY2" fmla="*/ 119273 h 1457075"/>
              <a:gd name="connsiteX3" fmla="*/ 603934 w 984760"/>
              <a:gd name="connsiteY3" fmla="*/ 32521 h 1457075"/>
              <a:gd name="connsiteX4" fmla="*/ 977093 w 984760"/>
              <a:gd name="connsiteY4" fmla="*/ 720503 h 1457075"/>
              <a:gd name="connsiteX5" fmla="*/ 195364 w 984760"/>
              <a:gd name="connsiteY5" fmla="*/ 1438134 h 1457075"/>
              <a:gd name="connsiteX6" fmla="*/ 244 w 984760"/>
              <a:gd name="connsiteY6" fmla="*/ 1205430 h 1457075"/>
              <a:gd name="connsiteX7" fmla="*/ 246814 w 984760"/>
              <a:gd name="connsiteY7" fmla="*/ 762162 h 1457075"/>
              <a:gd name="connsiteX0" fmla="*/ 246814 w 984760"/>
              <a:gd name="connsiteY0" fmla="*/ 772210 h 1467123"/>
              <a:gd name="connsiteX1" fmla="*/ 289264 w 984760"/>
              <a:gd name="connsiteY1" fmla="*/ 198677 h 1467123"/>
              <a:gd name="connsiteX2" fmla="*/ 439548 w 984760"/>
              <a:gd name="connsiteY2" fmla="*/ 73068 h 1467123"/>
              <a:gd name="connsiteX3" fmla="*/ 603934 w 984760"/>
              <a:gd name="connsiteY3" fmla="*/ 42569 h 1467123"/>
              <a:gd name="connsiteX4" fmla="*/ 977093 w 984760"/>
              <a:gd name="connsiteY4" fmla="*/ 730551 h 1467123"/>
              <a:gd name="connsiteX5" fmla="*/ 195364 w 984760"/>
              <a:gd name="connsiteY5" fmla="*/ 1448182 h 1467123"/>
              <a:gd name="connsiteX6" fmla="*/ 244 w 984760"/>
              <a:gd name="connsiteY6" fmla="*/ 1215478 h 1467123"/>
              <a:gd name="connsiteX7" fmla="*/ 246814 w 984760"/>
              <a:gd name="connsiteY7" fmla="*/ 772210 h 1467123"/>
              <a:gd name="connsiteX0" fmla="*/ 246814 w 977943"/>
              <a:gd name="connsiteY0" fmla="*/ 772210 h 1448917"/>
              <a:gd name="connsiteX1" fmla="*/ 289264 w 977943"/>
              <a:gd name="connsiteY1" fmla="*/ 198677 h 1448917"/>
              <a:gd name="connsiteX2" fmla="*/ 439548 w 977943"/>
              <a:gd name="connsiteY2" fmla="*/ 73068 h 1448917"/>
              <a:gd name="connsiteX3" fmla="*/ 603934 w 977943"/>
              <a:gd name="connsiteY3" fmla="*/ 42569 h 1448917"/>
              <a:gd name="connsiteX4" fmla="*/ 977093 w 977943"/>
              <a:gd name="connsiteY4" fmla="*/ 730551 h 1448917"/>
              <a:gd name="connsiteX5" fmla="*/ 703059 w 977943"/>
              <a:gd name="connsiteY5" fmla="*/ 1145905 h 1448917"/>
              <a:gd name="connsiteX6" fmla="*/ 195364 w 977943"/>
              <a:gd name="connsiteY6" fmla="*/ 1448182 h 1448917"/>
              <a:gd name="connsiteX7" fmla="*/ 244 w 977943"/>
              <a:gd name="connsiteY7" fmla="*/ 1215478 h 1448917"/>
              <a:gd name="connsiteX8" fmla="*/ 246814 w 977943"/>
              <a:gd name="connsiteY8" fmla="*/ 772210 h 14489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77943" h="1448917">
                <a:moveTo>
                  <a:pt x="246814" y="772210"/>
                </a:moveTo>
                <a:cubicBezTo>
                  <a:pt x="294984" y="602743"/>
                  <a:pt x="246852" y="305825"/>
                  <a:pt x="289264" y="198677"/>
                </a:cubicBezTo>
                <a:cubicBezTo>
                  <a:pt x="331676" y="91529"/>
                  <a:pt x="387103" y="99086"/>
                  <a:pt x="439548" y="73068"/>
                </a:cubicBezTo>
                <a:cubicBezTo>
                  <a:pt x="491993" y="47050"/>
                  <a:pt x="524633" y="-57636"/>
                  <a:pt x="603934" y="42569"/>
                </a:cubicBezTo>
                <a:cubicBezTo>
                  <a:pt x="683235" y="142774"/>
                  <a:pt x="963262" y="556732"/>
                  <a:pt x="977093" y="730551"/>
                </a:cubicBezTo>
                <a:cubicBezTo>
                  <a:pt x="990924" y="904370"/>
                  <a:pt x="833347" y="1026300"/>
                  <a:pt x="703059" y="1145905"/>
                </a:cubicBezTo>
                <a:cubicBezTo>
                  <a:pt x="572771" y="1265510"/>
                  <a:pt x="312500" y="1436586"/>
                  <a:pt x="195364" y="1448182"/>
                </a:cubicBezTo>
                <a:cubicBezTo>
                  <a:pt x="78228" y="1459778"/>
                  <a:pt x="8546" y="1332197"/>
                  <a:pt x="244" y="1215478"/>
                </a:cubicBezTo>
                <a:cubicBezTo>
                  <a:pt x="-8058" y="1098759"/>
                  <a:pt x="198644" y="941677"/>
                  <a:pt x="246814" y="772210"/>
                </a:cubicBezTo>
                <a:close/>
              </a:path>
            </a:pathLst>
          </a:custGeom>
          <a:solidFill>
            <a:srgbClr val="62366E">
              <a:alpha val="50196"/>
            </a:srgbClr>
          </a:solidFill>
          <a:ln w="19050">
            <a:solidFill>
              <a:schemeClr val="accent1"/>
            </a:solidFill>
            <a:prstDash val="lgDash"/>
            <a:extLst>
              <a:ext uri="{C807C97D-BFC1-408E-A445-0C87EB9F89A2}">
                <ask:lineSketchStyleProps xmlns:ask="http://schemas.microsoft.com/office/drawing/2018/sketchyshapes" sd="3968125672">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grpSp>
        <p:nvGrpSpPr>
          <p:cNvPr id="153" name="Groep 152">
            <a:extLst>
              <a:ext uri="{FF2B5EF4-FFF2-40B4-BE49-F238E27FC236}">
                <a16:creationId xmlns:a16="http://schemas.microsoft.com/office/drawing/2014/main" id="{28B5FF30-37B5-4F1C-85E3-8A8F94817766}"/>
              </a:ext>
            </a:extLst>
          </p:cNvPr>
          <p:cNvGrpSpPr/>
          <p:nvPr/>
        </p:nvGrpSpPr>
        <p:grpSpPr>
          <a:xfrm>
            <a:off x="8149634" y="5746194"/>
            <a:ext cx="288000" cy="288000"/>
            <a:chOff x="7690156" y="5602619"/>
            <a:chExt cx="329184" cy="329184"/>
          </a:xfrm>
        </p:grpSpPr>
        <p:sp>
          <p:nvSpPr>
            <p:cNvPr id="154" name="Oval 53">
              <a:extLst>
                <a:ext uri="{FF2B5EF4-FFF2-40B4-BE49-F238E27FC236}">
                  <a16:creationId xmlns:a16="http://schemas.microsoft.com/office/drawing/2014/main" id="{C0DA8CBD-5EFA-4FEF-B21C-97E961DAB9E0}"/>
                </a:ext>
              </a:extLst>
            </p:cNvPr>
            <p:cNvSpPr/>
            <p:nvPr/>
          </p:nvSpPr>
          <p:spPr>
            <a:xfrm>
              <a:off x="7690156" y="5602619"/>
              <a:ext cx="329184" cy="329184"/>
            </a:xfrm>
            <a:prstGeom prst="ellipse">
              <a:avLst/>
            </a:prstGeom>
            <a:solidFill>
              <a:srgbClr val="62366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55" name="Shopping_cart" descr="{&quot;Key&quot;:&quot;POWER_USER_SHAPE_ICON&quot;,&quot;Value&quot;:&quot;POWER_USER_SHAPE_ICON_STYLE_1&quot;}">
              <a:extLst>
                <a:ext uri="{FF2B5EF4-FFF2-40B4-BE49-F238E27FC236}">
                  <a16:creationId xmlns:a16="http://schemas.microsoft.com/office/drawing/2014/main" id="{555900C6-34B1-4BF7-BF38-613832D6C55A}"/>
                </a:ext>
              </a:extLst>
            </p:cNvPr>
            <p:cNvGrpSpPr>
              <a:grpSpLocks noChangeAspect="1"/>
            </p:cNvGrpSpPr>
            <p:nvPr>
              <p:custDataLst>
                <p:tags r:id="rId52"/>
              </p:custDataLst>
            </p:nvPr>
          </p:nvGrpSpPr>
          <p:grpSpPr>
            <a:xfrm>
              <a:off x="7727679" y="5660649"/>
              <a:ext cx="235088" cy="232174"/>
              <a:chOff x="4646614" y="2062164"/>
              <a:chExt cx="384175" cy="379413"/>
            </a:xfrm>
            <a:solidFill>
              <a:schemeClr val="bg1"/>
            </a:solidFill>
          </p:grpSpPr>
          <p:sp>
            <p:nvSpPr>
              <p:cNvPr id="156" name="Freeform 198">
                <a:extLst>
                  <a:ext uri="{FF2B5EF4-FFF2-40B4-BE49-F238E27FC236}">
                    <a16:creationId xmlns:a16="http://schemas.microsoft.com/office/drawing/2014/main" id="{4AD71F4A-4B38-49DD-8F5E-AC9C42FD4409}"/>
                  </a:ext>
                </a:extLst>
              </p:cNvPr>
              <p:cNvSpPr>
                <a:spLocks noEditPoints="1"/>
              </p:cNvSpPr>
              <p:nvPr/>
            </p:nvSpPr>
            <p:spPr bwMode="auto">
              <a:xfrm>
                <a:off x="4773614" y="2386014"/>
                <a:ext cx="55563" cy="55563"/>
              </a:xfrm>
              <a:custGeom>
                <a:avLst/>
                <a:gdLst>
                  <a:gd name="T0" fmla="*/ 40 w 80"/>
                  <a:gd name="T1" fmla="*/ 55 h 80"/>
                  <a:gd name="T2" fmla="*/ 25 w 80"/>
                  <a:gd name="T3" fmla="*/ 40 h 80"/>
                  <a:gd name="T4" fmla="*/ 40 w 80"/>
                  <a:gd name="T5" fmla="*/ 25 h 80"/>
                  <a:gd name="T6" fmla="*/ 55 w 80"/>
                  <a:gd name="T7" fmla="*/ 40 h 80"/>
                  <a:gd name="T8" fmla="*/ 40 w 80"/>
                  <a:gd name="T9" fmla="*/ 55 h 80"/>
                  <a:gd name="T10" fmla="*/ 40 w 80"/>
                  <a:gd name="T11" fmla="*/ 0 h 80"/>
                  <a:gd name="T12" fmla="*/ 0 w 80"/>
                  <a:gd name="T13" fmla="*/ 40 h 80"/>
                  <a:gd name="T14" fmla="*/ 40 w 80"/>
                  <a:gd name="T15" fmla="*/ 80 h 80"/>
                  <a:gd name="T16" fmla="*/ 80 w 80"/>
                  <a:gd name="T17" fmla="*/ 40 h 80"/>
                  <a:gd name="T18" fmla="*/ 40 w 80"/>
                  <a:gd name="T19"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0" h="80">
                    <a:moveTo>
                      <a:pt x="40" y="55"/>
                    </a:moveTo>
                    <a:cubicBezTo>
                      <a:pt x="32" y="55"/>
                      <a:pt x="25" y="48"/>
                      <a:pt x="25" y="40"/>
                    </a:cubicBezTo>
                    <a:cubicBezTo>
                      <a:pt x="25" y="32"/>
                      <a:pt x="32" y="25"/>
                      <a:pt x="40" y="25"/>
                    </a:cubicBezTo>
                    <a:cubicBezTo>
                      <a:pt x="48" y="25"/>
                      <a:pt x="55" y="32"/>
                      <a:pt x="55" y="40"/>
                    </a:cubicBezTo>
                    <a:cubicBezTo>
                      <a:pt x="55" y="48"/>
                      <a:pt x="48" y="55"/>
                      <a:pt x="40" y="55"/>
                    </a:cubicBezTo>
                    <a:close/>
                    <a:moveTo>
                      <a:pt x="40" y="0"/>
                    </a:moveTo>
                    <a:cubicBezTo>
                      <a:pt x="18" y="0"/>
                      <a:pt x="0" y="18"/>
                      <a:pt x="0" y="40"/>
                    </a:cubicBezTo>
                    <a:cubicBezTo>
                      <a:pt x="0" y="62"/>
                      <a:pt x="18" y="80"/>
                      <a:pt x="40" y="80"/>
                    </a:cubicBezTo>
                    <a:cubicBezTo>
                      <a:pt x="62" y="80"/>
                      <a:pt x="80" y="62"/>
                      <a:pt x="80" y="40"/>
                    </a:cubicBezTo>
                    <a:cubicBezTo>
                      <a:pt x="80" y="18"/>
                      <a:pt x="62" y="0"/>
                      <a:pt x="40"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7" name="Freeform 199">
                <a:extLst>
                  <a:ext uri="{FF2B5EF4-FFF2-40B4-BE49-F238E27FC236}">
                    <a16:creationId xmlns:a16="http://schemas.microsoft.com/office/drawing/2014/main" id="{CDB20F23-80D5-46AC-910F-3F7BDADF2FA6}"/>
                  </a:ext>
                </a:extLst>
              </p:cNvPr>
              <p:cNvSpPr>
                <a:spLocks noEditPoints="1"/>
              </p:cNvSpPr>
              <p:nvPr/>
            </p:nvSpPr>
            <p:spPr bwMode="auto">
              <a:xfrm>
                <a:off x="4929189" y="2386014"/>
                <a:ext cx="55563" cy="55563"/>
              </a:xfrm>
              <a:custGeom>
                <a:avLst/>
                <a:gdLst>
                  <a:gd name="T0" fmla="*/ 40 w 80"/>
                  <a:gd name="T1" fmla="*/ 55 h 80"/>
                  <a:gd name="T2" fmla="*/ 25 w 80"/>
                  <a:gd name="T3" fmla="*/ 40 h 80"/>
                  <a:gd name="T4" fmla="*/ 40 w 80"/>
                  <a:gd name="T5" fmla="*/ 25 h 80"/>
                  <a:gd name="T6" fmla="*/ 55 w 80"/>
                  <a:gd name="T7" fmla="*/ 40 h 80"/>
                  <a:gd name="T8" fmla="*/ 40 w 80"/>
                  <a:gd name="T9" fmla="*/ 55 h 80"/>
                  <a:gd name="T10" fmla="*/ 40 w 80"/>
                  <a:gd name="T11" fmla="*/ 0 h 80"/>
                  <a:gd name="T12" fmla="*/ 0 w 80"/>
                  <a:gd name="T13" fmla="*/ 40 h 80"/>
                  <a:gd name="T14" fmla="*/ 40 w 80"/>
                  <a:gd name="T15" fmla="*/ 80 h 80"/>
                  <a:gd name="T16" fmla="*/ 80 w 80"/>
                  <a:gd name="T17" fmla="*/ 40 h 80"/>
                  <a:gd name="T18" fmla="*/ 40 w 80"/>
                  <a:gd name="T19"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0" h="80">
                    <a:moveTo>
                      <a:pt x="40" y="55"/>
                    </a:moveTo>
                    <a:cubicBezTo>
                      <a:pt x="32" y="55"/>
                      <a:pt x="25" y="48"/>
                      <a:pt x="25" y="40"/>
                    </a:cubicBezTo>
                    <a:cubicBezTo>
                      <a:pt x="25" y="32"/>
                      <a:pt x="32" y="25"/>
                      <a:pt x="40" y="25"/>
                    </a:cubicBezTo>
                    <a:cubicBezTo>
                      <a:pt x="48" y="25"/>
                      <a:pt x="55" y="32"/>
                      <a:pt x="55" y="40"/>
                    </a:cubicBezTo>
                    <a:cubicBezTo>
                      <a:pt x="55" y="48"/>
                      <a:pt x="48" y="55"/>
                      <a:pt x="40" y="55"/>
                    </a:cubicBezTo>
                    <a:close/>
                    <a:moveTo>
                      <a:pt x="40" y="0"/>
                    </a:moveTo>
                    <a:cubicBezTo>
                      <a:pt x="18" y="0"/>
                      <a:pt x="0" y="18"/>
                      <a:pt x="0" y="40"/>
                    </a:cubicBezTo>
                    <a:cubicBezTo>
                      <a:pt x="0" y="62"/>
                      <a:pt x="18" y="80"/>
                      <a:pt x="40" y="80"/>
                    </a:cubicBezTo>
                    <a:cubicBezTo>
                      <a:pt x="62" y="80"/>
                      <a:pt x="80" y="62"/>
                      <a:pt x="80" y="40"/>
                    </a:cubicBezTo>
                    <a:cubicBezTo>
                      <a:pt x="80" y="18"/>
                      <a:pt x="62" y="0"/>
                      <a:pt x="40"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8" name="Freeform 200">
                <a:extLst>
                  <a:ext uri="{FF2B5EF4-FFF2-40B4-BE49-F238E27FC236}">
                    <a16:creationId xmlns:a16="http://schemas.microsoft.com/office/drawing/2014/main" id="{D8D68208-D5E6-4EFF-9A11-3F5906191296}"/>
                  </a:ext>
                </a:extLst>
              </p:cNvPr>
              <p:cNvSpPr>
                <a:spLocks noEditPoints="1"/>
              </p:cNvSpPr>
              <p:nvPr/>
            </p:nvSpPr>
            <p:spPr bwMode="auto">
              <a:xfrm>
                <a:off x="4646614" y="2062164"/>
                <a:ext cx="384175" cy="311150"/>
              </a:xfrm>
              <a:custGeom>
                <a:avLst/>
                <a:gdLst>
                  <a:gd name="T0" fmla="*/ 465 w 554"/>
                  <a:gd name="T1" fmla="*/ 168 h 450"/>
                  <a:gd name="T2" fmla="*/ 530 w 554"/>
                  <a:gd name="T3" fmla="*/ 88 h 450"/>
                  <a:gd name="T4" fmla="*/ 483 w 554"/>
                  <a:gd name="T5" fmla="*/ 257 h 450"/>
                  <a:gd name="T6" fmla="*/ 447 w 554"/>
                  <a:gd name="T7" fmla="*/ 273 h 450"/>
                  <a:gd name="T8" fmla="*/ 505 w 554"/>
                  <a:gd name="T9" fmla="*/ 177 h 450"/>
                  <a:gd name="T10" fmla="*/ 432 w 554"/>
                  <a:gd name="T11" fmla="*/ 273 h 450"/>
                  <a:gd name="T12" fmla="*/ 407 w 554"/>
                  <a:gd name="T13" fmla="*/ 177 h 450"/>
                  <a:gd name="T14" fmla="*/ 432 w 554"/>
                  <a:gd name="T15" fmla="*/ 273 h 450"/>
                  <a:gd name="T16" fmla="*/ 352 w 554"/>
                  <a:gd name="T17" fmla="*/ 88 h 450"/>
                  <a:gd name="T18" fmla="*/ 393 w 554"/>
                  <a:gd name="T19" fmla="*/ 168 h 450"/>
                  <a:gd name="T20" fmla="*/ 383 w 554"/>
                  <a:gd name="T21" fmla="*/ 273 h 450"/>
                  <a:gd name="T22" fmla="*/ 352 w 554"/>
                  <a:gd name="T23" fmla="*/ 177 h 450"/>
                  <a:gd name="T24" fmla="*/ 383 w 554"/>
                  <a:gd name="T25" fmla="*/ 273 h 450"/>
                  <a:gd name="T26" fmla="*/ 297 w 554"/>
                  <a:gd name="T27" fmla="*/ 168 h 450"/>
                  <a:gd name="T28" fmla="*/ 337 w 554"/>
                  <a:gd name="T29" fmla="*/ 88 h 450"/>
                  <a:gd name="T30" fmla="*/ 337 w 554"/>
                  <a:gd name="T31" fmla="*/ 273 h 450"/>
                  <a:gd name="T32" fmla="*/ 298 w 554"/>
                  <a:gd name="T33" fmla="*/ 177 h 450"/>
                  <a:gd name="T34" fmla="*/ 337 w 554"/>
                  <a:gd name="T35" fmla="*/ 273 h 450"/>
                  <a:gd name="T36" fmla="*/ 242 w 554"/>
                  <a:gd name="T37" fmla="*/ 177 h 450"/>
                  <a:gd name="T38" fmla="*/ 292 w 554"/>
                  <a:gd name="T39" fmla="*/ 273 h 450"/>
                  <a:gd name="T40" fmla="*/ 210 w 554"/>
                  <a:gd name="T41" fmla="*/ 273 h 450"/>
                  <a:gd name="T42" fmla="*/ 227 w 554"/>
                  <a:gd name="T43" fmla="*/ 177 h 450"/>
                  <a:gd name="T44" fmla="*/ 210 w 554"/>
                  <a:gd name="T45" fmla="*/ 273 h 450"/>
                  <a:gd name="T46" fmla="*/ 157 w 554"/>
                  <a:gd name="T47" fmla="*/ 268 h 450"/>
                  <a:gd name="T48" fmla="*/ 173 w 554"/>
                  <a:gd name="T49" fmla="*/ 177 h 450"/>
                  <a:gd name="T50" fmla="*/ 170 w 554"/>
                  <a:gd name="T51" fmla="*/ 273 h 450"/>
                  <a:gd name="T52" fmla="*/ 106 w 554"/>
                  <a:gd name="T53" fmla="*/ 88 h 450"/>
                  <a:gd name="T54" fmla="*/ 171 w 554"/>
                  <a:gd name="T55" fmla="*/ 168 h 450"/>
                  <a:gd name="T56" fmla="*/ 126 w 554"/>
                  <a:gd name="T57" fmla="*/ 156 h 450"/>
                  <a:gd name="T58" fmla="*/ 225 w 554"/>
                  <a:gd name="T59" fmla="*/ 168 h 450"/>
                  <a:gd name="T60" fmla="*/ 168 w 554"/>
                  <a:gd name="T61" fmla="*/ 88 h 450"/>
                  <a:gd name="T62" fmla="*/ 274 w 554"/>
                  <a:gd name="T63" fmla="*/ 88 h 450"/>
                  <a:gd name="T64" fmla="*/ 241 w 554"/>
                  <a:gd name="T65" fmla="*/ 168 h 450"/>
                  <a:gd name="T66" fmla="*/ 274 w 554"/>
                  <a:gd name="T67" fmla="*/ 88 h 450"/>
                  <a:gd name="T68" fmla="*/ 462 w 554"/>
                  <a:gd name="T69" fmla="*/ 88 h 450"/>
                  <a:gd name="T70" fmla="*/ 408 w 554"/>
                  <a:gd name="T71" fmla="*/ 168 h 450"/>
                  <a:gd name="T72" fmla="*/ 24 w 554"/>
                  <a:gd name="T73" fmla="*/ 29 h 450"/>
                  <a:gd name="T74" fmla="*/ 19 w 554"/>
                  <a:gd name="T75" fmla="*/ 13 h 450"/>
                  <a:gd name="T76" fmla="*/ 24 w 554"/>
                  <a:gd name="T77" fmla="*/ 29 h 450"/>
                  <a:gd name="T78" fmla="*/ 110 w 554"/>
                  <a:gd name="T79" fmla="*/ 63 h 450"/>
                  <a:gd name="T80" fmla="*/ 91 w 554"/>
                  <a:gd name="T81" fmla="*/ 34 h 450"/>
                  <a:gd name="T82" fmla="*/ 39 w 554"/>
                  <a:gd name="T83" fmla="*/ 12 h 450"/>
                  <a:gd name="T84" fmla="*/ 3 w 554"/>
                  <a:gd name="T85" fmla="*/ 27 h 450"/>
                  <a:gd name="T86" fmla="*/ 38 w 554"/>
                  <a:gd name="T87" fmla="*/ 31 h 450"/>
                  <a:gd name="T88" fmla="*/ 67 w 554"/>
                  <a:gd name="T89" fmla="*/ 40 h 450"/>
                  <a:gd name="T90" fmla="*/ 209 w 554"/>
                  <a:gd name="T91" fmla="*/ 450 h 450"/>
                  <a:gd name="T92" fmla="*/ 496 w 554"/>
                  <a:gd name="T93" fmla="*/ 437 h 450"/>
                  <a:gd name="T94" fmla="*/ 212 w 554"/>
                  <a:gd name="T95" fmla="*/ 420 h 450"/>
                  <a:gd name="T96" fmla="*/ 168 w 554"/>
                  <a:gd name="T97" fmla="*/ 309 h 450"/>
                  <a:gd name="T98" fmla="*/ 451 w 554"/>
                  <a:gd name="T99" fmla="*/ 314 h 450"/>
                  <a:gd name="T100" fmla="*/ 552 w 554"/>
                  <a:gd name="T101" fmla="*/ 88 h 4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54" h="450">
                    <a:moveTo>
                      <a:pt x="508" y="168"/>
                    </a:moveTo>
                    <a:lnTo>
                      <a:pt x="465" y="168"/>
                    </a:lnTo>
                    <a:lnTo>
                      <a:pt x="478" y="88"/>
                    </a:lnTo>
                    <a:lnTo>
                      <a:pt x="530" y="88"/>
                    </a:lnTo>
                    <a:lnTo>
                      <a:pt x="508" y="168"/>
                    </a:lnTo>
                    <a:close/>
                    <a:moveTo>
                      <a:pt x="483" y="257"/>
                    </a:moveTo>
                    <a:cubicBezTo>
                      <a:pt x="480" y="265"/>
                      <a:pt x="471" y="273"/>
                      <a:pt x="462" y="273"/>
                    </a:cubicBezTo>
                    <a:lnTo>
                      <a:pt x="447" y="273"/>
                    </a:lnTo>
                    <a:lnTo>
                      <a:pt x="463" y="177"/>
                    </a:lnTo>
                    <a:lnTo>
                      <a:pt x="505" y="177"/>
                    </a:lnTo>
                    <a:lnTo>
                      <a:pt x="483" y="257"/>
                    </a:lnTo>
                    <a:close/>
                    <a:moveTo>
                      <a:pt x="432" y="273"/>
                    </a:moveTo>
                    <a:lnTo>
                      <a:pt x="398" y="273"/>
                    </a:lnTo>
                    <a:lnTo>
                      <a:pt x="407" y="177"/>
                    </a:lnTo>
                    <a:lnTo>
                      <a:pt x="447" y="177"/>
                    </a:lnTo>
                    <a:lnTo>
                      <a:pt x="432" y="273"/>
                    </a:lnTo>
                    <a:close/>
                    <a:moveTo>
                      <a:pt x="352" y="168"/>
                    </a:moveTo>
                    <a:lnTo>
                      <a:pt x="352" y="88"/>
                    </a:lnTo>
                    <a:lnTo>
                      <a:pt x="401" y="88"/>
                    </a:lnTo>
                    <a:lnTo>
                      <a:pt x="393" y="168"/>
                    </a:lnTo>
                    <a:lnTo>
                      <a:pt x="352" y="168"/>
                    </a:lnTo>
                    <a:close/>
                    <a:moveTo>
                      <a:pt x="383" y="273"/>
                    </a:moveTo>
                    <a:lnTo>
                      <a:pt x="352" y="273"/>
                    </a:lnTo>
                    <a:lnTo>
                      <a:pt x="352" y="177"/>
                    </a:lnTo>
                    <a:lnTo>
                      <a:pt x="392" y="177"/>
                    </a:lnTo>
                    <a:lnTo>
                      <a:pt x="383" y="273"/>
                    </a:lnTo>
                    <a:close/>
                    <a:moveTo>
                      <a:pt x="337" y="168"/>
                    </a:moveTo>
                    <a:lnTo>
                      <a:pt x="297" y="168"/>
                    </a:lnTo>
                    <a:lnTo>
                      <a:pt x="289" y="88"/>
                    </a:lnTo>
                    <a:lnTo>
                      <a:pt x="337" y="88"/>
                    </a:lnTo>
                    <a:lnTo>
                      <a:pt x="337" y="168"/>
                    </a:lnTo>
                    <a:close/>
                    <a:moveTo>
                      <a:pt x="337" y="273"/>
                    </a:moveTo>
                    <a:lnTo>
                      <a:pt x="307" y="273"/>
                    </a:lnTo>
                    <a:lnTo>
                      <a:pt x="298" y="177"/>
                    </a:lnTo>
                    <a:lnTo>
                      <a:pt x="337" y="177"/>
                    </a:lnTo>
                    <a:lnTo>
                      <a:pt x="337" y="273"/>
                    </a:lnTo>
                    <a:close/>
                    <a:moveTo>
                      <a:pt x="258" y="273"/>
                    </a:moveTo>
                    <a:lnTo>
                      <a:pt x="242" y="177"/>
                    </a:lnTo>
                    <a:lnTo>
                      <a:pt x="282" y="177"/>
                    </a:lnTo>
                    <a:lnTo>
                      <a:pt x="292" y="273"/>
                    </a:lnTo>
                    <a:lnTo>
                      <a:pt x="258" y="273"/>
                    </a:lnTo>
                    <a:close/>
                    <a:moveTo>
                      <a:pt x="210" y="273"/>
                    </a:moveTo>
                    <a:lnTo>
                      <a:pt x="188" y="177"/>
                    </a:lnTo>
                    <a:lnTo>
                      <a:pt x="227" y="177"/>
                    </a:lnTo>
                    <a:lnTo>
                      <a:pt x="242" y="273"/>
                    </a:lnTo>
                    <a:lnTo>
                      <a:pt x="210" y="273"/>
                    </a:lnTo>
                    <a:close/>
                    <a:moveTo>
                      <a:pt x="170" y="273"/>
                    </a:moveTo>
                    <a:cubicBezTo>
                      <a:pt x="165" y="273"/>
                      <a:pt x="161" y="271"/>
                      <a:pt x="157" y="268"/>
                    </a:cubicBezTo>
                    <a:cubicBezTo>
                      <a:pt x="150" y="244"/>
                      <a:pt x="141" y="211"/>
                      <a:pt x="131" y="177"/>
                    </a:cubicBezTo>
                    <a:lnTo>
                      <a:pt x="173" y="177"/>
                    </a:lnTo>
                    <a:lnTo>
                      <a:pt x="194" y="273"/>
                    </a:lnTo>
                    <a:lnTo>
                      <a:pt x="170" y="273"/>
                    </a:lnTo>
                    <a:close/>
                    <a:moveTo>
                      <a:pt x="126" y="156"/>
                    </a:moveTo>
                    <a:cubicBezTo>
                      <a:pt x="119" y="133"/>
                      <a:pt x="112" y="109"/>
                      <a:pt x="106" y="88"/>
                    </a:cubicBezTo>
                    <a:lnTo>
                      <a:pt x="153" y="88"/>
                    </a:lnTo>
                    <a:lnTo>
                      <a:pt x="171" y="168"/>
                    </a:lnTo>
                    <a:lnTo>
                      <a:pt x="129" y="168"/>
                    </a:lnTo>
                    <a:cubicBezTo>
                      <a:pt x="128" y="164"/>
                      <a:pt x="127" y="160"/>
                      <a:pt x="126" y="156"/>
                    </a:cubicBezTo>
                    <a:close/>
                    <a:moveTo>
                      <a:pt x="212" y="88"/>
                    </a:moveTo>
                    <a:lnTo>
                      <a:pt x="225" y="168"/>
                    </a:lnTo>
                    <a:lnTo>
                      <a:pt x="186" y="168"/>
                    </a:lnTo>
                    <a:lnTo>
                      <a:pt x="168" y="88"/>
                    </a:lnTo>
                    <a:lnTo>
                      <a:pt x="212" y="88"/>
                    </a:lnTo>
                    <a:close/>
                    <a:moveTo>
                      <a:pt x="274" y="88"/>
                    </a:moveTo>
                    <a:lnTo>
                      <a:pt x="281" y="168"/>
                    </a:lnTo>
                    <a:lnTo>
                      <a:pt x="241" y="168"/>
                    </a:lnTo>
                    <a:lnTo>
                      <a:pt x="228" y="88"/>
                    </a:lnTo>
                    <a:lnTo>
                      <a:pt x="274" y="88"/>
                    </a:lnTo>
                    <a:close/>
                    <a:moveTo>
                      <a:pt x="416" y="88"/>
                    </a:moveTo>
                    <a:lnTo>
                      <a:pt x="462" y="88"/>
                    </a:lnTo>
                    <a:lnTo>
                      <a:pt x="449" y="168"/>
                    </a:lnTo>
                    <a:lnTo>
                      <a:pt x="408" y="168"/>
                    </a:lnTo>
                    <a:lnTo>
                      <a:pt x="416" y="88"/>
                    </a:lnTo>
                    <a:close/>
                    <a:moveTo>
                      <a:pt x="24" y="29"/>
                    </a:moveTo>
                    <a:cubicBezTo>
                      <a:pt x="19" y="31"/>
                      <a:pt x="15" y="28"/>
                      <a:pt x="13" y="24"/>
                    </a:cubicBezTo>
                    <a:cubicBezTo>
                      <a:pt x="12" y="19"/>
                      <a:pt x="14" y="14"/>
                      <a:pt x="19" y="13"/>
                    </a:cubicBezTo>
                    <a:cubicBezTo>
                      <a:pt x="24" y="12"/>
                      <a:pt x="28" y="14"/>
                      <a:pt x="30" y="19"/>
                    </a:cubicBezTo>
                    <a:cubicBezTo>
                      <a:pt x="31" y="23"/>
                      <a:pt x="29" y="28"/>
                      <a:pt x="24" y="29"/>
                    </a:cubicBezTo>
                    <a:close/>
                    <a:moveTo>
                      <a:pt x="533" y="63"/>
                    </a:moveTo>
                    <a:lnTo>
                      <a:pt x="110" y="63"/>
                    </a:lnTo>
                    <a:cubicBezTo>
                      <a:pt x="106" y="63"/>
                      <a:pt x="103" y="63"/>
                      <a:pt x="100" y="65"/>
                    </a:cubicBezTo>
                    <a:cubicBezTo>
                      <a:pt x="99" y="61"/>
                      <a:pt x="94" y="44"/>
                      <a:pt x="91" y="34"/>
                    </a:cubicBezTo>
                    <a:cubicBezTo>
                      <a:pt x="88" y="22"/>
                      <a:pt x="79" y="12"/>
                      <a:pt x="64" y="12"/>
                    </a:cubicBezTo>
                    <a:cubicBezTo>
                      <a:pt x="61" y="12"/>
                      <a:pt x="40" y="12"/>
                      <a:pt x="39" y="12"/>
                    </a:cubicBezTo>
                    <a:cubicBezTo>
                      <a:pt x="34" y="4"/>
                      <a:pt x="25" y="0"/>
                      <a:pt x="16" y="2"/>
                    </a:cubicBezTo>
                    <a:cubicBezTo>
                      <a:pt x="5" y="6"/>
                      <a:pt x="0" y="16"/>
                      <a:pt x="3" y="27"/>
                    </a:cubicBezTo>
                    <a:cubicBezTo>
                      <a:pt x="6" y="37"/>
                      <a:pt x="17" y="43"/>
                      <a:pt x="27" y="40"/>
                    </a:cubicBezTo>
                    <a:cubicBezTo>
                      <a:pt x="32" y="39"/>
                      <a:pt x="36" y="35"/>
                      <a:pt x="38" y="31"/>
                    </a:cubicBezTo>
                    <a:cubicBezTo>
                      <a:pt x="40" y="31"/>
                      <a:pt x="52" y="31"/>
                      <a:pt x="54" y="31"/>
                    </a:cubicBezTo>
                    <a:cubicBezTo>
                      <a:pt x="63" y="31"/>
                      <a:pt x="65" y="33"/>
                      <a:pt x="67" y="40"/>
                    </a:cubicBezTo>
                    <a:cubicBezTo>
                      <a:pt x="73" y="61"/>
                      <a:pt x="165" y="388"/>
                      <a:pt x="171" y="409"/>
                    </a:cubicBezTo>
                    <a:cubicBezTo>
                      <a:pt x="180" y="439"/>
                      <a:pt x="194" y="450"/>
                      <a:pt x="209" y="450"/>
                    </a:cubicBezTo>
                    <a:lnTo>
                      <a:pt x="483" y="450"/>
                    </a:lnTo>
                    <a:cubicBezTo>
                      <a:pt x="492" y="450"/>
                      <a:pt x="496" y="441"/>
                      <a:pt x="496" y="437"/>
                    </a:cubicBezTo>
                    <a:cubicBezTo>
                      <a:pt x="498" y="423"/>
                      <a:pt x="486" y="420"/>
                      <a:pt x="480" y="420"/>
                    </a:cubicBezTo>
                    <a:lnTo>
                      <a:pt x="212" y="420"/>
                    </a:lnTo>
                    <a:cubicBezTo>
                      <a:pt x="205" y="420"/>
                      <a:pt x="198" y="415"/>
                      <a:pt x="196" y="408"/>
                    </a:cubicBezTo>
                    <a:cubicBezTo>
                      <a:pt x="195" y="404"/>
                      <a:pt x="170" y="315"/>
                      <a:pt x="168" y="309"/>
                    </a:cubicBezTo>
                    <a:cubicBezTo>
                      <a:pt x="174" y="315"/>
                      <a:pt x="179" y="314"/>
                      <a:pt x="182" y="314"/>
                    </a:cubicBezTo>
                    <a:lnTo>
                      <a:pt x="451" y="314"/>
                    </a:lnTo>
                    <a:cubicBezTo>
                      <a:pt x="486" y="314"/>
                      <a:pt x="500" y="272"/>
                      <a:pt x="503" y="259"/>
                    </a:cubicBezTo>
                    <a:lnTo>
                      <a:pt x="552" y="88"/>
                    </a:lnTo>
                    <a:cubicBezTo>
                      <a:pt x="554" y="81"/>
                      <a:pt x="552" y="63"/>
                      <a:pt x="533" y="63"/>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grpSp>
        <p:nvGrpSpPr>
          <p:cNvPr id="159" name="Groep 158">
            <a:extLst>
              <a:ext uri="{FF2B5EF4-FFF2-40B4-BE49-F238E27FC236}">
                <a16:creationId xmlns:a16="http://schemas.microsoft.com/office/drawing/2014/main" id="{FE43B8D1-A64B-49DA-B332-E5170DB3E1AE}"/>
              </a:ext>
            </a:extLst>
          </p:cNvPr>
          <p:cNvGrpSpPr/>
          <p:nvPr/>
        </p:nvGrpSpPr>
        <p:grpSpPr>
          <a:xfrm>
            <a:off x="9425514" y="742503"/>
            <a:ext cx="288000" cy="288000"/>
            <a:chOff x="8966036" y="598928"/>
            <a:chExt cx="324000" cy="329184"/>
          </a:xfrm>
        </p:grpSpPr>
        <p:sp>
          <p:nvSpPr>
            <p:cNvPr id="160" name="Oval 53">
              <a:extLst>
                <a:ext uri="{FF2B5EF4-FFF2-40B4-BE49-F238E27FC236}">
                  <a16:creationId xmlns:a16="http://schemas.microsoft.com/office/drawing/2014/main" id="{67B9DFD8-804A-45B2-A2FA-E72ECA4FE9EE}"/>
                </a:ext>
              </a:extLst>
            </p:cNvPr>
            <p:cNvSpPr/>
            <p:nvPr/>
          </p:nvSpPr>
          <p:spPr>
            <a:xfrm>
              <a:off x="8966036" y="598928"/>
              <a:ext cx="324000" cy="329184"/>
            </a:xfrm>
            <a:prstGeom prst="ellipse">
              <a:avLst/>
            </a:prstGeom>
            <a:solidFill>
              <a:srgbClr val="62366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61" name="Shopping_cart" descr="{&quot;Key&quot;:&quot;POWER_USER_SHAPE_ICON&quot;,&quot;Value&quot;:&quot;POWER_USER_SHAPE_ICON_STYLE_1&quot;}">
              <a:extLst>
                <a:ext uri="{FF2B5EF4-FFF2-40B4-BE49-F238E27FC236}">
                  <a16:creationId xmlns:a16="http://schemas.microsoft.com/office/drawing/2014/main" id="{EE225C6C-74B7-4276-AD34-B13F3A93E61D}"/>
                </a:ext>
              </a:extLst>
            </p:cNvPr>
            <p:cNvGrpSpPr>
              <a:grpSpLocks noChangeAspect="1"/>
            </p:cNvGrpSpPr>
            <p:nvPr>
              <p:custDataLst>
                <p:tags r:id="rId51"/>
              </p:custDataLst>
            </p:nvPr>
          </p:nvGrpSpPr>
          <p:grpSpPr>
            <a:xfrm>
              <a:off x="9003559" y="656958"/>
              <a:ext cx="235088" cy="232174"/>
              <a:chOff x="4646614" y="2062164"/>
              <a:chExt cx="384175" cy="379413"/>
            </a:xfrm>
            <a:solidFill>
              <a:schemeClr val="bg1"/>
            </a:solidFill>
          </p:grpSpPr>
          <p:sp>
            <p:nvSpPr>
              <p:cNvPr id="162" name="Freeform 198">
                <a:extLst>
                  <a:ext uri="{FF2B5EF4-FFF2-40B4-BE49-F238E27FC236}">
                    <a16:creationId xmlns:a16="http://schemas.microsoft.com/office/drawing/2014/main" id="{4B2866C7-FC97-40C7-8C74-09B04D89E941}"/>
                  </a:ext>
                </a:extLst>
              </p:cNvPr>
              <p:cNvSpPr>
                <a:spLocks noEditPoints="1"/>
              </p:cNvSpPr>
              <p:nvPr/>
            </p:nvSpPr>
            <p:spPr bwMode="auto">
              <a:xfrm>
                <a:off x="4773614" y="2386014"/>
                <a:ext cx="55563" cy="55563"/>
              </a:xfrm>
              <a:custGeom>
                <a:avLst/>
                <a:gdLst>
                  <a:gd name="T0" fmla="*/ 40 w 80"/>
                  <a:gd name="T1" fmla="*/ 55 h 80"/>
                  <a:gd name="T2" fmla="*/ 25 w 80"/>
                  <a:gd name="T3" fmla="*/ 40 h 80"/>
                  <a:gd name="T4" fmla="*/ 40 w 80"/>
                  <a:gd name="T5" fmla="*/ 25 h 80"/>
                  <a:gd name="T6" fmla="*/ 55 w 80"/>
                  <a:gd name="T7" fmla="*/ 40 h 80"/>
                  <a:gd name="T8" fmla="*/ 40 w 80"/>
                  <a:gd name="T9" fmla="*/ 55 h 80"/>
                  <a:gd name="T10" fmla="*/ 40 w 80"/>
                  <a:gd name="T11" fmla="*/ 0 h 80"/>
                  <a:gd name="T12" fmla="*/ 0 w 80"/>
                  <a:gd name="T13" fmla="*/ 40 h 80"/>
                  <a:gd name="T14" fmla="*/ 40 w 80"/>
                  <a:gd name="T15" fmla="*/ 80 h 80"/>
                  <a:gd name="T16" fmla="*/ 80 w 80"/>
                  <a:gd name="T17" fmla="*/ 40 h 80"/>
                  <a:gd name="T18" fmla="*/ 40 w 80"/>
                  <a:gd name="T19"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0" h="80">
                    <a:moveTo>
                      <a:pt x="40" y="55"/>
                    </a:moveTo>
                    <a:cubicBezTo>
                      <a:pt x="32" y="55"/>
                      <a:pt x="25" y="48"/>
                      <a:pt x="25" y="40"/>
                    </a:cubicBezTo>
                    <a:cubicBezTo>
                      <a:pt x="25" y="32"/>
                      <a:pt x="32" y="25"/>
                      <a:pt x="40" y="25"/>
                    </a:cubicBezTo>
                    <a:cubicBezTo>
                      <a:pt x="48" y="25"/>
                      <a:pt x="55" y="32"/>
                      <a:pt x="55" y="40"/>
                    </a:cubicBezTo>
                    <a:cubicBezTo>
                      <a:pt x="55" y="48"/>
                      <a:pt x="48" y="55"/>
                      <a:pt x="40" y="55"/>
                    </a:cubicBezTo>
                    <a:close/>
                    <a:moveTo>
                      <a:pt x="40" y="0"/>
                    </a:moveTo>
                    <a:cubicBezTo>
                      <a:pt x="18" y="0"/>
                      <a:pt x="0" y="18"/>
                      <a:pt x="0" y="40"/>
                    </a:cubicBezTo>
                    <a:cubicBezTo>
                      <a:pt x="0" y="62"/>
                      <a:pt x="18" y="80"/>
                      <a:pt x="40" y="80"/>
                    </a:cubicBezTo>
                    <a:cubicBezTo>
                      <a:pt x="62" y="80"/>
                      <a:pt x="80" y="62"/>
                      <a:pt x="80" y="40"/>
                    </a:cubicBezTo>
                    <a:cubicBezTo>
                      <a:pt x="80" y="18"/>
                      <a:pt x="62" y="0"/>
                      <a:pt x="40"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3" name="Freeform 199">
                <a:extLst>
                  <a:ext uri="{FF2B5EF4-FFF2-40B4-BE49-F238E27FC236}">
                    <a16:creationId xmlns:a16="http://schemas.microsoft.com/office/drawing/2014/main" id="{80FB86F0-A9B9-4676-9000-B6CCCE25CF51}"/>
                  </a:ext>
                </a:extLst>
              </p:cNvPr>
              <p:cNvSpPr>
                <a:spLocks noEditPoints="1"/>
              </p:cNvSpPr>
              <p:nvPr/>
            </p:nvSpPr>
            <p:spPr bwMode="auto">
              <a:xfrm>
                <a:off x="4929189" y="2386014"/>
                <a:ext cx="55563" cy="55563"/>
              </a:xfrm>
              <a:custGeom>
                <a:avLst/>
                <a:gdLst>
                  <a:gd name="T0" fmla="*/ 40 w 80"/>
                  <a:gd name="T1" fmla="*/ 55 h 80"/>
                  <a:gd name="T2" fmla="*/ 25 w 80"/>
                  <a:gd name="T3" fmla="*/ 40 h 80"/>
                  <a:gd name="T4" fmla="*/ 40 w 80"/>
                  <a:gd name="T5" fmla="*/ 25 h 80"/>
                  <a:gd name="T6" fmla="*/ 55 w 80"/>
                  <a:gd name="T7" fmla="*/ 40 h 80"/>
                  <a:gd name="T8" fmla="*/ 40 w 80"/>
                  <a:gd name="T9" fmla="*/ 55 h 80"/>
                  <a:gd name="T10" fmla="*/ 40 w 80"/>
                  <a:gd name="T11" fmla="*/ 0 h 80"/>
                  <a:gd name="T12" fmla="*/ 0 w 80"/>
                  <a:gd name="T13" fmla="*/ 40 h 80"/>
                  <a:gd name="T14" fmla="*/ 40 w 80"/>
                  <a:gd name="T15" fmla="*/ 80 h 80"/>
                  <a:gd name="T16" fmla="*/ 80 w 80"/>
                  <a:gd name="T17" fmla="*/ 40 h 80"/>
                  <a:gd name="T18" fmla="*/ 40 w 80"/>
                  <a:gd name="T19"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0" h="80">
                    <a:moveTo>
                      <a:pt x="40" y="55"/>
                    </a:moveTo>
                    <a:cubicBezTo>
                      <a:pt x="32" y="55"/>
                      <a:pt x="25" y="48"/>
                      <a:pt x="25" y="40"/>
                    </a:cubicBezTo>
                    <a:cubicBezTo>
                      <a:pt x="25" y="32"/>
                      <a:pt x="32" y="25"/>
                      <a:pt x="40" y="25"/>
                    </a:cubicBezTo>
                    <a:cubicBezTo>
                      <a:pt x="48" y="25"/>
                      <a:pt x="55" y="32"/>
                      <a:pt x="55" y="40"/>
                    </a:cubicBezTo>
                    <a:cubicBezTo>
                      <a:pt x="55" y="48"/>
                      <a:pt x="48" y="55"/>
                      <a:pt x="40" y="55"/>
                    </a:cubicBezTo>
                    <a:close/>
                    <a:moveTo>
                      <a:pt x="40" y="0"/>
                    </a:moveTo>
                    <a:cubicBezTo>
                      <a:pt x="18" y="0"/>
                      <a:pt x="0" y="18"/>
                      <a:pt x="0" y="40"/>
                    </a:cubicBezTo>
                    <a:cubicBezTo>
                      <a:pt x="0" y="62"/>
                      <a:pt x="18" y="80"/>
                      <a:pt x="40" y="80"/>
                    </a:cubicBezTo>
                    <a:cubicBezTo>
                      <a:pt x="62" y="80"/>
                      <a:pt x="80" y="62"/>
                      <a:pt x="80" y="40"/>
                    </a:cubicBezTo>
                    <a:cubicBezTo>
                      <a:pt x="80" y="18"/>
                      <a:pt x="62" y="0"/>
                      <a:pt x="40"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4" name="Freeform 200">
                <a:extLst>
                  <a:ext uri="{FF2B5EF4-FFF2-40B4-BE49-F238E27FC236}">
                    <a16:creationId xmlns:a16="http://schemas.microsoft.com/office/drawing/2014/main" id="{F8E6721F-2A98-44B6-ABEB-8FCB1330859C}"/>
                  </a:ext>
                </a:extLst>
              </p:cNvPr>
              <p:cNvSpPr>
                <a:spLocks noEditPoints="1"/>
              </p:cNvSpPr>
              <p:nvPr/>
            </p:nvSpPr>
            <p:spPr bwMode="auto">
              <a:xfrm>
                <a:off x="4646614" y="2062164"/>
                <a:ext cx="384175" cy="311150"/>
              </a:xfrm>
              <a:custGeom>
                <a:avLst/>
                <a:gdLst>
                  <a:gd name="T0" fmla="*/ 465 w 554"/>
                  <a:gd name="T1" fmla="*/ 168 h 450"/>
                  <a:gd name="T2" fmla="*/ 530 w 554"/>
                  <a:gd name="T3" fmla="*/ 88 h 450"/>
                  <a:gd name="T4" fmla="*/ 483 w 554"/>
                  <a:gd name="T5" fmla="*/ 257 h 450"/>
                  <a:gd name="T6" fmla="*/ 447 w 554"/>
                  <a:gd name="T7" fmla="*/ 273 h 450"/>
                  <a:gd name="T8" fmla="*/ 505 w 554"/>
                  <a:gd name="T9" fmla="*/ 177 h 450"/>
                  <a:gd name="T10" fmla="*/ 432 w 554"/>
                  <a:gd name="T11" fmla="*/ 273 h 450"/>
                  <a:gd name="T12" fmla="*/ 407 w 554"/>
                  <a:gd name="T13" fmla="*/ 177 h 450"/>
                  <a:gd name="T14" fmla="*/ 432 w 554"/>
                  <a:gd name="T15" fmla="*/ 273 h 450"/>
                  <a:gd name="T16" fmla="*/ 352 w 554"/>
                  <a:gd name="T17" fmla="*/ 88 h 450"/>
                  <a:gd name="T18" fmla="*/ 393 w 554"/>
                  <a:gd name="T19" fmla="*/ 168 h 450"/>
                  <a:gd name="T20" fmla="*/ 383 w 554"/>
                  <a:gd name="T21" fmla="*/ 273 h 450"/>
                  <a:gd name="T22" fmla="*/ 352 w 554"/>
                  <a:gd name="T23" fmla="*/ 177 h 450"/>
                  <a:gd name="T24" fmla="*/ 383 w 554"/>
                  <a:gd name="T25" fmla="*/ 273 h 450"/>
                  <a:gd name="T26" fmla="*/ 297 w 554"/>
                  <a:gd name="T27" fmla="*/ 168 h 450"/>
                  <a:gd name="T28" fmla="*/ 337 w 554"/>
                  <a:gd name="T29" fmla="*/ 88 h 450"/>
                  <a:gd name="T30" fmla="*/ 337 w 554"/>
                  <a:gd name="T31" fmla="*/ 273 h 450"/>
                  <a:gd name="T32" fmla="*/ 298 w 554"/>
                  <a:gd name="T33" fmla="*/ 177 h 450"/>
                  <a:gd name="T34" fmla="*/ 337 w 554"/>
                  <a:gd name="T35" fmla="*/ 273 h 450"/>
                  <a:gd name="T36" fmla="*/ 242 w 554"/>
                  <a:gd name="T37" fmla="*/ 177 h 450"/>
                  <a:gd name="T38" fmla="*/ 292 w 554"/>
                  <a:gd name="T39" fmla="*/ 273 h 450"/>
                  <a:gd name="T40" fmla="*/ 210 w 554"/>
                  <a:gd name="T41" fmla="*/ 273 h 450"/>
                  <a:gd name="T42" fmla="*/ 227 w 554"/>
                  <a:gd name="T43" fmla="*/ 177 h 450"/>
                  <a:gd name="T44" fmla="*/ 210 w 554"/>
                  <a:gd name="T45" fmla="*/ 273 h 450"/>
                  <a:gd name="T46" fmla="*/ 157 w 554"/>
                  <a:gd name="T47" fmla="*/ 268 h 450"/>
                  <a:gd name="T48" fmla="*/ 173 w 554"/>
                  <a:gd name="T49" fmla="*/ 177 h 450"/>
                  <a:gd name="T50" fmla="*/ 170 w 554"/>
                  <a:gd name="T51" fmla="*/ 273 h 450"/>
                  <a:gd name="T52" fmla="*/ 106 w 554"/>
                  <a:gd name="T53" fmla="*/ 88 h 450"/>
                  <a:gd name="T54" fmla="*/ 171 w 554"/>
                  <a:gd name="T55" fmla="*/ 168 h 450"/>
                  <a:gd name="T56" fmla="*/ 126 w 554"/>
                  <a:gd name="T57" fmla="*/ 156 h 450"/>
                  <a:gd name="T58" fmla="*/ 225 w 554"/>
                  <a:gd name="T59" fmla="*/ 168 h 450"/>
                  <a:gd name="T60" fmla="*/ 168 w 554"/>
                  <a:gd name="T61" fmla="*/ 88 h 450"/>
                  <a:gd name="T62" fmla="*/ 274 w 554"/>
                  <a:gd name="T63" fmla="*/ 88 h 450"/>
                  <a:gd name="T64" fmla="*/ 241 w 554"/>
                  <a:gd name="T65" fmla="*/ 168 h 450"/>
                  <a:gd name="T66" fmla="*/ 274 w 554"/>
                  <a:gd name="T67" fmla="*/ 88 h 450"/>
                  <a:gd name="T68" fmla="*/ 462 w 554"/>
                  <a:gd name="T69" fmla="*/ 88 h 450"/>
                  <a:gd name="T70" fmla="*/ 408 w 554"/>
                  <a:gd name="T71" fmla="*/ 168 h 450"/>
                  <a:gd name="T72" fmla="*/ 24 w 554"/>
                  <a:gd name="T73" fmla="*/ 29 h 450"/>
                  <a:gd name="T74" fmla="*/ 19 w 554"/>
                  <a:gd name="T75" fmla="*/ 13 h 450"/>
                  <a:gd name="T76" fmla="*/ 24 w 554"/>
                  <a:gd name="T77" fmla="*/ 29 h 450"/>
                  <a:gd name="T78" fmla="*/ 110 w 554"/>
                  <a:gd name="T79" fmla="*/ 63 h 450"/>
                  <a:gd name="T80" fmla="*/ 91 w 554"/>
                  <a:gd name="T81" fmla="*/ 34 h 450"/>
                  <a:gd name="T82" fmla="*/ 39 w 554"/>
                  <a:gd name="T83" fmla="*/ 12 h 450"/>
                  <a:gd name="T84" fmla="*/ 3 w 554"/>
                  <a:gd name="T85" fmla="*/ 27 h 450"/>
                  <a:gd name="T86" fmla="*/ 38 w 554"/>
                  <a:gd name="T87" fmla="*/ 31 h 450"/>
                  <a:gd name="T88" fmla="*/ 67 w 554"/>
                  <a:gd name="T89" fmla="*/ 40 h 450"/>
                  <a:gd name="T90" fmla="*/ 209 w 554"/>
                  <a:gd name="T91" fmla="*/ 450 h 450"/>
                  <a:gd name="T92" fmla="*/ 496 w 554"/>
                  <a:gd name="T93" fmla="*/ 437 h 450"/>
                  <a:gd name="T94" fmla="*/ 212 w 554"/>
                  <a:gd name="T95" fmla="*/ 420 h 450"/>
                  <a:gd name="T96" fmla="*/ 168 w 554"/>
                  <a:gd name="T97" fmla="*/ 309 h 450"/>
                  <a:gd name="T98" fmla="*/ 451 w 554"/>
                  <a:gd name="T99" fmla="*/ 314 h 450"/>
                  <a:gd name="T100" fmla="*/ 552 w 554"/>
                  <a:gd name="T101" fmla="*/ 88 h 4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54" h="450">
                    <a:moveTo>
                      <a:pt x="508" y="168"/>
                    </a:moveTo>
                    <a:lnTo>
                      <a:pt x="465" y="168"/>
                    </a:lnTo>
                    <a:lnTo>
                      <a:pt x="478" y="88"/>
                    </a:lnTo>
                    <a:lnTo>
                      <a:pt x="530" y="88"/>
                    </a:lnTo>
                    <a:lnTo>
                      <a:pt x="508" y="168"/>
                    </a:lnTo>
                    <a:close/>
                    <a:moveTo>
                      <a:pt x="483" y="257"/>
                    </a:moveTo>
                    <a:cubicBezTo>
                      <a:pt x="480" y="265"/>
                      <a:pt x="471" y="273"/>
                      <a:pt x="462" y="273"/>
                    </a:cubicBezTo>
                    <a:lnTo>
                      <a:pt x="447" y="273"/>
                    </a:lnTo>
                    <a:lnTo>
                      <a:pt x="463" y="177"/>
                    </a:lnTo>
                    <a:lnTo>
                      <a:pt x="505" y="177"/>
                    </a:lnTo>
                    <a:lnTo>
                      <a:pt x="483" y="257"/>
                    </a:lnTo>
                    <a:close/>
                    <a:moveTo>
                      <a:pt x="432" y="273"/>
                    </a:moveTo>
                    <a:lnTo>
                      <a:pt x="398" y="273"/>
                    </a:lnTo>
                    <a:lnTo>
                      <a:pt x="407" y="177"/>
                    </a:lnTo>
                    <a:lnTo>
                      <a:pt x="447" y="177"/>
                    </a:lnTo>
                    <a:lnTo>
                      <a:pt x="432" y="273"/>
                    </a:lnTo>
                    <a:close/>
                    <a:moveTo>
                      <a:pt x="352" y="168"/>
                    </a:moveTo>
                    <a:lnTo>
                      <a:pt x="352" y="88"/>
                    </a:lnTo>
                    <a:lnTo>
                      <a:pt x="401" y="88"/>
                    </a:lnTo>
                    <a:lnTo>
                      <a:pt x="393" y="168"/>
                    </a:lnTo>
                    <a:lnTo>
                      <a:pt x="352" y="168"/>
                    </a:lnTo>
                    <a:close/>
                    <a:moveTo>
                      <a:pt x="383" y="273"/>
                    </a:moveTo>
                    <a:lnTo>
                      <a:pt x="352" y="273"/>
                    </a:lnTo>
                    <a:lnTo>
                      <a:pt x="352" y="177"/>
                    </a:lnTo>
                    <a:lnTo>
                      <a:pt x="392" y="177"/>
                    </a:lnTo>
                    <a:lnTo>
                      <a:pt x="383" y="273"/>
                    </a:lnTo>
                    <a:close/>
                    <a:moveTo>
                      <a:pt x="337" y="168"/>
                    </a:moveTo>
                    <a:lnTo>
                      <a:pt x="297" y="168"/>
                    </a:lnTo>
                    <a:lnTo>
                      <a:pt x="289" y="88"/>
                    </a:lnTo>
                    <a:lnTo>
                      <a:pt x="337" y="88"/>
                    </a:lnTo>
                    <a:lnTo>
                      <a:pt x="337" y="168"/>
                    </a:lnTo>
                    <a:close/>
                    <a:moveTo>
                      <a:pt x="337" y="273"/>
                    </a:moveTo>
                    <a:lnTo>
                      <a:pt x="307" y="273"/>
                    </a:lnTo>
                    <a:lnTo>
                      <a:pt x="298" y="177"/>
                    </a:lnTo>
                    <a:lnTo>
                      <a:pt x="337" y="177"/>
                    </a:lnTo>
                    <a:lnTo>
                      <a:pt x="337" y="273"/>
                    </a:lnTo>
                    <a:close/>
                    <a:moveTo>
                      <a:pt x="258" y="273"/>
                    </a:moveTo>
                    <a:lnTo>
                      <a:pt x="242" y="177"/>
                    </a:lnTo>
                    <a:lnTo>
                      <a:pt x="282" y="177"/>
                    </a:lnTo>
                    <a:lnTo>
                      <a:pt x="292" y="273"/>
                    </a:lnTo>
                    <a:lnTo>
                      <a:pt x="258" y="273"/>
                    </a:lnTo>
                    <a:close/>
                    <a:moveTo>
                      <a:pt x="210" y="273"/>
                    </a:moveTo>
                    <a:lnTo>
                      <a:pt x="188" y="177"/>
                    </a:lnTo>
                    <a:lnTo>
                      <a:pt x="227" y="177"/>
                    </a:lnTo>
                    <a:lnTo>
                      <a:pt x="242" y="273"/>
                    </a:lnTo>
                    <a:lnTo>
                      <a:pt x="210" y="273"/>
                    </a:lnTo>
                    <a:close/>
                    <a:moveTo>
                      <a:pt x="170" y="273"/>
                    </a:moveTo>
                    <a:cubicBezTo>
                      <a:pt x="165" y="273"/>
                      <a:pt x="161" y="271"/>
                      <a:pt x="157" y="268"/>
                    </a:cubicBezTo>
                    <a:cubicBezTo>
                      <a:pt x="150" y="244"/>
                      <a:pt x="141" y="211"/>
                      <a:pt x="131" y="177"/>
                    </a:cubicBezTo>
                    <a:lnTo>
                      <a:pt x="173" y="177"/>
                    </a:lnTo>
                    <a:lnTo>
                      <a:pt x="194" y="273"/>
                    </a:lnTo>
                    <a:lnTo>
                      <a:pt x="170" y="273"/>
                    </a:lnTo>
                    <a:close/>
                    <a:moveTo>
                      <a:pt x="126" y="156"/>
                    </a:moveTo>
                    <a:cubicBezTo>
                      <a:pt x="119" y="133"/>
                      <a:pt x="112" y="109"/>
                      <a:pt x="106" y="88"/>
                    </a:cubicBezTo>
                    <a:lnTo>
                      <a:pt x="153" y="88"/>
                    </a:lnTo>
                    <a:lnTo>
                      <a:pt x="171" y="168"/>
                    </a:lnTo>
                    <a:lnTo>
                      <a:pt x="129" y="168"/>
                    </a:lnTo>
                    <a:cubicBezTo>
                      <a:pt x="128" y="164"/>
                      <a:pt x="127" y="160"/>
                      <a:pt x="126" y="156"/>
                    </a:cubicBezTo>
                    <a:close/>
                    <a:moveTo>
                      <a:pt x="212" y="88"/>
                    </a:moveTo>
                    <a:lnTo>
                      <a:pt x="225" y="168"/>
                    </a:lnTo>
                    <a:lnTo>
                      <a:pt x="186" y="168"/>
                    </a:lnTo>
                    <a:lnTo>
                      <a:pt x="168" y="88"/>
                    </a:lnTo>
                    <a:lnTo>
                      <a:pt x="212" y="88"/>
                    </a:lnTo>
                    <a:close/>
                    <a:moveTo>
                      <a:pt x="274" y="88"/>
                    </a:moveTo>
                    <a:lnTo>
                      <a:pt x="281" y="168"/>
                    </a:lnTo>
                    <a:lnTo>
                      <a:pt x="241" y="168"/>
                    </a:lnTo>
                    <a:lnTo>
                      <a:pt x="228" y="88"/>
                    </a:lnTo>
                    <a:lnTo>
                      <a:pt x="274" y="88"/>
                    </a:lnTo>
                    <a:close/>
                    <a:moveTo>
                      <a:pt x="416" y="88"/>
                    </a:moveTo>
                    <a:lnTo>
                      <a:pt x="462" y="88"/>
                    </a:lnTo>
                    <a:lnTo>
                      <a:pt x="449" y="168"/>
                    </a:lnTo>
                    <a:lnTo>
                      <a:pt x="408" y="168"/>
                    </a:lnTo>
                    <a:lnTo>
                      <a:pt x="416" y="88"/>
                    </a:lnTo>
                    <a:close/>
                    <a:moveTo>
                      <a:pt x="24" y="29"/>
                    </a:moveTo>
                    <a:cubicBezTo>
                      <a:pt x="19" y="31"/>
                      <a:pt x="15" y="28"/>
                      <a:pt x="13" y="24"/>
                    </a:cubicBezTo>
                    <a:cubicBezTo>
                      <a:pt x="12" y="19"/>
                      <a:pt x="14" y="14"/>
                      <a:pt x="19" y="13"/>
                    </a:cubicBezTo>
                    <a:cubicBezTo>
                      <a:pt x="24" y="12"/>
                      <a:pt x="28" y="14"/>
                      <a:pt x="30" y="19"/>
                    </a:cubicBezTo>
                    <a:cubicBezTo>
                      <a:pt x="31" y="23"/>
                      <a:pt x="29" y="28"/>
                      <a:pt x="24" y="29"/>
                    </a:cubicBezTo>
                    <a:close/>
                    <a:moveTo>
                      <a:pt x="533" y="63"/>
                    </a:moveTo>
                    <a:lnTo>
                      <a:pt x="110" y="63"/>
                    </a:lnTo>
                    <a:cubicBezTo>
                      <a:pt x="106" y="63"/>
                      <a:pt x="103" y="63"/>
                      <a:pt x="100" y="65"/>
                    </a:cubicBezTo>
                    <a:cubicBezTo>
                      <a:pt x="99" y="61"/>
                      <a:pt x="94" y="44"/>
                      <a:pt x="91" y="34"/>
                    </a:cubicBezTo>
                    <a:cubicBezTo>
                      <a:pt x="88" y="22"/>
                      <a:pt x="79" y="12"/>
                      <a:pt x="64" y="12"/>
                    </a:cubicBezTo>
                    <a:cubicBezTo>
                      <a:pt x="61" y="12"/>
                      <a:pt x="40" y="12"/>
                      <a:pt x="39" y="12"/>
                    </a:cubicBezTo>
                    <a:cubicBezTo>
                      <a:pt x="34" y="4"/>
                      <a:pt x="25" y="0"/>
                      <a:pt x="16" y="2"/>
                    </a:cubicBezTo>
                    <a:cubicBezTo>
                      <a:pt x="5" y="6"/>
                      <a:pt x="0" y="16"/>
                      <a:pt x="3" y="27"/>
                    </a:cubicBezTo>
                    <a:cubicBezTo>
                      <a:pt x="6" y="37"/>
                      <a:pt x="17" y="43"/>
                      <a:pt x="27" y="40"/>
                    </a:cubicBezTo>
                    <a:cubicBezTo>
                      <a:pt x="32" y="39"/>
                      <a:pt x="36" y="35"/>
                      <a:pt x="38" y="31"/>
                    </a:cubicBezTo>
                    <a:cubicBezTo>
                      <a:pt x="40" y="31"/>
                      <a:pt x="52" y="31"/>
                      <a:pt x="54" y="31"/>
                    </a:cubicBezTo>
                    <a:cubicBezTo>
                      <a:pt x="63" y="31"/>
                      <a:pt x="65" y="33"/>
                      <a:pt x="67" y="40"/>
                    </a:cubicBezTo>
                    <a:cubicBezTo>
                      <a:pt x="73" y="61"/>
                      <a:pt x="165" y="388"/>
                      <a:pt x="171" y="409"/>
                    </a:cubicBezTo>
                    <a:cubicBezTo>
                      <a:pt x="180" y="439"/>
                      <a:pt x="194" y="450"/>
                      <a:pt x="209" y="450"/>
                    </a:cubicBezTo>
                    <a:lnTo>
                      <a:pt x="483" y="450"/>
                    </a:lnTo>
                    <a:cubicBezTo>
                      <a:pt x="492" y="450"/>
                      <a:pt x="496" y="441"/>
                      <a:pt x="496" y="437"/>
                    </a:cubicBezTo>
                    <a:cubicBezTo>
                      <a:pt x="498" y="423"/>
                      <a:pt x="486" y="420"/>
                      <a:pt x="480" y="420"/>
                    </a:cubicBezTo>
                    <a:lnTo>
                      <a:pt x="212" y="420"/>
                    </a:lnTo>
                    <a:cubicBezTo>
                      <a:pt x="205" y="420"/>
                      <a:pt x="198" y="415"/>
                      <a:pt x="196" y="408"/>
                    </a:cubicBezTo>
                    <a:cubicBezTo>
                      <a:pt x="195" y="404"/>
                      <a:pt x="170" y="315"/>
                      <a:pt x="168" y="309"/>
                    </a:cubicBezTo>
                    <a:cubicBezTo>
                      <a:pt x="174" y="315"/>
                      <a:pt x="179" y="314"/>
                      <a:pt x="182" y="314"/>
                    </a:cubicBezTo>
                    <a:lnTo>
                      <a:pt x="451" y="314"/>
                    </a:lnTo>
                    <a:cubicBezTo>
                      <a:pt x="486" y="314"/>
                      <a:pt x="500" y="272"/>
                      <a:pt x="503" y="259"/>
                    </a:cubicBezTo>
                    <a:lnTo>
                      <a:pt x="552" y="88"/>
                    </a:lnTo>
                    <a:cubicBezTo>
                      <a:pt x="554" y="81"/>
                      <a:pt x="552" y="63"/>
                      <a:pt x="533" y="63"/>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grpSp>
        <p:nvGrpSpPr>
          <p:cNvPr id="165" name="Group 125">
            <a:extLst>
              <a:ext uri="{FF2B5EF4-FFF2-40B4-BE49-F238E27FC236}">
                <a16:creationId xmlns:a16="http://schemas.microsoft.com/office/drawing/2014/main" id="{FAA63FD9-A1B3-4FA6-81CA-74157CAA8FA5}"/>
              </a:ext>
            </a:extLst>
          </p:cNvPr>
          <p:cNvGrpSpPr/>
          <p:nvPr/>
        </p:nvGrpSpPr>
        <p:grpSpPr>
          <a:xfrm>
            <a:off x="10183870" y="684336"/>
            <a:ext cx="329184" cy="329184"/>
            <a:chOff x="7095592" y="742073"/>
            <a:chExt cx="329184" cy="329184"/>
          </a:xfrm>
        </p:grpSpPr>
        <p:sp>
          <p:nvSpPr>
            <p:cNvPr id="166" name="Oval 137">
              <a:extLst>
                <a:ext uri="{FF2B5EF4-FFF2-40B4-BE49-F238E27FC236}">
                  <a16:creationId xmlns:a16="http://schemas.microsoft.com/office/drawing/2014/main" id="{D820DD3E-B33C-4236-90F1-F48B98BE0983}"/>
                </a:ext>
              </a:extLst>
            </p:cNvPr>
            <p:cNvSpPr/>
            <p:nvPr/>
          </p:nvSpPr>
          <p:spPr>
            <a:xfrm>
              <a:off x="7095592" y="742073"/>
              <a:ext cx="329184" cy="329184"/>
            </a:xfrm>
            <a:prstGeom prst="ellipse">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67" name="Group 127">
              <a:extLst>
                <a:ext uri="{FF2B5EF4-FFF2-40B4-BE49-F238E27FC236}">
                  <a16:creationId xmlns:a16="http://schemas.microsoft.com/office/drawing/2014/main" id="{6722D75E-CE39-4DE8-8D7C-A8DA63B826DE}"/>
                </a:ext>
              </a:extLst>
            </p:cNvPr>
            <p:cNvGrpSpPr/>
            <p:nvPr/>
          </p:nvGrpSpPr>
          <p:grpSpPr>
            <a:xfrm>
              <a:off x="7176816" y="778521"/>
              <a:ext cx="179310" cy="244447"/>
              <a:chOff x="7176816" y="778521"/>
              <a:chExt cx="179310" cy="244447"/>
            </a:xfrm>
          </p:grpSpPr>
          <p:sp>
            <p:nvSpPr>
              <p:cNvPr id="168" name="Seed" descr="{&quot;Key&quot;:&quot;POWER_USER_SHAPE_ICON&quot;,&quot;Value&quot;:&quot;POWER_USER_SHAPE_ICON_STYLE_1&quot;}">
                <a:extLst>
                  <a:ext uri="{FF2B5EF4-FFF2-40B4-BE49-F238E27FC236}">
                    <a16:creationId xmlns:a16="http://schemas.microsoft.com/office/drawing/2014/main" id="{C9FEC77C-6A73-4C5A-B679-24C595E1D40C}"/>
                  </a:ext>
                </a:extLst>
              </p:cNvPr>
              <p:cNvSpPr>
                <a:spLocks noChangeAspect="1" noEditPoints="1"/>
              </p:cNvSpPr>
              <p:nvPr>
                <p:custDataLst>
                  <p:tags r:id="rId43"/>
                </p:custDataLst>
              </p:nvPr>
            </p:nvSpPr>
            <p:spPr bwMode="auto">
              <a:xfrm>
                <a:off x="7176816" y="878690"/>
                <a:ext cx="162838" cy="144278"/>
              </a:xfrm>
              <a:custGeom>
                <a:avLst/>
                <a:gdLst>
                  <a:gd name="T0" fmla="*/ 6744 w 11364"/>
                  <a:gd name="T1" fmla="*/ 3564 h 10067"/>
                  <a:gd name="T2" fmla="*/ 7042 w 11364"/>
                  <a:gd name="T3" fmla="*/ 3354 h 10067"/>
                  <a:gd name="T4" fmla="*/ 4139 w 11364"/>
                  <a:gd name="T5" fmla="*/ 214 h 10067"/>
                  <a:gd name="T6" fmla="*/ 5282 w 11364"/>
                  <a:gd name="T7" fmla="*/ 2733 h 10067"/>
                  <a:gd name="T8" fmla="*/ 10245 w 11364"/>
                  <a:gd name="T9" fmla="*/ 7311 h 10067"/>
                  <a:gd name="T10" fmla="*/ 7950 w 11364"/>
                  <a:gd name="T11" fmla="*/ 5369 h 10067"/>
                  <a:gd name="T12" fmla="*/ 7665 w 11364"/>
                  <a:gd name="T13" fmla="*/ 5315 h 10067"/>
                  <a:gd name="T14" fmla="*/ 7626 w 11364"/>
                  <a:gd name="T15" fmla="*/ 5310 h 10067"/>
                  <a:gd name="T16" fmla="*/ 7637 w 11364"/>
                  <a:gd name="T17" fmla="*/ 4576 h 10067"/>
                  <a:gd name="T18" fmla="*/ 7646 w 11364"/>
                  <a:gd name="T19" fmla="*/ 4476 h 10067"/>
                  <a:gd name="T20" fmla="*/ 7673 w 11364"/>
                  <a:gd name="T21" fmla="*/ 4234 h 10067"/>
                  <a:gd name="T22" fmla="*/ 8068 w 11364"/>
                  <a:gd name="T23" fmla="*/ 4029 h 10067"/>
                  <a:gd name="T24" fmla="*/ 11244 w 11364"/>
                  <a:gd name="T25" fmla="*/ 0 h 10067"/>
                  <a:gd name="T26" fmla="*/ 7516 w 11364"/>
                  <a:gd name="T27" fmla="*/ 2618 h 10067"/>
                  <a:gd name="T28" fmla="*/ 7233 w 11364"/>
                  <a:gd name="T29" fmla="*/ 4214 h 10067"/>
                  <a:gd name="T30" fmla="*/ 7224 w 11364"/>
                  <a:gd name="T31" fmla="*/ 5280 h 10067"/>
                  <a:gd name="T32" fmla="*/ 7082 w 11364"/>
                  <a:gd name="T33" fmla="*/ 5277 h 10067"/>
                  <a:gd name="T34" fmla="*/ 5070 w 11364"/>
                  <a:gd name="T35" fmla="*/ 6113 h 10067"/>
                  <a:gd name="T36" fmla="*/ 2454 w 11364"/>
                  <a:gd name="T37" fmla="*/ 5748 h 10067"/>
                  <a:gd name="T38" fmla="*/ 1979 w 11364"/>
                  <a:gd name="T39" fmla="*/ 5775 h 10067"/>
                  <a:gd name="T40" fmla="*/ 2514 w 11364"/>
                  <a:gd name="T41" fmla="*/ 6100 h 10067"/>
                  <a:gd name="T42" fmla="*/ 4816 w 11364"/>
                  <a:gd name="T43" fmla="*/ 6387 h 10067"/>
                  <a:gd name="T44" fmla="*/ 6145 w 11364"/>
                  <a:gd name="T45" fmla="*/ 6987 h 10067"/>
                  <a:gd name="T46" fmla="*/ 8301 w 11364"/>
                  <a:gd name="T47" fmla="*/ 7145 h 10067"/>
                  <a:gd name="T48" fmla="*/ 8758 w 11364"/>
                  <a:gd name="T49" fmla="*/ 7918 h 10067"/>
                  <a:gd name="T50" fmla="*/ 8461 w 11364"/>
                  <a:gd name="T51" fmla="*/ 8153 h 10067"/>
                  <a:gd name="T52" fmla="*/ 7099 w 11364"/>
                  <a:gd name="T53" fmla="*/ 8176 h 10067"/>
                  <a:gd name="T54" fmla="*/ 6945 w 11364"/>
                  <a:gd name="T55" fmla="*/ 8155 h 10067"/>
                  <a:gd name="T56" fmla="*/ 6316 w 11364"/>
                  <a:gd name="T57" fmla="*/ 8035 h 10067"/>
                  <a:gd name="T58" fmla="*/ 6020 w 11364"/>
                  <a:gd name="T59" fmla="*/ 7984 h 10067"/>
                  <a:gd name="T60" fmla="*/ 4994 w 11364"/>
                  <a:gd name="T61" fmla="*/ 8127 h 10067"/>
                  <a:gd name="T62" fmla="*/ 4903 w 11364"/>
                  <a:gd name="T63" fmla="*/ 8363 h 10067"/>
                  <a:gd name="T64" fmla="*/ 6233 w 11364"/>
                  <a:gd name="T65" fmla="*/ 8382 h 10067"/>
                  <a:gd name="T66" fmla="*/ 8735 w 11364"/>
                  <a:gd name="T67" fmla="*/ 8429 h 10067"/>
                  <a:gd name="T68" fmla="*/ 9563 w 11364"/>
                  <a:gd name="T69" fmla="*/ 8061 h 10067"/>
                  <a:gd name="T70" fmla="*/ 10404 w 11364"/>
                  <a:gd name="T71" fmla="*/ 7630 h 10067"/>
                  <a:gd name="T72" fmla="*/ 10935 w 11364"/>
                  <a:gd name="T73" fmla="*/ 7937 h 10067"/>
                  <a:gd name="T74" fmla="*/ 10018 w 11364"/>
                  <a:gd name="T75" fmla="*/ 8647 h 10067"/>
                  <a:gd name="T76" fmla="*/ 9086 w 11364"/>
                  <a:gd name="T77" fmla="*/ 9020 h 10067"/>
                  <a:gd name="T78" fmla="*/ 6547 w 11364"/>
                  <a:gd name="T79" fmla="*/ 9626 h 10067"/>
                  <a:gd name="T80" fmla="*/ 2148 w 11364"/>
                  <a:gd name="T81" fmla="*/ 8613 h 10067"/>
                  <a:gd name="T82" fmla="*/ 1979 w 11364"/>
                  <a:gd name="T83" fmla="*/ 8970 h 10067"/>
                  <a:gd name="T84" fmla="*/ 5139 w 11364"/>
                  <a:gd name="T85" fmla="*/ 9875 h 10067"/>
                  <a:gd name="T86" fmla="*/ 6619 w 11364"/>
                  <a:gd name="T87" fmla="*/ 9976 h 10067"/>
                  <a:gd name="T88" fmla="*/ 9235 w 11364"/>
                  <a:gd name="T89" fmla="*/ 9344 h 10067"/>
                  <a:gd name="T90" fmla="*/ 10176 w 11364"/>
                  <a:gd name="T91" fmla="*/ 8967 h 10067"/>
                  <a:gd name="T92" fmla="*/ 11194 w 11364"/>
                  <a:gd name="T93" fmla="*/ 8190 h 10067"/>
                  <a:gd name="T94" fmla="*/ 0 w 11364"/>
                  <a:gd name="T95" fmla="*/ 9309 h 10067"/>
                  <a:gd name="T96" fmla="*/ 1630 w 11364"/>
                  <a:gd name="T97" fmla="*/ 5351 h 10067"/>
                  <a:gd name="T98" fmla="*/ 0 w 11364"/>
                  <a:gd name="T99" fmla="*/ 9309 h 100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1364" h="10067">
                    <a:moveTo>
                      <a:pt x="5282" y="2733"/>
                    </a:moveTo>
                    <a:cubicBezTo>
                      <a:pt x="5856" y="3288"/>
                      <a:pt x="6390" y="3439"/>
                      <a:pt x="6744" y="3564"/>
                    </a:cubicBezTo>
                    <a:cubicBezTo>
                      <a:pt x="6525" y="2306"/>
                      <a:pt x="5827" y="1150"/>
                      <a:pt x="4589" y="609"/>
                    </a:cubicBezTo>
                    <a:cubicBezTo>
                      <a:pt x="5820" y="997"/>
                      <a:pt x="6676" y="2123"/>
                      <a:pt x="7042" y="3354"/>
                    </a:cubicBezTo>
                    <a:cubicBezTo>
                      <a:pt x="7112" y="2949"/>
                      <a:pt x="7216" y="2574"/>
                      <a:pt x="7358" y="2233"/>
                    </a:cubicBezTo>
                    <a:cubicBezTo>
                      <a:pt x="7006" y="1054"/>
                      <a:pt x="5918" y="214"/>
                      <a:pt x="4139" y="214"/>
                    </a:cubicBezTo>
                    <a:cubicBezTo>
                      <a:pt x="3920" y="214"/>
                      <a:pt x="3690" y="227"/>
                      <a:pt x="3450" y="253"/>
                    </a:cubicBezTo>
                    <a:cubicBezTo>
                      <a:pt x="4708" y="954"/>
                      <a:pt x="4033" y="1529"/>
                      <a:pt x="5282" y="2733"/>
                    </a:cubicBezTo>
                    <a:close/>
                    <a:moveTo>
                      <a:pt x="11174" y="7560"/>
                    </a:moveTo>
                    <a:cubicBezTo>
                      <a:pt x="11020" y="7299"/>
                      <a:pt x="10696" y="7094"/>
                      <a:pt x="10245" y="7311"/>
                    </a:cubicBezTo>
                    <a:lnTo>
                      <a:pt x="10145" y="7362"/>
                    </a:lnTo>
                    <a:cubicBezTo>
                      <a:pt x="9750" y="6361"/>
                      <a:pt x="9011" y="5620"/>
                      <a:pt x="7950" y="5369"/>
                    </a:cubicBezTo>
                    <a:cubicBezTo>
                      <a:pt x="7904" y="5358"/>
                      <a:pt x="7855" y="5350"/>
                      <a:pt x="7807" y="5341"/>
                    </a:cubicBezTo>
                    <a:cubicBezTo>
                      <a:pt x="7760" y="5332"/>
                      <a:pt x="7713" y="5323"/>
                      <a:pt x="7665" y="5315"/>
                    </a:cubicBezTo>
                    <a:lnTo>
                      <a:pt x="7665" y="5310"/>
                    </a:lnTo>
                    <a:lnTo>
                      <a:pt x="7626" y="5310"/>
                    </a:lnTo>
                    <a:cubicBezTo>
                      <a:pt x="7615" y="5095"/>
                      <a:pt x="7617" y="4877"/>
                      <a:pt x="7630" y="4658"/>
                    </a:cubicBezTo>
                    <a:cubicBezTo>
                      <a:pt x="7632" y="4631"/>
                      <a:pt x="7635" y="4603"/>
                      <a:pt x="7637" y="4576"/>
                    </a:cubicBezTo>
                    <a:cubicBezTo>
                      <a:pt x="7639" y="4548"/>
                      <a:pt x="7642" y="4521"/>
                      <a:pt x="7645" y="4493"/>
                    </a:cubicBezTo>
                    <a:cubicBezTo>
                      <a:pt x="7645" y="4487"/>
                      <a:pt x="7646" y="4482"/>
                      <a:pt x="7646" y="4476"/>
                    </a:cubicBezTo>
                    <a:cubicBezTo>
                      <a:pt x="7650" y="4440"/>
                      <a:pt x="7653" y="4405"/>
                      <a:pt x="7657" y="4369"/>
                    </a:cubicBezTo>
                    <a:cubicBezTo>
                      <a:pt x="7662" y="4324"/>
                      <a:pt x="7667" y="4279"/>
                      <a:pt x="7673" y="4234"/>
                    </a:cubicBezTo>
                    <a:cubicBezTo>
                      <a:pt x="7872" y="2771"/>
                      <a:pt x="8628" y="1348"/>
                      <a:pt x="9939" y="657"/>
                    </a:cubicBezTo>
                    <a:cubicBezTo>
                      <a:pt x="8766" y="1446"/>
                      <a:pt x="8183" y="2704"/>
                      <a:pt x="8068" y="4029"/>
                    </a:cubicBezTo>
                    <a:cubicBezTo>
                      <a:pt x="8412" y="3957"/>
                      <a:pt x="8947" y="3834"/>
                      <a:pt x="9555" y="3096"/>
                    </a:cubicBezTo>
                    <a:cubicBezTo>
                      <a:pt x="10606" y="1820"/>
                      <a:pt x="10037" y="1108"/>
                      <a:pt x="11244" y="0"/>
                    </a:cubicBezTo>
                    <a:cubicBezTo>
                      <a:pt x="9086" y="152"/>
                      <a:pt x="8041" y="1219"/>
                      <a:pt x="7569" y="2470"/>
                    </a:cubicBezTo>
                    <a:cubicBezTo>
                      <a:pt x="7551" y="2519"/>
                      <a:pt x="7533" y="2568"/>
                      <a:pt x="7516" y="2618"/>
                    </a:cubicBezTo>
                    <a:cubicBezTo>
                      <a:pt x="7499" y="2670"/>
                      <a:pt x="7482" y="2723"/>
                      <a:pt x="7466" y="2776"/>
                    </a:cubicBezTo>
                    <a:cubicBezTo>
                      <a:pt x="7324" y="3251"/>
                      <a:pt x="7255" y="3743"/>
                      <a:pt x="7233" y="4214"/>
                    </a:cubicBezTo>
                    <a:cubicBezTo>
                      <a:pt x="7227" y="4337"/>
                      <a:pt x="7224" y="4458"/>
                      <a:pt x="7224" y="4577"/>
                    </a:cubicBezTo>
                    <a:lnTo>
                      <a:pt x="7224" y="5280"/>
                    </a:lnTo>
                    <a:cubicBezTo>
                      <a:pt x="7190" y="5279"/>
                      <a:pt x="7156" y="5276"/>
                      <a:pt x="7121" y="5276"/>
                    </a:cubicBezTo>
                    <a:cubicBezTo>
                      <a:pt x="7107" y="5276"/>
                      <a:pt x="7095" y="5277"/>
                      <a:pt x="7082" y="5277"/>
                    </a:cubicBezTo>
                    <a:cubicBezTo>
                      <a:pt x="7033" y="5278"/>
                      <a:pt x="6986" y="5280"/>
                      <a:pt x="6939" y="5283"/>
                    </a:cubicBezTo>
                    <a:cubicBezTo>
                      <a:pt x="6217" y="5326"/>
                      <a:pt x="5581" y="5623"/>
                      <a:pt x="5070" y="6113"/>
                    </a:cubicBezTo>
                    <a:cubicBezTo>
                      <a:pt x="4740" y="5948"/>
                      <a:pt x="4382" y="5797"/>
                      <a:pt x="4006" y="5741"/>
                    </a:cubicBezTo>
                    <a:cubicBezTo>
                      <a:pt x="3196" y="5621"/>
                      <a:pt x="2767" y="5694"/>
                      <a:pt x="2454" y="5748"/>
                    </a:cubicBezTo>
                    <a:cubicBezTo>
                      <a:pt x="2277" y="5778"/>
                      <a:pt x="2149" y="5801"/>
                      <a:pt x="2006" y="5779"/>
                    </a:cubicBezTo>
                    <a:lnTo>
                      <a:pt x="1979" y="5775"/>
                    </a:lnTo>
                    <a:lnTo>
                      <a:pt x="1979" y="6135"/>
                    </a:lnTo>
                    <a:cubicBezTo>
                      <a:pt x="2167" y="6158"/>
                      <a:pt x="2329" y="6132"/>
                      <a:pt x="2514" y="6100"/>
                    </a:cubicBezTo>
                    <a:cubicBezTo>
                      <a:pt x="2820" y="6048"/>
                      <a:pt x="3200" y="5983"/>
                      <a:pt x="3953" y="6094"/>
                    </a:cubicBezTo>
                    <a:cubicBezTo>
                      <a:pt x="4247" y="6138"/>
                      <a:pt x="4539" y="6254"/>
                      <a:pt x="4816" y="6387"/>
                    </a:cubicBezTo>
                    <a:cubicBezTo>
                      <a:pt x="4964" y="6458"/>
                      <a:pt x="5108" y="6534"/>
                      <a:pt x="5246" y="6607"/>
                    </a:cubicBezTo>
                    <a:cubicBezTo>
                      <a:pt x="5584" y="6786"/>
                      <a:pt x="5875" y="6940"/>
                      <a:pt x="6145" y="6987"/>
                    </a:cubicBezTo>
                    <a:cubicBezTo>
                      <a:pt x="6374" y="7027"/>
                      <a:pt x="6617" y="7019"/>
                      <a:pt x="6873" y="7011"/>
                    </a:cubicBezTo>
                    <a:cubicBezTo>
                      <a:pt x="7279" y="6999"/>
                      <a:pt x="7740" y="6985"/>
                      <a:pt x="8301" y="7145"/>
                    </a:cubicBezTo>
                    <a:cubicBezTo>
                      <a:pt x="8622" y="7237"/>
                      <a:pt x="8803" y="7401"/>
                      <a:pt x="8825" y="7618"/>
                    </a:cubicBezTo>
                    <a:cubicBezTo>
                      <a:pt x="8835" y="7725"/>
                      <a:pt x="8806" y="7830"/>
                      <a:pt x="8758" y="7918"/>
                    </a:cubicBezTo>
                    <a:cubicBezTo>
                      <a:pt x="8709" y="8005"/>
                      <a:pt x="8640" y="8076"/>
                      <a:pt x="8571" y="8111"/>
                    </a:cubicBezTo>
                    <a:cubicBezTo>
                      <a:pt x="8540" y="8127"/>
                      <a:pt x="8502" y="8141"/>
                      <a:pt x="8461" y="8153"/>
                    </a:cubicBezTo>
                    <a:cubicBezTo>
                      <a:pt x="8371" y="8180"/>
                      <a:pt x="8259" y="8200"/>
                      <a:pt x="8128" y="8211"/>
                    </a:cubicBezTo>
                    <a:cubicBezTo>
                      <a:pt x="7846" y="8235"/>
                      <a:pt x="7483" y="8223"/>
                      <a:pt x="7099" y="8176"/>
                    </a:cubicBezTo>
                    <a:cubicBezTo>
                      <a:pt x="7067" y="8172"/>
                      <a:pt x="7035" y="8168"/>
                      <a:pt x="7003" y="8164"/>
                    </a:cubicBezTo>
                    <a:cubicBezTo>
                      <a:pt x="6984" y="8161"/>
                      <a:pt x="6965" y="8158"/>
                      <a:pt x="6945" y="8155"/>
                    </a:cubicBezTo>
                    <a:cubicBezTo>
                      <a:pt x="6790" y="8133"/>
                      <a:pt x="6633" y="8105"/>
                      <a:pt x="6477" y="8071"/>
                    </a:cubicBezTo>
                    <a:cubicBezTo>
                      <a:pt x="6423" y="8060"/>
                      <a:pt x="6370" y="8048"/>
                      <a:pt x="6316" y="8035"/>
                    </a:cubicBezTo>
                    <a:cubicBezTo>
                      <a:pt x="6270" y="8024"/>
                      <a:pt x="6226" y="8017"/>
                      <a:pt x="6181" y="8008"/>
                    </a:cubicBezTo>
                    <a:cubicBezTo>
                      <a:pt x="6126" y="7998"/>
                      <a:pt x="6072" y="7990"/>
                      <a:pt x="6020" y="7984"/>
                    </a:cubicBezTo>
                    <a:cubicBezTo>
                      <a:pt x="5990" y="7981"/>
                      <a:pt x="5960" y="7977"/>
                      <a:pt x="5931" y="7975"/>
                    </a:cubicBezTo>
                    <a:cubicBezTo>
                      <a:pt x="5524" y="7946"/>
                      <a:pt x="5206" y="8034"/>
                      <a:pt x="4994" y="8127"/>
                    </a:cubicBezTo>
                    <a:cubicBezTo>
                      <a:pt x="4960" y="8142"/>
                      <a:pt x="4936" y="8168"/>
                      <a:pt x="4918" y="8197"/>
                    </a:cubicBezTo>
                    <a:cubicBezTo>
                      <a:pt x="4888" y="8246"/>
                      <a:pt x="4878" y="8306"/>
                      <a:pt x="4903" y="8363"/>
                    </a:cubicBezTo>
                    <a:cubicBezTo>
                      <a:pt x="4943" y="8452"/>
                      <a:pt x="5048" y="8493"/>
                      <a:pt x="5138" y="8454"/>
                    </a:cubicBezTo>
                    <a:cubicBezTo>
                      <a:pt x="5465" y="8310"/>
                      <a:pt x="5833" y="8286"/>
                      <a:pt x="6233" y="8382"/>
                    </a:cubicBezTo>
                    <a:cubicBezTo>
                      <a:pt x="6732" y="8503"/>
                      <a:pt x="7317" y="8582"/>
                      <a:pt x="7817" y="8582"/>
                    </a:cubicBezTo>
                    <a:cubicBezTo>
                      <a:pt x="8196" y="8582"/>
                      <a:pt x="8527" y="8536"/>
                      <a:pt x="8735" y="8429"/>
                    </a:cubicBezTo>
                    <a:cubicBezTo>
                      <a:pt x="8828" y="8381"/>
                      <a:pt x="8910" y="8308"/>
                      <a:pt x="8978" y="8223"/>
                    </a:cubicBezTo>
                    <a:cubicBezTo>
                      <a:pt x="9279" y="8130"/>
                      <a:pt x="9558" y="8062"/>
                      <a:pt x="9563" y="8061"/>
                    </a:cubicBezTo>
                    <a:cubicBezTo>
                      <a:pt x="9577" y="8057"/>
                      <a:pt x="9590" y="8052"/>
                      <a:pt x="9603" y="8045"/>
                    </a:cubicBezTo>
                    <a:lnTo>
                      <a:pt x="10404" y="7630"/>
                    </a:lnTo>
                    <a:cubicBezTo>
                      <a:pt x="10627" y="7523"/>
                      <a:pt x="10731" y="7601"/>
                      <a:pt x="10766" y="7626"/>
                    </a:cubicBezTo>
                    <a:cubicBezTo>
                      <a:pt x="10877" y="7708"/>
                      <a:pt x="10927" y="7862"/>
                      <a:pt x="10935" y="7937"/>
                    </a:cubicBezTo>
                    <a:cubicBezTo>
                      <a:pt x="10867" y="7990"/>
                      <a:pt x="10749" y="8081"/>
                      <a:pt x="10619" y="8183"/>
                    </a:cubicBezTo>
                    <a:cubicBezTo>
                      <a:pt x="10396" y="8357"/>
                      <a:pt x="10058" y="8621"/>
                      <a:pt x="10018" y="8647"/>
                    </a:cubicBezTo>
                    <a:cubicBezTo>
                      <a:pt x="9989" y="8661"/>
                      <a:pt x="9867" y="8708"/>
                      <a:pt x="9720" y="8765"/>
                    </a:cubicBezTo>
                    <a:cubicBezTo>
                      <a:pt x="9489" y="8855"/>
                      <a:pt x="9201" y="8966"/>
                      <a:pt x="9086" y="9020"/>
                    </a:cubicBezTo>
                    <a:cubicBezTo>
                      <a:pt x="8816" y="9144"/>
                      <a:pt x="8300" y="9346"/>
                      <a:pt x="8196" y="9349"/>
                    </a:cubicBezTo>
                    <a:cubicBezTo>
                      <a:pt x="8024" y="9349"/>
                      <a:pt x="7346" y="9463"/>
                      <a:pt x="6547" y="9626"/>
                    </a:cubicBezTo>
                    <a:cubicBezTo>
                      <a:pt x="5919" y="9754"/>
                      <a:pt x="5696" y="9741"/>
                      <a:pt x="5291" y="9552"/>
                    </a:cubicBezTo>
                    <a:cubicBezTo>
                      <a:pt x="4872" y="9356"/>
                      <a:pt x="2441" y="8613"/>
                      <a:pt x="2148" y="8613"/>
                    </a:cubicBezTo>
                    <a:lnTo>
                      <a:pt x="1979" y="8613"/>
                    </a:lnTo>
                    <a:lnTo>
                      <a:pt x="1979" y="8970"/>
                    </a:lnTo>
                    <a:lnTo>
                      <a:pt x="2146" y="8970"/>
                    </a:lnTo>
                    <a:cubicBezTo>
                      <a:pt x="2378" y="8981"/>
                      <a:pt x="4685" y="9662"/>
                      <a:pt x="5139" y="9875"/>
                    </a:cubicBezTo>
                    <a:cubicBezTo>
                      <a:pt x="5427" y="10010"/>
                      <a:pt x="5655" y="10067"/>
                      <a:pt x="5917" y="10067"/>
                    </a:cubicBezTo>
                    <a:cubicBezTo>
                      <a:pt x="6117" y="10067"/>
                      <a:pt x="6337" y="10034"/>
                      <a:pt x="6619" y="9976"/>
                    </a:cubicBezTo>
                    <a:cubicBezTo>
                      <a:pt x="7530" y="9790"/>
                      <a:pt x="8089" y="9706"/>
                      <a:pt x="8196" y="9706"/>
                    </a:cubicBezTo>
                    <a:cubicBezTo>
                      <a:pt x="8437" y="9706"/>
                      <a:pt x="9228" y="9348"/>
                      <a:pt x="9235" y="9344"/>
                    </a:cubicBezTo>
                    <a:cubicBezTo>
                      <a:pt x="9341" y="9296"/>
                      <a:pt x="9635" y="9181"/>
                      <a:pt x="9849" y="9098"/>
                    </a:cubicBezTo>
                    <a:cubicBezTo>
                      <a:pt x="10069" y="9013"/>
                      <a:pt x="10148" y="8982"/>
                      <a:pt x="10176" y="8967"/>
                    </a:cubicBezTo>
                    <a:cubicBezTo>
                      <a:pt x="10216" y="8947"/>
                      <a:pt x="10303" y="8883"/>
                      <a:pt x="10839" y="8464"/>
                    </a:cubicBezTo>
                    <a:cubicBezTo>
                      <a:pt x="11008" y="8332"/>
                      <a:pt x="11155" y="8217"/>
                      <a:pt x="11194" y="8190"/>
                    </a:cubicBezTo>
                    <a:cubicBezTo>
                      <a:pt x="11364" y="8068"/>
                      <a:pt x="11285" y="7748"/>
                      <a:pt x="11174" y="7560"/>
                    </a:cubicBezTo>
                    <a:close/>
                    <a:moveTo>
                      <a:pt x="0" y="9309"/>
                    </a:moveTo>
                    <a:lnTo>
                      <a:pt x="1630" y="9309"/>
                    </a:lnTo>
                    <a:lnTo>
                      <a:pt x="1630" y="5351"/>
                    </a:lnTo>
                    <a:lnTo>
                      <a:pt x="0" y="5351"/>
                    </a:lnTo>
                    <a:lnTo>
                      <a:pt x="0" y="9309"/>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nvGrpSpPr>
              <p:cNvPr id="169" name="Problem_Based_Learning" descr="{&quot;Key&quot;:&quot;POWER_USER_SHAPE_ICON&quot;,&quot;Value&quot;:&quot;POWER_USER_SHAPE_ICON_STYLE_1&quot;}">
                <a:extLst>
                  <a:ext uri="{FF2B5EF4-FFF2-40B4-BE49-F238E27FC236}">
                    <a16:creationId xmlns:a16="http://schemas.microsoft.com/office/drawing/2014/main" id="{2A45F0C0-BC9A-4B23-BD9B-AF9548AF038C}"/>
                  </a:ext>
                </a:extLst>
              </p:cNvPr>
              <p:cNvGrpSpPr>
                <a:grpSpLocks noChangeAspect="1"/>
              </p:cNvGrpSpPr>
              <p:nvPr>
                <p:custDataLst>
                  <p:tags r:id="rId44"/>
                </p:custDataLst>
              </p:nvPr>
            </p:nvGrpSpPr>
            <p:grpSpPr bwMode="auto">
              <a:xfrm>
                <a:off x="7183815" y="778521"/>
                <a:ext cx="172311" cy="185669"/>
                <a:chOff x="7" y="8"/>
                <a:chExt cx="424" cy="471"/>
              </a:xfrm>
              <a:solidFill>
                <a:schemeClr val="bg1"/>
              </a:solidFill>
            </p:grpSpPr>
            <p:sp>
              <p:nvSpPr>
                <p:cNvPr id="170" name="Problem_Based_Learning">
                  <a:extLst>
                    <a:ext uri="{FF2B5EF4-FFF2-40B4-BE49-F238E27FC236}">
                      <a16:creationId xmlns:a16="http://schemas.microsoft.com/office/drawing/2014/main" id="{C75BE8A5-E555-4AA3-B6B5-0792C5F22745}"/>
                    </a:ext>
                  </a:extLst>
                </p:cNvPr>
                <p:cNvSpPr>
                  <a:spLocks/>
                </p:cNvSpPr>
                <p:nvPr>
                  <p:custDataLst>
                    <p:tags r:id="rId45"/>
                  </p:custDataLst>
                </p:nvPr>
              </p:nvSpPr>
              <p:spPr bwMode="auto">
                <a:xfrm>
                  <a:off x="214" y="8"/>
                  <a:ext cx="20" cy="69"/>
                </a:xfrm>
                <a:custGeom>
                  <a:avLst/>
                  <a:gdLst>
                    <a:gd name="T0" fmla="*/ 26 w 52"/>
                    <a:gd name="T1" fmla="*/ 183 h 183"/>
                    <a:gd name="T2" fmla="*/ 0 w 52"/>
                    <a:gd name="T3" fmla="*/ 156 h 183"/>
                    <a:gd name="T4" fmla="*/ 0 w 52"/>
                    <a:gd name="T5" fmla="*/ 26 h 183"/>
                    <a:gd name="T6" fmla="*/ 26 w 52"/>
                    <a:gd name="T7" fmla="*/ 0 h 183"/>
                    <a:gd name="T8" fmla="*/ 52 w 52"/>
                    <a:gd name="T9" fmla="*/ 26 h 183"/>
                    <a:gd name="T10" fmla="*/ 52 w 52"/>
                    <a:gd name="T11" fmla="*/ 156 h 183"/>
                    <a:gd name="T12" fmla="*/ 26 w 52"/>
                    <a:gd name="T13" fmla="*/ 183 h 183"/>
                  </a:gdLst>
                  <a:ahLst/>
                  <a:cxnLst>
                    <a:cxn ang="0">
                      <a:pos x="T0" y="T1"/>
                    </a:cxn>
                    <a:cxn ang="0">
                      <a:pos x="T2" y="T3"/>
                    </a:cxn>
                    <a:cxn ang="0">
                      <a:pos x="T4" y="T5"/>
                    </a:cxn>
                    <a:cxn ang="0">
                      <a:pos x="T6" y="T7"/>
                    </a:cxn>
                    <a:cxn ang="0">
                      <a:pos x="T8" y="T9"/>
                    </a:cxn>
                    <a:cxn ang="0">
                      <a:pos x="T10" y="T11"/>
                    </a:cxn>
                    <a:cxn ang="0">
                      <a:pos x="T12" y="T13"/>
                    </a:cxn>
                  </a:cxnLst>
                  <a:rect l="0" t="0" r="r" b="b"/>
                  <a:pathLst>
                    <a:path w="52" h="183">
                      <a:moveTo>
                        <a:pt x="26" y="183"/>
                      </a:moveTo>
                      <a:cubicBezTo>
                        <a:pt x="11" y="183"/>
                        <a:pt x="0" y="171"/>
                        <a:pt x="0" y="156"/>
                      </a:cubicBezTo>
                      <a:lnTo>
                        <a:pt x="0" y="26"/>
                      </a:lnTo>
                      <a:cubicBezTo>
                        <a:pt x="0" y="12"/>
                        <a:pt x="11" y="0"/>
                        <a:pt x="26" y="0"/>
                      </a:cubicBezTo>
                      <a:cubicBezTo>
                        <a:pt x="40" y="0"/>
                        <a:pt x="52" y="12"/>
                        <a:pt x="52" y="26"/>
                      </a:cubicBezTo>
                      <a:lnTo>
                        <a:pt x="52" y="156"/>
                      </a:lnTo>
                      <a:cubicBezTo>
                        <a:pt x="52" y="171"/>
                        <a:pt x="40" y="183"/>
                        <a:pt x="26" y="183"/>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noProof="0">
                    <a:ln>
                      <a:noFill/>
                    </a:ln>
                    <a:solidFill>
                      <a:prstClr val="black"/>
                    </a:solidFill>
                    <a:effectLst/>
                    <a:uLnTx/>
                    <a:uFillTx/>
                    <a:latin typeface="Calibri" panose="020F0502020204030204"/>
                    <a:ea typeface="+mn-ea"/>
                    <a:cs typeface="+mn-cs"/>
                  </a:endParaRPr>
                </a:p>
              </p:txBody>
            </p:sp>
            <p:sp>
              <p:nvSpPr>
                <p:cNvPr id="171" name="Problem_Based_Learning">
                  <a:extLst>
                    <a:ext uri="{FF2B5EF4-FFF2-40B4-BE49-F238E27FC236}">
                      <a16:creationId xmlns:a16="http://schemas.microsoft.com/office/drawing/2014/main" id="{5152155E-D582-431F-B83E-70C84C8081CE}"/>
                    </a:ext>
                  </a:extLst>
                </p:cNvPr>
                <p:cNvSpPr>
                  <a:spLocks/>
                </p:cNvSpPr>
                <p:nvPr>
                  <p:custDataLst>
                    <p:tags r:id="rId46"/>
                  </p:custDataLst>
                </p:nvPr>
              </p:nvSpPr>
              <p:spPr bwMode="auto">
                <a:xfrm>
                  <a:off x="301" y="46"/>
                  <a:ext cx="51" cy="60"/>
                </a:xfrm>
                <a:custGeom>
                  <a:avLst/>
                  <a:gdLst>
                    <a:gd name="T0" fmla="*/ 29 w 137"/>
                    <a:gd name="T1" fmla="*/ 160 h 160"/>
                    <a:gd name="T2" fmla="*/ 14 w 137"/>
                    <a:gd name="T3" fmla="*/ 155 h 160"/>
                    <a:gd name="T4" fmla="*/ 9 w 137"/>
                    <a:gd name="T5" fmla="*/ 118 h 160"/>
                    <a:gd name="T6" fmla="*/ 87 w 137"/>
                    <a:gd name="T7" fmla="*/ 14 h 160"/>
                    <a:gd name="T8" fmla="*/ 123 w 137"/>
                    <a:gd name="T9" fmla="*/ 9 h 160"/>
                    <a:gd name="T10" fmla="*/ 128 w 137"/>
                    <a:gd name="T11" fmla="*/ 45 h 160"/>
                    <a:gd name="T12" fmla="*/ 50 w 137"/>
                    <a:gd name="T13" fmla="*/ 149 h 160"/>
                    <a:gd name="T14" fmla="*/ 29 w 137"/>
                    <a:gd name="T15" fmla="*/ 160 h 16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7" h="160">
                      <a:moveTo>
                        <a:pt x="29" y="160"/>
                      </a:moveTo>
                      <a:cubicBezTo>
                        <a:pt x="24" y="160"/>
                        <a:pt x="18" y="158"/>
                        <a:pt x="14" y="155"/>
                      </a:cubicBezTo>
                      <a:cubicBezTo>
                        <a:pt x="2" y="146"/>
                        <a:pt x="0" y="130"/>
                        <a:pt x="9" y="118"/>
                      </a:cubicBezTo>
                      <a:lnTo>
                        <a:pt x="87" y="14"/>
                      </a:lnTo>
                      <a:cubicBezTo>
                        <a:pt x="95" y="2"/>
                        <a:pt x="112" y="0"/>
                        <a:pt x="123" y="9"/>
                      </a:cubicBezTo>
                      <a:cubicBezTo>
                        <a:pt x="135" y="17"/>
                        <a:pt x="137" y="34"/>
                        <a:pt x="128" y="45"/>
                      </a:cubicBezTo>
                      <a:lnTo>
                        <a:pt x="50" y="149"/>
                      </a:lnTo>
                      <a:cubicBezTo>
                        <a:pt x="45" y="156"/>
                        <a:pt x="37" y="160"/>
                        <a:pt x="29" y="16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noProof="0">
                    <a:ln>
                      <a:noFill/>
                    </a:ln>
                    <a:solidFill>
                      <a:prstClr val="black"/>
                    </a:solidFill>
                    <a:effectLst/>
                    <a:uLnTx/>
                    <a:uFillTx/>
                    <a:latin typeface="Calibri" panose="020F0502020204030204"/>
                    <a:ea typeface="+mn-ea"/>
                    <a:cs typeface="+mn-cs"/>
                  </a:endParaRPr>
                </a:p>
              </p:txBody>
            </p:sp>
            <p:sp>
              <p:nvSpPr>
                <p:cNvPr id="172" name="Problem_Based_Learning">
                  <a:extLst>
                    <a:ext uri="{FF2B5EF4-FFF2-40B4-BE49-F238E27FC236}">
                      <a16:creationId xmlns:a16="http://schemas.microsoft.com/office/drawing/2014/main" id="{F2CCD56A-CAD2-4BA2-ABC0-1A5C81FE8E62}"/>
                    </a:ext>
                  </a:extLst>
                </p:cNvPr>
                <p:cNvSpPr>
                  <a:spLocks/>
                </p:cNvSpPr>
                <p:nvPr>
                  <p:custDataLst>
                    <p:tags r:id="rId47"/>
                  </p:custDataLst>
                </p:nvPr>
              </p:nvSpPr>
              <p:spPr bwMode="auto">
                <a:xfrm>
                  <a:off x="85" y="46"/>
                  <a:ext cx="52" cy="60"/>
                </a:xfrm>
                <a:custGeom>
                  <a:avLst/>
                  <a:gdLst>
                    <a:gd name="T0" fmla="*/ 108 w 137"/>
                    <a:gd name="T1" fmla="*/ 160 h 160"/>
                    <a:gd name="T2" fmla="*/ 87 w 137"/>
                    <a:gd name="T3" fmla="*/ 149 h 160"/>
                    <a:gd name="T4" fmla="*/ 9 w 137"/>
                    <a:gd name="T5" fmla="*/ 45 h 160"/>
                    <a:gd name="T6" fmla="*/ 14 w 137"/>
                    <a:gd name="T7" fmla="*/ 9 h 160"/>
                    <a:gd name="T8" fmla="*/ 51 w 137"/>
                    <a:gd name="T9" fmla="*/ 14 h 160"/>
                    <a:gd name="T10" fmla="*/ 129 w 137"/>
                    <a:gd name="T11" fmla="*/ 118 h 160"/>
                    <a:gd name="T12" fmla="*/ 124 w 137"/>
                    <a:gd name="T13" fmla="*/ 155 h 160"/>
                    <a:gd name="T14" fmla="*/ 108 w 137"/>
                    <a:gd name="T15" fmla="*/ 160 h 16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7" h="160">
                      <a:moveTo>
                        <a:pt x="108" y="160"/>
                      </a:moveTo>
                      <a:cubicBezTo>
                        <a:pt x="100" y="160"/>
                        <a:pt x="92" y="156"/>
                        <a:pt x="87" y="149"/>
                      </a:cubicBezTo>
                      <a:lnTo>
                        <a:pt x="9" y="45"/>
                      </a:lnTo>
                      <a:cubicBezTo>
                        <a:pt x="0" y="34"/>
                        <a:pt x="3" y="17"/>
                        <a:pt x="14" y="9"/>
                      </a:cubicBezTo>
                      <a:cubicBezTo>
                        <a:pt x="26" y="0"/>
                        <a:pt x="42" y="2"/>
                        <a:pt x="51" y="14"/>
                      </a:cubicBezTo>
                      <a:lnTo>
                        <a:pt x="129" y="118"/>
                      </a:lnTo>
                      <a:cubicBezTo>
                        <a:pt x="137" y="130"/>
                        <a:pt x="135" y="146"/>
                        <a:pt x="124" y="155"/>
                      </a:cubicBezTo>
                      <a:cubicBezTo>
                        <a:pt x="119" y="158"/>
                        <a:pt x="113" y="160"/>
                        <a:pt x="108" y="16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noProof="0">
                    <a:ln>
                      <a:noFill/>
                    </a:ln>
                    <a:solidFill>
                      <a:prstClr val="black"/>
                    </a:solidFill>
                    <a:effectLst/>
                    <a:uLnTx/>
                    <a:uFillTx/>
                    <a:latin typeface="Calibri" panose="020F0502020204030204"/>
                    <a:ea typeface="+mn-ea"/>
                    <a:cs typeface="+mn-cs"/>
                  </a:endParaRPr>
                </a:p>
              </p:txBody>
            </p:sp>
            <p:sp>
              <p:nvSpPr>
                <p:cNvPr id="173" name="Problem_Based_Learning">
                  <a:extLst>
                    <a:ext uri="{FF2B5EF4-FFF2-40B4-BE49-F238E27FC236}">
                      <a16:creationId xmlns:a16="http://schemas.microsoft.com/office/drawing/2014/main" id="{21915E0E-E709-4521-BE4E-4802558E6910}"/>
                    </a:ext>
                  </a:extLst>
                </p:cNvPr>
                <p:cNvSpPr>
                  <a:spLocks/>
                </p:cNvSpPr>
                <p:nvPr>
                  <p:custDataLst>
                    <p:tags r:id="rId48"/>
                  </p:custDataLst>
                </p:nvPr>
              </p:nvSpPr>
              <p:spPr bwMode="auto">
                <a:xfrm>
                  <a:off x="7" y="134"/>
                  <a:ext cx="61" cy="41"/>
                </a:xfrm>
                <a:custGeom>
                  <a:avLst/>
                  <a:gdLst>
                    <a:gd name="T0" fmla="*/ 134 w 164"/>
                    <a:gd name="T1" fmla="*/ 108 h 108"/>
                    <a:gd name="T2" fmla="*/ 123 w 164"/>
                    <a:gd name="T3" fmla="*/ 106 h 108"/>
                    <a:gd name="T4" fmla="*/ 18 w 164"/>
                    <a:gd name="T5" fmla="*/ 53 h 108"/>
                    <a:gd name="T6" fmla="*/ 7 w 164"/>
                    <a:gd name="T7" fmla="*/ 18 h 108"/>
                    <a:gd name="T8" fmla="*/ 42 w 164"/>
                    <a:gd name="T9" fmla="*/ 7 h 108"/>
                    <a:gd name="T10" fmla="*/ 146 w 164"/>
                    <a:gd name="T11" fmla="*/ 59 h 108"/>
                    <a:gd name="T12" fmla="*/ 158 w 164"/>
                    <a:gd name="T13" fmla="*/ 94 h 108"/>
                    <a:gd name="T14" fmla="*/ 134 w 164"/>
                    <a:gd name="T15" fmla="*/ 108 h 1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4" h="108">
                      <a:moveTo>
                        <a:pt x="134" y="108"/>
                      </a:moveTo>
                      <a:cubicBezTo>
                        <a:pt x="130" y="108"/>
                        <a:pt x="126" y="107"/>
                        <a:pt x="123" y="106"/>
                      </a:cubicBezTo>
                      <a:lnTo>
                        <a:pt x="18" y="53"/>
                      </a:lnTo>
                      <a:cubicBezTo>
                        <a:pt x="6" y="47"/>
                        <a:pt x="0" y="31"/>
                        <a:pt x="7" y="18"/>
                      </a:cubicBezTo>
                      <a:cubicBezTo>
                        <a:pt x="13" y="6"/>
                        <a:pt x="29" y="0"/>
                        <a:pt x="42" y="7"/>
                      </a:cubicBezTo>
                      <a:lnTo>
                        <a:pt x="146" y="59"/>
                      </a:lnTo>
                      <a:cubicBezTo>
                        <a:pt x="159" y="65"/>
                        <a:pt x="164" y="81"/>
                        <a:pt x="158" y="94"/>
                      </a:cubicBezTo>
                      <a:cubicBezTo>
                        <a:pt x="153" y="103"/>
                        <a:pt x="144" y="108"/>
                        <a:pt x="134" y="108"/>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noProof="0">
                    <a:ln>
                      <a:noFill/>
                    </a:ln>
                    <a:solidFill>
                      <a:prstClr val="black"/>
                    </a:solidFill>
                    <a:effectLst/>
                    <a:uLnTx/>
                    <a:uFillTx/>
                    <a:latin typeface="Calibri" panose="020F0502020204030204"/>
                    <a:ea typeface="+mn-ea"/>
                    <a:cs typeface="+mn-cs"/>
                  </a:endParaRPr>
                </a:p>
              </p:txBody>
            </p:sp>
            <p:sp>
              <p:nvSpPr>
                <p:cNvPr id="174" name="Problem_Based_Learning">
                  <a:extLst>
                    <a:ext uri="{FF2B5EF4-FFF2-40B4-BE49-F238E27FC236}">
                      <a16:creationId xmlns:a16="http://schemas.microsoft.com/office/drawing/2014/main" id="{DD2B4E8C-23D6-49A8-AD78-FD03FB740535}"/>
                    </a:ext>
                  </a:extLst>
                </p:cNvPr>
                <p:cNvSpPr>
                  <a:spLocks/>
                </p:cNvSpPr>
                <p:nvPr>
                  <p:custDataLst>
                    <p:tags r:id="rId49"/>
                  </p:custDataLst>
                </p:nvPr>
              </p:nvSpPr>
              <p:spPr bwMode="auto">
                <a:xfrm>
                  <a:off x="369" y="134"/>
                  <a:ext cx="62" cy="41"/>
                </a:xfrm>
                <a:custGeom>
                  <a:avLst/>
                  <a:gdLst>
                    <a:gd name="T0" fmla="*/ 30 w 164"/>
                    <a:gd name="T1" fmla="*/ 108 h 108"/>
                    <a:gd name="T2" fmla="*/ 7 w 164"/>
                    <a:gd name="T3" fmla="*/ 94 h 108"/>
                    <a:gd name="T4" fmla="*/ 18 w 164"/>
                    <a:gd name="T5" fmla="*/ 59 h 108"/>
                    <a:gd name="T6" fmla="*/ 123 w 164"/>
                    <a:gd name="T7" fmla="*/ 7 h 108"/>
                    <a:gd name="T8" fmla="*/ 158 w 164"/>
                    <a:gd name="T9" fmla="*/ 18 h 108"/>
                    <a:gd name="T10" fmla="*/ 146 w 164"/>
                    <a:gd name="T11" fmla="*/ 53 h 108"/>
                    <a:gd name="T12" fmla="*/ 42 w 164"/>
                    <a:gd name="T13" fmla="*/ 106 h 108"/>
                    <a:gd name="T14" fmla="*/ 30 w 164"/>
                    <a:gd name="T15" fmla="*/ 108 h 1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4" h="108">
                      <a:moveTo>
                        <a:pt x="30" y="108"/>
                      </a:moveTo>
                      <a:cubicBezTo>
                        <a:pt x="20" y="108"/>
                        <a:pt x="11" y="103"/>
                        <a:pt x="7" y="94"/>
                      </a:cubicBezTo>
                      <a:cubicBezTo>
                        <a:pt x="0" y="81"/>
                        <a:pt x="5" y="65"/>
                        <a:pt x="18" y="59"/>
                      </a:cubicBezTo>
                      <a:lnTo>
                        <a:pt x="123" y="7"/>
                      </a:lnTo>
                      <a:cubicBezTo>
                        <a:pt x="135" y="0"/>
                        <a:pt x="151" y="6"/>
                        <a:pt x="158" y="18"/>
                      </a:cubicBezTo>
                      <a:cubicBezTo>
                        <a:pt x="164" y="31"/>
                        <a:pt x="159" y="47"/>
                        <a:pt x="146" y="53"/>
                      </a:cubicBezTo>
                      <a:lnTo>
                        <a:pt x="42" y="106"/>
                      </a:lnTo>
                      <a:cubicBezTo>
                        <a:pt x="38" y="107"/>
                        <a:pt x="34" y="108"/>
                        <a:pt x="30" y="108"/>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noProof="0">
                    <a:ln>
                      <a:noFill/>
                    </a:ln>
                    <a:solidFill>
                      <a:prstClr val="black"/>
                    </a:solidFill>
                    <a:effectLst/>
                    <a:uLnTx/>
                    <a:uFillTx/>
                    <a:latin typeface="Calibri" panose="020F0502020204030204"/>
                    <a:ea typeface="+mn-ea"/>
                    <a:cs typeface="+mn-cs"/>
                  </a:endParaRPr>
                </a:p>
              </p:txBody>
            </p:sp>
            <p:sp>
              <p:nvSpPr>
                <p:cNvPr id="175" name="Problem_Based_Learning">
                  <a:extLst>
                    <a:ext uri="{FF2B5EF4-FFF2-40B4-BE49-F238E27FC236}">
                      <a16:creationId xmlns:a16="http://schemas.microsoft.com/office/drawing/2014/main" id="{EE8221CC-7A4E-46B2-9351-28DA2981653B}"/>
                    </a:ext>
                  </a:extLst>
                </p:cNvPr>
                <p:cNvSpPr>
                  <a:spLocks noEditPoints="1"/>
                </p:cNvSpPr>
                <p:nvPr>
                  <p:custDataLst>
                    <p:tags r:id="rId50"/>
                  </p:custDataLst>
                </p:nvPr>
              </p:nvSpPr>
              <p:spPr bwMode="auto">
                <a:xfrm>
                  <a:off x="87" y="106"/>
                  <a:ext cx="303" cy="373"/>
                </a:xfrm>
                <a:custGeom>
                  <a:avLst/>
                  <a:gdLst>
                    <a:gd name="T0" fmla="*/ 730 w 808"/>
                    <a:gd name="T1" fmla="*/ 391 h 989"/>
                    <a:gd name="T2" fmla="*/ 730 w 808"/>
                    <a:gd name="T3" fmla="*/ 365 h 989"/>
                    <a:gd name="T4" fmla="*/ 365 w 808"/>
                    <a:gd name="T5" fmla="*/ 0 h 989"/>
                    <a:gd name="T6" fmla="*/ 0 w 808"/>
                    <a:gd name="T7" fmla="*/ 365 h 989"/>
                    <a:gd name="T8" fmla="*/ 78 w 808"/>
                    <a:gd name="T9" fmla="*/ 590 h 989"/>
                    <a:gd name="T10" fmla="*/ 78 w 808"/>
                    <a:gd name="T11" fmla="*/ 989 h 989"/>
                    <a:gd name="T12" fmla="*/ 547 w 808"/>
                    <a:gd name="T13" fmla="*/ 989 h 989"/>
                    <a:gd name="T14" fmla="*/ 547 w 808"/>
                    <a:gd name="T15" fmla="*/ 860 h 989"/>
                    <a:gd name="T16" fmla="*/ 704 w 808"/>
                    <a:gd name="T17" fmla="*/ 704 h 989"/>
                    <a:gd name="T18" fmla="*/ 704 w 808"/>
                    <a:gd name="T19" fmla="*/ 626 h 989"/>
                    <a:gd name="T20" fmla="*/ 782 w 808"/>
                    <a:gd name="T21" fmla="*/ 626 h 989"/>
                    <a:gd name="T22" fmla="*/ 808 w 808"/>
                    <a:gd name="T23" fmla="*/ 600 h 989"/>
                    <a:gd name="T24" fmla="*/ 730 w 808"/>
                    <a:gd name="T25" fmla="*/ 391 h 989"/>
                    <a:gd name="T26" fmla="*/ 587 w 808"/>
                    <a:gd name="T27" fmla="*/ 387 h 989"/>
                    <a:gd name="T28" fmla="*/ 547 w 808"/>
                    <a:gd name="T29" fmla="*/ 365 h 989"/>
                    <a:gd name="T30" fmla="*/ 522 w 808"/>
                    <a:gd name="T31" fmla="*/ 385 h 989"/>
                    <a:gd name="T32" fmla="*/ 520 w 808"/>
                    <a:gd name="T33" fmla="*/ 474 h 989"/>
                    <a:gd name="T34" fmla="*/ 410 w 808"/>
                    <a:gd name="T35" fmla="*/ 473 h 989"/>
                    <a:gd name="T36" fmla="*/ 390 w 808"/>
                    <a:gd name="T37" fmla="*/ 449 h 989"/>
                    <a:gd name="T38" fmla="*/ 412 w 808"/>
                    <a:gd name="T39" fmla="*/ 409 h 989"/>
                    <a:gd name="T40" fmla="*/ 368 w 808"/>
                    <a:gd name="T41" fmla="*/ 364 h 989"/>
                    <a:gd name="T42" fmla="*/ 325 w 808"/>
                    <a:gd name="T43" fmla="*/ 409 h 989"/>
                    <a:gd name="T44" fmla="*/ 347 w 808"/>
                    <a:gd name="T45" fmla="*/ 449 h 989"/>
                    <a:gd name="T46" fmla="*/ 326 w 808"/>
                    <a:gd name="T47" fmla="*/ 473 h 989"/>
                    <a:gd name="T48" fmla="*/ 214 w 808"/>
                    <a:gd name="T49" fmla="*/ 474 h 989"/>
                    <a:gd name="T50" fmla="*/ 213 w 808"/>
                    <a:gd name="T51" fmla="*/ 385 h 989"/>
                    <a:gd name="T52" fmla="*/ 188 w 808"/>
                    <a:gd name="T53" fmla="*/ 365 h 989"/>
                    <a:gd name="T54" fmla="*/ 148 w 808"/>
                    <a:gd name="T55" fmla="*/ 387 h 989"/>
                    <a:gd name="T56" fmla="*/ 104 w 808"/>
                    <a:gd name="T57" fmla="*/ 344 h 989"/>
                    <a:gd name="T58" fmla="*/ 148 w 808"/>
                    <a:gd name="T59" fmla="*/ 300 h 989"/>
                    <a:gd name="T60" fmla="*/ 188 w 808"/>
                    <a:gd name="T61" fmla="*/ 322 h 989"/>
                    <a:gd name="T62" fmla="*/ 213 w 808"/>
                    <a:gd name="T63" fmla="*/ 302 h 989"/>
                    <a:gd name="T64" fmla="*/ 216 w 808"/>
                    <a:gd name="T65" fmla="*/ 213 h 989"/>
                    <a:gd name="T66" fmla="*/ 326 w 808"/>
                    <a:gd name="T67" fmla="*/ 203 h 989"/>
                    <a:gd name="T68" fmla="*/ 347 w 808"/>
                    <a:gd name="T69" fmla="*/ 227 h 989"/>
                    <a:gd name="T70" fmla="*/ 325 w 808"/>
                    <a:gd name="T71" fmla="*/ 267 h 989"/>
                    <a:gd name="T72" fmla="*/ 368 w 808"/>
                    <a:gd name="T73" fmla="*/ 312 h 989"/>
                    <a:gd name="T74" fmla="*/ 412 w 808"/>
                    <a:gd name="T75" fmla="*/ 267 h 989"/>
                    <a:gd name="T76" fmla="*/ 390 w 808"/>
                    <a:gd name="T77" fmla="*/ 227 h 989"/>
                    <a:gd name="T78" fmla="*/ 410 w 808"/>
                    <a:gd name="T79" fmla="*/ 203 h 989"/>
                    <a:gd name="T80" fmla="*/ 521 w 808"/>
                    <a:gd name="T81" fmla="*/ 213 h 989"/>
                    <a:gd name="T82" fmla="*/ 522 w 808"/>
                    <a:gd name="T83" fmla="*/ 302 h 989"/>
                    <a:gd name="T84" fmla="*/ 547 w 808"/>
                    <a:gd name="T85" fmla="*/ 322 h 989"/>
                    <a:gd name="T86" fmla="*/ 587 w 808"/>
                    <a:gd name="T87" fmla="*/ 300 h 989"/>
                    <a:gd name="T88" fmla="*/ 631 w 808"/>
                    <a:gd name="T89" fmla="*/ 344 h 989"/>
                    <a:gd name="T90" fmla="*/ 587 w 808"/>
                    <a:gd name="T91" fmla="*/ 387 h 9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8" h="989">
                      <a:moveTo>
                        <a:pt x="730" y="391"/>
                      </a:moveTo>
                      <a:lnTo>
                        <a:pt x="730" y="365"/>
                      </a:lnTo>
                      <a:cubicBezTo>
                        <a:pt x="730" y="163"/>
                        <a:pt x="566" y="0"/>
                        <a:pt x="365" y="0"/>
                      </a:cubicBezTo>
                      <a:cubicBezTo>
                        <a:pt x="163" y="0"/>
                        <a:pt x="0" y="163"/>
                        <a:pt x="0" y="365"/>
                      </a:cubicBezTo>
                      <a:cubicBezTo>
                        <a:pt x="0" y="450"/>
                        <a:pt x="29" y="528"/>
                        <a:pt x="78" y="590"/>
                      </a:cubicBezTo>
                      <a:lnTo>
                        <a:pt x="78" y="989"/>
                      </a:lnTo>
                      <a:lnTo>
                        <a:pt x="547" y="989"/>
                      </a:lnTo>
                      <a:lnTo>
                        <a:pt x="547" y="860"/>
                      </a:lnTo>
                      <a:cubicBezTo>
                        <a:pt x="634" y="860"/>
                        <a:pt x="704" y="790"/>
                        <a:pt x="704" y="704"/>
                      </a:cubicBezTo>
                      <a:lnTo>
                        <a:pt x="704" y="626"/>
                      </a:lnTo>
                      <a:lnTo>
                        <a:pt x="782" y="626"/>
                      </a:lnTo>
                      <a:cubicBezTo>
                        <a:pt x="796" y="626"/>
                        <a:pt x="808" y="614"/>
                        <a:pt x="808" y="600"/>
                      </a:cubicBezTo>
                      <a:cubicBezTo>
                        <a:pt x="808" y="593"/>
                        <a:pt x="730" y="391"/>
                        <a:pt x="730" y="391"/>
                      </a:cubicBezTo>
                      <a:close/>
                      <a:moveTo>
                        <a:pt x="587" y="387"/>
                      </a:moveTo>
                      <a:cubicBezTo>
                        <a:pt x="562" y="381"/>
                        <a:pt x="566" y="365"/>
                        <a:pt x="547" y="365"/>
                      </a:cubicBezTo>
                      <a:cubicBezTo>
                        <a:pt x="528" y="365"/>
                        <a:pt x="524" y="378"/>
                        <a:pt x="522" y="385"/>
                      </a:cubicBezTo>
                      <a:cubicBezTo>
                        <a:pt x="519" y="407"/>
                        <a:pt x="520" y="474"/>
                        <a:pt x="520" y="474"/>
                      </a:cubicBezTo>
                      <a:cubicBezTo>
                        <a:pt x="520" y="474"/>
                        <a:pt x="432" y="477"/>
                        <a:pt x="410" y="473"/>
                      </a:cubicBezTo>
                      <a:cubicBezTo>
                        <a:pt x="402" y="472"/>
                        <a:pt x="390" y="468"/>
                        <a:pt x="390" y="449"/>
                      </a:cubicBezTo>
                      <a:cubicBezTo>
                        <a:pt x="390" y="430"/>
                        <a:pt x="406" y="434"/>
                        <a:pt x="412" y="409"/>
                      </a:cubicBezTo>
                      <a:cubicBezTo>
                        <a:pt x="414" y="383"/>
                        <a:pt x="392" y="364"/>
                        <a:pt x="368" y="364"/>
                      </a:cubicBezTo>
                      <a:cubicBezTo>
                        <a:pt x="344" y="364"/>
                        <a:pt x="323" y="383"/>
                        <a:pt x="325" y="409"/>
                      </a:cubicBezTo>
                      <a:cubicBezTo>
                        <a:pt x="331" y="434"/>
                        <a:pt x="347" y="430"/>
                        <a:pt x="347" y="449"/>
                      </a:cubicBezTo>
                      <a:cubicBezTo>
                        <a:pt x="347" y="468"/>
                        <a:pt x="334" y="472"/>
                        <a:pt x="326" y="473"/>
                      </a:cubicBezTo>
                      <a:cubicBezTo>
                        <a:pt x="305" y="477"/>
                        <a:pt x="214" y="474"/>
                        <a:pt x="214" y="474"/>
                      </a:cubicBezTo>
                      <a:cubicBezTo>
                        <a:pt x="214" y="474"/>
                        <a:pt x="216" y="407"/>
                        <a:pt x="213" y="385"/>
                      </a:cubicBezTo>
                      <a:cubicBezTo>
                        <a:pt x="212" y="377"/>
                        <a:pt x="207" y="365"/>
                        <a:pt x="188" y="365"/>
                      </a:cubicBezTo>
                      <a:cubicBezTo>
                        <a:pt x="169" y="365"/>
                        <a:pt x="174" y="381"/>
                        <a:pt x="148" y="387"/>
                      </a:cubicBezTo>
                      <a:cubicBezTo>
                        <a:pt x="123" y="389"/>
                        <a:pt x="104" y="368"/>
                        <a:pt x="104" y="344"/>
                      </a:cubicBezTo>
                      <a:cubicBezTo>
                        <a:pt x="104" y="319"/>
                        <a:pt x="123" y="298"/>
                        <a:pt x="148" y="300"/>
                      </a:cubicBezTo>
                      <a:cubicBezTo>
                        <a:pt x="174" y="306"/>
                        <a:pt x="169" y="322"/>
                        <a:pt x="188" y="322"/>
                      </a:cubicBezTo>
                      <a:cubicBezTo>
                        <a:pt x="207" y="322"/>
                        <a:pt x="212" y="310"/>
                        <a:pt x="213" y="302"/>
                      </a:cubicBezTo>
                      <a:cubicBezTo>
                        <a:pt x="216" y="280"/>
                        <a:pt x="216" y="213"/>
                        <a:pt x="216" y="213"/>
                      </a:cubicBezTo>
                      <a:cubicBezTo>
                        <a:pt x="216" y="213"/>
                        <a:pt x="305" y="199"/>
                        <a:pt x="326" y="203"/>
                      </a:cubicBezTo>
                      <a:cubicBezTo>
                        <a:pt x="334" y="204"/>
                        <a:pt x="347" y="208"/>
                        <a:pt x="347" y="227"/>
                      </a:cubicBezTo>
                      <a:cubicBezTo>
                        <a:pt x="347" y="246"/>
                        <a:pt x="331" y="242"/>
                        <a:pt x="325" y="267"/>
                      </a:cubicBezTo>
                      <a:cubicBezTo>
                        <a:pt x="323" y="293"/>
                        <a:pt x="344" y="312"/>
                        <a:pt x="368" y="312"/>
                      </a:cubicBezTo>
                      <a:cubicBezTo>
                        <a:pt x="392" y="312"/>
                        <a:pt x="414" y="293"/>
                        <a:pt x="412" y="267"/>
                      </a:cubicBezTo>
                      <a:cubicBezTo>
                        <a:pt x="406" y="242"/>
                        <a:pt x="390" y="246"/>
                        <a:pt x="390" y="227"/>
                      </a:cubicBezTo>
                      <a:cubicBezTo>
                        <a:pt x="390" y="208"/>
                        <a:pt x="402" y="204"/>
                        <a:pt x="410" y="203"/>
                      </a:cubicBezTo>
                      <a:cubicBezTo>
                        <a:pt x="432" y="199"/>
                        <a:pt x="521" y="213"/>
                        <a:pt x="521" y="213"/>
                      </a:cubicBezTo>
                      <a:cubicBezTo>
                        <a:pt x="521" y="213"/>
                        <a:pt x="519" y="280"/>
                        <a:pt x="522" y="302"/>
                      </a:cubicBezTo>
                      <a:cubicBezTo>
                        <a:pt x="524" y="310"/>
                        <a:pt x="528" y="322"/>
                        <a:pt x="547" y="322"/>
                      </a:cubicBezTo>
                      <a:cubicBezTo>
                        <a:pt x="566" y="322"/>
                        <a:pt x="562" y="306"/>
                        <a:pt x="587" y="300"/>
                      </a:cubicBezTo>
                      <a:cubicBezTo>
                        <a:pt x="613" y="298"/>
                        <a:pt x="631" y="319"/>
                        <a:pt x="631" y="344"/>
                      </a:cubicBezTo>
                      <a:cubicBezTo>
                        <a:pt x="631" y="368"/>
                        <a:pt x="613" y="389"/>
                        <a:pt x="587" y="387"/>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noProof="0">
                    <a:ln>
                      <a:noFill/>
                    </a:ln>
                    <a:solidFill>
                      <a:prstClr val="black"/>
                    </a:solidFill>
                    <a:effectLst/>
                    <a:uLnTx/>
                    <a:uFillTx/>
                    <a:latin typeface="Calibri" panose="020F0502020204030204"/>
                    <a:ea typeface="+mn-ea"/>
                    <a:cs typeface="+mn-cs"/>
                  </a:endParaRPr>
                </a:p>
              </p:txBody>
            </p:sp>
          </p:grpSp>
        </p:grpSp>
      </p:grpSp>
      <p:grpSp>
        <p:nvGrpSpPr>
          <p:cNvPr id="176" name="Group 125">
            <a:extLst>
              <a:ext uri="{FF2B5EF4-FFF2-40B4-BE49-F238E27FC236}">
                <a16:creationId xmlns:a16="http://schemas.microsoft.com/office/drawing/2014/main" id="{571B2AC0-1277-4E1E-9866-9182FD1CB256}"/>
              </a:ext>
            </a:extLst>
          </p:cNvPr>
          <p:cNvGrpSpPr/>
          <p:nvPr/>
        </p:nvGrpSpPr>
        <p:grpSpPr>
          <a:xfrm>
            <a:off x="7348770" y="2508891"/>
            <a:ext cx="288000" cy="288000"/>
            <a:chOff x="7095592" y="742073"/>
            <a:chExt cx="329184" cy="329184"/>
          </a:xfrm>
        </p:grpSpPr>
        <p:sp>
          <p:nvSpPr>
            <p:cNvPr id="177" name="Oval 137">
              <a:extLst>
                <a:ext uri="{FF2B5EF4-FFF2-40B4-BE49-F238E27FC236}">
                  <a16:creationId xmlns:a16="http://schemas.microsoft.com/office/drawing/2014/main" id="{BD3B70CD-721F-43BE-90D4-9C06005A231B}"/>
                </a:ext>
              </a:extLst>
            </p:cNvPr>
            <p:cNvSpPr/>
            <p:nvPr/>
          </p:nvSpPr>
          <p:spPr>
            <a:xfrm>
              <a:off x="7095592" y="742073"/>
              <a:ext cx="329184" cy="329184"/>
            </a:xfrm>
            <a:prstGeom prst="ellipse">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78" name="Group 127">
              <a:extLst>
                <a:ext uri="{FF2B5EF4-FFF2-40B4-BE49-F238E27FC236}">
                  <a16:creationId xmlns:a16="http://schemas.microsoft.com/office/drawing/2014/main" id="{C0C0F946-BBD8-474A-973D-87016CDE0745}"/>
                </a:ext>
              </a:extLst>
            </p:cNvPr>
            <p:cNvGrpSpPr/>
            <p:nvPr/>
          </p:nvGrpSpPr>
          <p:grpSpPr>
            <a:xfrm>
              <a:off x="7176816" y="778521"/>
              <a:ext cx="179310" cy="244447"/>
              <a:chOff x="7176816" y="778521"/>
              <a:chExt cx="179310" cy="244447"/>
            </a:xfrm>
          </p:grpSpPr>
          <p:sp>
            <p:nvSpPr>
              <p:cNvPr id="179" name="Seed" descr="{&quot;Key&quot;:&quot;POWER_USER_SHAPE_ICON&quot;,&quot;Value&quot;:&quot;POWER_USER_SHAPE_ICON_STYLE_1&quot;}">
                <a:extLst>
                  <a:ext uri="{FF2B5EF4-FFF2-40B4-BE49-F238E27FC236}">
                    <a16:creationId xmlns:a16="http://schemas.microsoft.com/office/drawing/2014/main" id="{D8D9D314-E5CE-4D77-8550-913C36AC4BB9}"/>
                  </a:ext>
                </a:extLst>
              </p:cNvPr>
              <p:cNvSpPr>
                <a:spLocks noChangeAspect="1" noEditPoints="1"/>
              </p:cNvSpPr>
              <p:nvPr>
                <p:custDataLst>
                  <p:tags r:id="rId35"/>
                </p:custDataLst>
              </p:nvPr>
            </p:nvSpPr>
            <p:spPr bwMode="auto">
              <a:xfrm>
                <a:off x="7176816" y="878690"/>
                <a:ext cx="162838" cy="144278"/>
              </a:xfrm>
              <a:custGeom>
                <a:avLst/>
                <a:gdLst>
                  <a:gd name="T0" fmla="*/ 6744 w 11364"/>
                  <a:gd name="T1" fmla="*/ 3564 h 10067"/>
                  <a:gd name="T2" fmla="*/ 7042 w 11364"/>
                  <a:gd name="T3" fmla="*/ 3354 h 10067"/>
                  <a:gd name="T4" fmla="*/ 4139 w 11364"/>
                  <a:gd name="T5" fmla="*/ 214 h 10067"/>
                  <a:gd name="T6" fmla="*/ 5282 w 11364"/>
                  <a:gd name="T7" fmla="*/ 2733 h 10067"/>
                  <a:gd name="T8" fmla="*/ 10245 w 11364"/>
                  <a:gd name="T9" fmla="*/ 7311 h 10067"/>
                  <a:gd name="T10" fmla="*/ 7950 w 11364"/>
                  <a:gd name="T11" fmla="*/ 5369 h 10067"/>
                  <a:gd name="T12" fmla="*/ 7665 w 11364"/>
                  <a:gd name="T13" fmla="*/ 5315 h 10067"/>
                  <a:gd name="T14" fmla="*/ 7626 w 11364"/>
                  <a:gd name="T15" fmla="*/ 5310 h 10067"/>
                  <a:gd name="T16" fmla="*/ 7637 w 11364"/>
                  <a:gd name="T17" fmla="*/ 4576 h 10067"/>
                  <a:gd name="T18" fmla="*/ 7646 w 11364"/>
                  <a:gd name="T19" fmla="*/ 4476 h 10067"/>
                  <a:gd name="T20" fmla="*/ 7673 w 11364"/>
                  <a:gd name="T21" fmla="*/ 4234 h 10067"/>
                  <a:gd name="T22" fmla="*/ 8068 w 11364"/>
                  <a:gd name="T23" fmla="*/ 4029 h 10067"/>
                  <a:gd name="T24" fmla="*/ 11244 w 11364"/>
                  <a:gd name="T25" fmla="*/ 0 h 10067"/>
                  <a:gd name="T26" fmla="*/ 7516 w 11364"/>
                  <a:gd name="T27" fmla="*/ 2618 h 10067"/>
                  <a:gd name="T28" fmla="*/ 7233 w 11364"/>
                  <a:gd name="T29" fmla="*/ 4214 h 10067"/>
                  <a:gd name="T30" fmla="*/ 7224 w 11364"/>
                  <a:gd name="T31" fmla="*/ 5280 h 10067"/>
                  <a:gd name="T32" fmla="*/ 7082 w 11364"/>
                  <a:gd name="T33" fmla="*/ 5277 h 10067"/>
                  <a:gd name="T34" fmla="*/ 5070 w 11364"/>
                  <a:gd name="T35" fmla="*/ 6113 h 10067"/>
                  <a:gd name="T36" fmla="*/ 2454 w 11364"/>
                  <a:gd name="T37" fmla="*/ 5748 h 10067"/>
                  <a:gd name="T38" fmla="*/ 1979 w 11364"/>
                  <a:gd name="T39" fmla="*/ 5775 h 10067"/>
                  <a:gd name="T40" fmla="*/ 2514 w 11364"/>
                  <a:gd name="T41" fmla="*/ 6100 h 10067"/>
                  <a:gd name="T42" fmla="*/ 4816 w 11364"/>
                  <a:gd name="T43" fmla="*/ 6387 h 10067"/>
                  <a:gd name="T44" fmla="*/ 6145 w 11364"/>
                  <a:gd name="T45" fmla="*/ 6987 h 10067"/>
                  <a:gd name="T46" fmla="*/ 8301 w 11364"/>
                  <a:gd name="T47" fmla="*/ 7145 h 10067"/>
                  <a:gd name="T48" fmla="*/ 8758 w 11364"/>
                  <a:gd name="T49" fmla="*/ 7918 h 10067"/>
                  <a:gd name="T50" fmla="*/ 8461 w 11364"/>
                  <a:gd name="T51" fmla="*/ 8153 h 10067"/>
                  <a:gd name="T52" fmla="*/ 7099 w 11364"/>
                  <a:gd name="T53" fmla="*/ 8176 h 10067"/>
                  <a:gd name="T54" fmla="*/ 6945 w 11364"/>
                  <a:gd name="T55" fmla="*/ 8155 h 10067"/>
                  <a:gd name="T56" fmla="*/ 6316 w 11364"/>
                  <a:gd name="T57" fmla="*/ 8035 h 10067"/>
                  <a:gd name="T58" fmla="*/ 6020 w 11364"/>
                  <a:gd name="T59" fmla="*/ 7984 h 10067"/>
                  <a:gd name="T60" fmla="*/ 4994 w 11364"/>
                  <a:gd name="T61" fmla="*/ 8127 h 10067"/>
                  <a:gd name="T62" fmla="*/ 4903 w 11364"/>
                  <a:gd name="T63" fmla="*/ 8363 h 10067"/>
                  <a:gd name="T64" fmla="*/ 6233 w 11364"/>
                  <a:gd name="T65" fmla="*/ 8382 h 10067"/>
                  <a:gd name="T66" fmla="*/ 8735 w 11364"/>
                  <a:gd name="T67" fmla="*/ 8429 h 10067"/>
                  <a:gd name="T68" fmla="*/ 9563 w 11364"/>
                  <a:gd name="T69" fmla="*/ 8061 h 10067"/>
                  <a:gd name="T70" fmla="*/ 10404 w 11364"/>
                  <a:gd name="T71" fmla="*/ 7630 h 10067"/>
                  <a:gd name="T72" fmla="*/ 10935 w 11364"/>
                  <a:gd name="T73" fmla="*/ 7937 h 10067"/>
                  <a:gd name="T74" fmla="*/ 10018 w 11364"/>
                  <a:gd name="T75" fmla="*/ 8647 h 10067"/>
                  <a:gd name="T76" fmla="*/ 9086 w 11364"/>
                  <a:gd name="T77" fmla="*/ 9020 h 10067"/>
                  <a:gd name="T78" fmla="*/ 6547 w 11364"/>
                  <a:gd name="T79" fmla="*/ 9626 h 10067"/>
                  <a:gd name="T80" fmla="*/ 2148 w 11364"/>
                  <a:gd name="T81" fmla="*/ 8613 h 10067"/>
                  <a:gd name="T82" fmla="*/ 1979 w 11364"/>
                  <a:gd name="T83" fmla="*/ 8970 h 10067"/>
                  <a:gd name="T84" fmla="*/ 5139 w 11364"/>
                  <a:gd name="T85" fmla="*/ 9875 h 10067"/>
                  <a:gd name="T86" fmla="*/ 6619 w 11364"/>
                  <a:gd name="T87" fmla="*/ 9976 h 10067"/>
                  <a:gd name="T88" fmla="*/ 9235 w 11364"/>
                  <a:gd name="T89" fmla="*/ 9344 h 10067"/>
                  <a:gd name="T90" fmla="*/ 10176 w 11364"/>
                  <a:gd name="T91" fmla="*/ 8967 h 10067"/>
                  <a:gd name="T92" fmla="*/ 11194 w 11364"/>
                  <a:gd name="T93" fmla="*/ 8190 h 10067"/>
                  <a:gd name="T94" fmla="*/ 0 w 11364"/>
                  <a:gd name="T95" fmla="*/ 9309 h 10067"/>
                  <a:gd name="T96" fmla="*/ 1630 w 11364"/>
                  <a:gd name="T97" fmla="*/ 5351 h 10067"/>
                  <a:gd name="T98" fmla="*/ 0 w 11364"/>
                  <a:gd name="T99" fmla="*/ 9309 h 100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1364" h="10067">
                    <a:moveTo>
                      <a:pt x="5282" y="2733"/>
                    </a:moveTo>
                    <a:cubicBezTo>
                      <a:pt x="5856" y="3288"/>
                      <a:pt x="6390" y="3439"/>
                      <a:pt x="6744" y="3564"/>
                    </a:cubicBezTo>
                    <a:cubicBezTo>
                      <a:pt x="6525" y="2306"/>
                      <a:pt x="5827" y="1150"/>
                      <a:pt x="4589" y="609"/>
                    </a:cubicBezTo>
                    <a:cubicBezTo>
                      <a:pt x="5820" y="997"/>
                      <a:pt x="6676" y="2123"/>
                      <a:pt x="7042" y="3354"/>
                    </a:cubicBezTo>
                    <a:cubicBezTo>
                      <a:pt x="7112" y="2949"/>
                      <a:pt x="7216" y="2574"/>
                      <a:pt x="7358" y="2233"/>
                    </a:cubicBezTo>
                    <a:cubicBezTo>
                      <a:pt x="7006" y="1054"/>
                      <a:pt x="5918" y="214"/>
                      <a:pt x="4139" y="214"/>
                    </a:cubicBezTo>
                    <a:cubicBezTo>
                      <a:pt x="3920" y="214"/>
                      <a:pt x="3690" y="227"/>
                      <a:pt x="3450" y="253"/>
                    </a:cubicBezTo>
                    <a:cubicBezTo>
                      <a:pt x="4708" y="954"/>
                      <a:pt x="4033" y="1529"/>
                      <a:pt x="5282" y="2733"/>
                    </a:cubicBezTo>
                    <a:close/>
                    <a:moveTo>
                      <a:pt x="11174" y="7560"/>
                    </a:moveTo>
                    <a:cubicBezTo>
                      <a:pt x="11020" y="7299"/>
                      <a:pt x="10696" y="7094"/>
                      <a:pt x="10245" y="7311"/>
                    </a:cubicBezTo>
                    <a:lnTo>
                      <a:pt x="10145" y="7362"/>
                    </a:lnTo>
                    <a:cubicBezTo>
                      <a:pt x="9750" y="6361"/>
                      <a:pt x="9011" y="5620"/>
                      <a:pt x="7950" y="5369"/>
                    </a:cubicBezTo>
                    <a:cubicBezTo>
                      <a:pt x="7904" y="5358"/>
                      <a:pt x="7855" y="5350"/>
                      <a:pt x="7807" y="5341"/>
                    </a:cubicBezTo>
                    <a:cubicBezTo>
                      <a:pt x="7760" y="5332"/>
                      <a:pt x="7713" y="5323"/>
                      <a:pt x="7665" y="5315"/>
                    </a:cubicBezTo>
                    <a:lnTo>
                      <a:pt x="7665" y="5310"/>
                    </a:lnTo>
                    <a:lnTo>
                      <a:pt x="7626" y="5310"/>
                    </a:lnTo>
                    <a:cubicBezTo>
                      <a:pt x="7615" y="5095"/>
                      <a:pt x="7617" y="4877"/>
                      <a:pt x="7630" y="4658"/>
                    </a:cubicBezTo>
                    <a:cubicBezTo>
                      <a:pt x="7632" y="4631"/>
                      <a:pt x="7635" y="4603"/>
                      <a:pt x="7637" y="4576"/>
                    </a:cubicBezTo>
                    <a:cubicBezTo>
                      <a:pt x="7639" y="4548"/>
                      <a:pt x="7642" y="4521"/>
                      <a:pt x="7645" y="4493"/>
                    </a:cubicBezTo>
                    <a:cubicBezTo>
                      <a:pt x="7645" y="4487"/>
                      <a:pt x="7646" y="4482"/>
                      <a:pt x="7646" y="4476"/>
                    </a:cubicBezTo>
                    <a:cubicBezTo>
                      <a:pt x="7650" y="4440"/>
                      <a:pt x="7653" y="4405"/>
                      <a:pt x="7657" y="4369"/>
                    </a:cubicBezTo>
                    <a:cubicBezTo>
                      <a:pt x="7662" y="4324"/>
                      <a:pt x="7667" y="4279"/>
                      <a:pt x="7673" y="4234"/>
                    </a:cubicBezTo>
                    <a:cubicBezTo>
                      <a:pt x="7872" y="2771"/>
                      <a:pt x="8628" y="1348"/>
                      <a:pt x="9939" y="657"/>
                    </a:cubicBezTo>
                    <a:cubicBezTo>
                      <a:pt x="8766" y="1446"/>
                      <a:pt x="8183" y="2704"/>
                      <a:pt x="8068" y="4029"/>
                    </a:cubicBezTo>
                    <a:cubicBezTo>
                      <a:pt x="8412" y="3957"/>
                      <a:pt x="8947" y="3834"/>
                      <a:pt x="9555" y="3096"/>
                    </a:cubicBezTo>
                    <a:cubicBezTo>
                      <a:pt x="10606" y="1820"/>
                      <a:pt x="10037" y="1108"/>
                      <a:pt x="11244" y="0"/>
                    </a:cubicBezTo>
                    <a:cubicBezTo>
                      <a:pt x="9086" y="152"/>
                      <a:pt x="8041" y="1219"/>
                      <a:pt x="7569" y="2470"/>
                    </a:cubicBezTo>
                    <a:cubicBezTo>
                      <a:pt x="7551" y="2519"/>
                      <a:pt x="7533" y="2568"/>
                      <a:pt x="7516" y="2618"/>
                    </a:cubicBezTo>
                    <a:cubicBezTo>
                      <a:pt x="7499" y="2670"/>
                      <a:pt x="7482" y="2723"/>
                      <a:pt x="7466" y="2776"/>
                    </a:cubicBezTo>
                    <a:cubicBezTo>
                      <a:pt x="7324" y="3251"/>
                      <a:pt x="7255" y="3743"/>
                      <a:pt x="7233" y="4214"/>
                    </a:cubicBezTo>
                    <a:cubicBezTo>
                      <a:pt x="7227" y="4337"/>
                      <a:pt x="7224" y="4458"/>
                      <a:pt x="7224" y="4577"/>
                    </a:cubicBezTo>
                    <a:lnTo>
                      <a:pt x="7224" y="5280"/>
                    </a:lnTo>
                    <a:cubicBezTo>
                      <a:pt x="7190" y="5279"/>
                      <a:pt x="7156" y="5276"/>
                      <a:pt x="7121" y="5276"/>
                    </a:cubicBezTo>
                    <a:cubicBezTo>
                      <a:pt x="7107" y="5276"/>
                      <a:pt x="7095" y="5277"/>
                      <a:pt x="7082" y="5277"/>
                    </a:cubicBezTo>
                    <a:cubicBezTo>
                      <a:pt x="7033" y="5278"/>
                      <a:pt x="6986" y="5280"/>
                      <a:pt x="6939" y="5283"/>
                    </a:cubicBezTo>
                    <a:cubicBezTo>
                      <a:pt x="6217" y="5326"/>
                      <a:pt x="5581" y="5623"/>
                      <a:pt x="5070" y="6113"/>
                    </a:cubicBezTo>
                    <a:cubicBezTo>
                      <a:pt x="4740" y="5948"/>
                      <a:pt x="4382" y="5797"/>
                      <a:pt x="4006" y="5741"/>
                    </a:cubicBezTo>
                    <a:cubicBezTo>
                      <a:pt x="3196" y="5621"/>
                      <a:pt x="2767" y="5694"/>
                      <a:pt x="2454" y="5748"/>
                    </a:cubicBezTo>
                    <a:cubicBezTo>
                      <a:pt x="2277" y="5778"/>
                      <a:pt x="2149" y="5801"/>
                      <a:pt x="2006" y="5779"/>
                    </a:cubicBezTo>
                    <a:lnTo>
                      <a:pt x="1979" y="5775"/>
                    </a:lnTo>
                    <a:lnTo>
                      <a:pt x="1979" y="6135"/>
                    </a:lnTo>
                    <a:cubicBezTo>
                      <a:pt x="2167" y="6158"/>
                      <a:pt x="2329" y="6132"/>
                      <a:pt x="2514" y="6100"/>
                    </a:cubicBezTo>
                    <a:cubicBezTo>
                      <a:pt x="2820" y="6048"/>
                      <a:pt x="3200" y="5983"/>
                      <a:pt x="3953" y="6094"/>
                    </a:cubicBezTo>
                    <a:cubicBezTo>
                      <a:pt x="4247" y="6138"/>
                      <a:pt x="4539" y="6254"/>
                      <a:pt x="4816" y="6387"/>
                    </a:cubicBezTo>
                    <a:cubicBezTo>
                      <a:pt x="4964" y="6458"/>
                      <a:pt x="5108" y="6534"/>
                      <a:pt x="5246" y="6607"/>
                    </a:cubicBezTo>
                    <a:cubicBezTo>
                      <a:pt x="5584" y="6786"/>
                      <a:pt x="5875" y="6940"/>
                      <a:pt x="6145" y="6987"/>
                    </a:cubicBezTo>
                    <a:cubicBezTo>
                      <a:pt x="6374" y="7027"/>
                      <a:pt x="6617" y="7019"/>
                      <a:pt x="6873" y="7011"/>
                    </a:cubicBezTo>
                    <a:cubicBezTo>
                      <a:pt x="7279" y="6999"/>
                      <a:pt x="7740" y="6985"/>
                      <a:pt x="8301" y="7145"/>
                    </a:cubicBezTo>
                    <a:cubicBezTo>
                      <a:pt x="8622" y="7237"/>
                      <a:pt x="8803" y="7401"/>
                      <a:pt x="8825" y="7618"/>
                    </a:cubicBezTo>
                    <a:cubicBezTo>
                      <a:pt x="8835" y="7725"/>
                      <a:pt x="8806" y="7830"/>
                      <a:pt x="8758" y="7918"/>
                    </a:cubicBezTo>
                    <a:cubicBezTo>
                      <a:pt x="8709" y="8005"/>
                      <a:pt x="8640" y="8076"/>
                      <a:pt x="8571" y="8111"/>
                    </a:cubicBezTo>
                    <a:cubicBezTo>
                      <a:pt x="8540" y="8127"/>
                      <a:pt x="8502" y="8141"/>
                      <a:pt x="8461" y="8153"/>
                    </a:cubicBezTo>
                    <a:cubicBezTo>
                      <a:pt x="8371" y="8180"/>
                      <a:pt x="8259" y="8200"/>
                      <a:pt x="8128" y="8211"/>
                    </a:cubicBezTo>
                    <a:cubicBezTo>
                      <a:pt x="7846" y="8235"/>
                      <a:pt x="7483" y="8223"/>
                      <a:pt x="7099" y="8176"/>
                    </a:cubicBezTo>
                    <a:cubicBezTo>
                      <a:pt x="7067" y="8172"/>
                      <a:pt x="7035" y="8168"/>
                      <a:pt x="7003" y="8164"/>
                    </a:cubicBezTo>
                    <a:cubicBezTo>
                      <a:pt x="6984" y="8161"/>
                      <a:pt x="6965" y="8158"/>
                      <a:pt x="6945" y="8155"/>
                    </a:cubicBezTo>
                    <a:cubicBezTo>
                      <a:pt x="6790" y="8133"/>
                      <a:pt x="6633" y="8105"/>
                      <a:pt x="6477" y="8071"/>
                    </a:cubicBezTo>
                    <a:cubicBezTo>
                      <a:pt x="6423" y="8060"/>
                      <a:pt x="6370" y="8048"/>
                      <a:pt x="6316" y="8035"/>
                    </a:cubicBezTo>
                    <a:cubicBezTo>
                      <a:pt x="6270" y="8024"/>
                      <a:pt x="6226" y="8017"/>
                      <a:pt x="6181" y="8008"/>
                    </a:cubicBezTo>
                    <a:cubicBezTo>
                      <a:pt x="6126" y="7998"/>
                      <a:pt x="6072" y="7990"/>
                      <a:pt x="6020" y="7984"/>
                    </a:cubicBezTo>
                    <a:cubicBezTo>
                      <a:pt x="5990" y="7981"/>
                      <a:pt x="5960" y="7977"/>
                      <a:pt x="5931" y="7975"/>
                    </a:cubicBezTo>
                    <a:cubicBezTo>
                      <a:pt x="5524" y="7946"/>
                      <a:pt x="5206" y="8034"/>
                      <a:pt x="4994" y="8127"/>
                    </a:cubicBezTo>
                    <a:cubicBezTo>
                      <a:pt x="4960" y="8142"/>
                      <a:pt x="4936" y="8168"/>
                      <a:pt x="4918" y="8197"/>
                    </a:cubicBezTo>
                    <a:cubicBezTo>
                      <a:pt x="4888" y="8246"/>
                      <a:pt x="4878" y="8306"/>
                      <a:pt x="4903" y="8363"/>
                    </a:cubicBezTo>
                    <a:cubicBezTo>
                      <a:pt x="4943" y="8452"/>
                      <a:pt x="5048" y="8493"/>
                      <a:pt x="5138" y="8454"/>
                    </a:cubicBezTo>
                    <a:cubicBezTo>
                      <a:pt x="5465" y="8310"/>
                      <a:pt x="5833" y="8286"/>
                      <a:pt x="6233" y="8382"/>
                    </a:cubicBezTo>
                    <a:cubicBezTo>
                      <a:pt x="6732" y="8503"/>
                      <a:pt x="7317" y="8582"/>
                      <a:pt x="7817" y="8582"/>
                    </a:cubicBezTo>
                    <a:cubicBezTo>
                      <a:pt x="8196" y="8582"/>
                      <a:pt x="8527" y="8536"/>
                      <a:pt x="8735" y="8429"/>
                    </a:cubicBezTo>
                    <a:cubicBezTo>
                      <a:pt x="8828" y="8381"/>
                      <a:pt x="8910" y="8308"/>
                      <a:pt x="8978" y="8223"/>
                    </a:cubicBezTo>
                    <a:cubicBezTo>
                      <a:pt x="9279" y="8130"/>
                      <a:pt x="9558" y="8062"/>
                      <a:pt x="9563" y="8061"/>
                    </a:cubicBezTo>
                    <a:cubicBezTo>
                      <a:pt x="9577" y="8057"/>
                      <a:pt x="9590" y="8052"/>
                      <a:pt x="9603" y="8045"/>
                    </a:cubicBezTo>
                    <a:lnTo>
                      <a:pt x="10404" y="7630"/>
                    </a:lnTo>
                    <a:cubicBezTo>
                      <a:pt x="10627" y="7523"/>
                      <a:pt x="10731" y="7601"/>
                      <a:pt x="10766" y="7626"/>
                    </a:cubicBezTo>
                    <a:cubicBezTo>
                      <a:pt x="10877" y="7708"/>
                      <a:pt x="10927" y="7862"/>
                      <a:pt x="10935" y="7937"/>
                    </a:cubicBezTo>
                    <a:cubicBezTo>
                      <a:pt x="10867" y="7990"/>
                      <a:pt x="10749" y="8081"/>
                      <a:pt x="10619" y="8183"/>
                    </a:cubicBezTo>
                    <a:cubicBezTo>
                      <a:pt x="10396" y="8357"/>
                      <a:pt x="10058" y="8621"/>
                      <a:pt x="10018" y="8647"/>
                    </a:cubicBezTo>
                    <a:cubicBezTo>
                      <a:pt x="9989" y="8661"/>
                      <a:pt x="9867" y="8708"/>
                      <a:pt x="9720" y="8765"/>
                    </a:cubicBezTo>
                    <a:cubicBezTo>
                      <a:pt x="9489" y="8855"/>
                      <a:pt x="9201" y="8966"/>
                      <a:pt x="9086" y="9020"/>
                    </a:cubicBezTo>
                    <a:cubicBezTo>
                      <a:pt x="8816" y="9144"/>
                      <a:pt x="8300" y="9346"/>
                      <a:pt x="8196" y="9349"/>
                    </a:cubicBezTo>
                    <a:cubicBezTo>
                      <a:pt x="8024" y="9349"/>
                      <a:pt x="7346" y="9463"/>
                      <a:pt x="6547" y="9626"/>
                    </a:cubicBezTo>
                    <a:cubicBezTo>
                      <a:pt x="5919" y="9754"/>
                      <a:pt x="5696" y="9741"/>
                      <a:pt x="5291" y="9552"/>
                    </a:cubicBezTo>
                    <a:cubicBezTo>
                      <a:pt x="4872" y="9356"/>
                      <a:pt x="2441" y="8613"/>
                      <a:pt x="2148" y="8613"/>
                    </a:cubicBezTo>
                    <a:lnTo>
                      <a:pt x="1979" y="8613"/>
                    </a:lnTo>
                    <a:lnTo>
                      <a:pt x="1979" y="8970"/>
                    </a:lnTo>
                    <a:lnTo>
                      <a:pt x="2146" y="8970"/>
                    </a:lnTo>
                    <a:cubicBezTo>
                      <a:pt x="2378" y="8981"/>
                      <a:pt x="4685" y="9662"/>
                      <a:pt x="5139" y="9875"/>
                    </a:cubicBezTo>
                    <a:cubicBezTo>
                      <a:pt x="5427" y="10010"/>
                      <a:pt x="5655" y="10067"/>
                      <a:pt x="5917" y="10067"/>
                    </a:cubicBezTo>
                    <a:cubicBezTo>
                      <a:pt x="6117" y="10067"/>
                      <a:pt x="6337" y="10034"/>
                      <a:pt x="6619" y="9976"/>
                    </a:cubicBezTo>
                    <a:cubicBezTo>
                      <a:pt x="7530" y="9790"/>
                      <a:pt x="8089" y="9706"/>
                      <a:pt x="8196" y="9706"/>
                    </a:cubicBezTo>
                    <a:cubicBezTo>
                      <a:pt x="8437" y="9706"/>
                      <a:pt x="9228" y="9348"/>
                      <a:pt x="9235" y="9344"/>
                    </a:cubicBezTo>
                    <a:cubicBezTo>
                      <a:pt x="9341" y="9296"/>
                      <a:pt x="9635" y="9181"/>
                      <a:pt x="9849" y="9098"/>
                    </a:cubicBezTo>
                    <a:cubicBezTo>
                      <a:pt x="10069" y="9013"/>
                      <a:pt x="10148" y="8982"/>
                      <a:pt x="10176" y="8967"/>
                    </a:cubicBezTo>
                    <a:cubicBezTo>
                      <a:pt x="10216" y="8947"/>
                      <a:pt x="10303" y="8883"/>
                      <a:pt x="10839" y="8464"/>
                    </a:cubicBezTo>
                    <a:cubicBezTo>
                      <a:pt x="11008" y="8332"/>
                      <a:pt x="11155" y="8217"/>
                      <a:pt x="11194" y="8190"/>
                    </a:cubicBezTo>
                    <a:cubicBezTo>
                      <a:pt x="11364" y="8068"/>
                      <a:pt x="11285" y="7748"/>
                      <a:pt x="11174" y="7560"/>
                    </a:cubicBezTo>
                    <a:close/>
                    <a:moveTo>
                      <a:pt x="0" y="9309"/>
                    </a:moveTo>
                    <a:lnTo>
                      <a:pt x="1630" y="9309"/>
                    </a:lnTo>
                    <a:lnTo>
                      <a:pt x="1630" y="5351"/>
                    </a:lnTo>
                    <a:lnTo>
                      <a:pt x="0" y="5351"/>
                    </a:lnTo>
                    <a:lnTo>
                      <a:pt x="0" y="9309"/>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nvGrpSpPr>
              <p:cNvPr id="180" name="Problem_Based_Learning" descr="{&quot;Key&quot;:&quot;POWER_USER_SHAPE_ICON&quot;,&quot;Value&quot;:&quot;POWER_USER_SHAPE_ICON_STYLE_1&quot;}">
                <a:extLst>
                  <a:ext uri="{FF2B5EF4-FFF2-40B4-BE49-F238E27FC236}">
                    <a16:creationId xmlns:a16="http://schemas.microsoft.com/office/drawing/2014/main" id="{43F1EF78-B446-4B0C-A626-53C946392889}"/>
                  </a:ext>
                </a:extLst>
              </p:cNvPr>
              <p:cNvGrpSpPr>
                <a:grpSpLocks noChangeAspect="1"/>
              </p:cNvGrpSpPr>
              <p:nvPr>
                <p:custDataLst>
                  <p:tags r:id="rId36"/>
                </p:custDataLst>
              </p:nvPr>
            </p:nvGrpSpPr>
            <p:grpSpPr bwMode="auto">
              <a:xfrm>
                <a:off x="7183815" y="778521"/>
                <a:ext cx="172311" cy="185669"/>
                <a:chOff x="7" y="8"/>
                <a:chExt cx="424" cy="471"/>
              </a:xfrm>
              <a:solidFill>
                <a:schemeClr val="bg1"/>
              </a:solidFill>
            </p:grpSpPr>
            <p:sp>
              <p:nvSpPr>
                <p:cNvPr id="181" name="Problem_Based_Learning">
                  <a:extLst>
                    <a:ext uri="{FF2B5EF4-FFF2-40B4-BE49-F238E27FC236}">
                      <a16:creationId xmlns:a16="http://schemas.microsoft.com/office/drawing/2014/main" id="{484F70C1-A8CE-4E1A-B5FB-D70013734474}"/>
                    </a:ext>
                  </a:extLst>
                </p:cNvPr>
                <p:cNvSpPr>
                  <a:spLocks/>
                </p:cNvSpPr>
                <p:nvPr>
                  <p:custDataLst>
                    <p:tags r:id="rId37"/>
                  </p:custDataLst>
                </p:nvPr>
              </p:nvSpPr>
              <p:spPr bwMode="auto">
                <a:xfrm>
                  <a:off x="214" y="8"/>
                  <a:ext cx="20" cy="69"/>
                </a:xfrm>
                <a:custGeom>
                  <a:avLst/>
                  <a:gdLst>
                    <a:gd name="T0" fmla="*/ 26 w 52"/>
                    <a:gd name="T1" fmla="*/ 183 h 183"/>
                    <a:gd name="T2" fmla="*/ 0 w 52"/>
                    <a:gd name="T3" fmla="*/ 156 h 183"/>
                    <a:gd name="T4" fmla="*/ 0 w 52"/>
                    <a:gd name="T5" fmla="*/ 26 h 183"/>
                    <a:gd name="T6" fmla="*/ 26 w 52"/>
                    <a:gd name="T7" fmla="*/ 0 h 183"/>
                    <a:gd name="T8" fmla="*/ 52 w 52"/>
                    <a:gd name="T9" fmla="*/ 26 h 183"/>
                    <a:gd name="T10" fmla="*/ 52 w 52"/>
                    <a:gd name="T11" fmla="*/ 156 h 183"/>
                    <a:gd name="T12" fmla="*/ 26 w 52"/>
                    <a:gd name="T13" fmla="*/ 183 h 183"/>
                  </a:gdLst>
                  <a:ahLst/>
                  <a:cxnLst>
                    <a:cxn ang="0">
                      <a:pos x="T0" y="T1"/>
                    </a:cxn>
                    <a:cxn ang="0">
                      <a:pos x="T2" y="T3"/>
                    </a:cxn>
                    <a:cxn ang="0">
                      <a:pos x="T4" y="T5"/>
                    </a:cxn>
                    <a:cxn ang="0">
                      <a:pos x="T6" y="T7"/>
                    </a:cxn>
                    <a:cxn ang="0">
                      <a:pos x="T8" y="T9"/>
                    </a:cxn>
                    <a:cxn ang="0">
                      <a:pos x="T10" y="T11"/>
                    </a:cxn>
                    <a:cxn ang="0">
                      <a:pos x="T12" y="T13"/>
                    </a:cxn>
                  </a:cxnLst>
                  <a:rect l="0" t="0" r="r" b="b"/>
                  <a:pathLst>
                    <a:path w="52" h="183">
                      <a:moveTo>
                        <a:pt x="26" y="183"/>
                      </a:moveTo>
                      <a:cubicBezTo>
                        <a:pt x="11" y="183"/>
                        <a:pt x="0" y="171"/>
                        <a:pt x="0" y="156"/>
                      </a:cubicBezTo>
                      <a:lnTo>
                        <a:pt x="0" y="26"/>
                      </a:lnTo>
                      <a:cubicBezTo>
                        <a:pt x="0" y="12"/>
                        <a:pt x="11" y="0"/>
                        <a:pt x="26" y="0"/>
                      </a:cubicBezTo>
                      <a:cubicBezTo>
                        <a:pt x="40" y="0"/>
                        <a:pt x="52" y="12"/>
                        <a:pt x="52" y="26"/>
                      </a:cubicBezTo>
                      <a:lnTo>
                        <a:pt x="52" y="156"/>
                      </a:lnTo>
                      <a:cubicBezTo>
                        <a:pt x="52" y="171"/>
                        <a:pt x="40" y="183"/>
                        <a:pt x="26" y="183"/>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noProof="0">
                    <a:ln>
                      <a:noFill/>
                    </a:ln>
                    <a:solidFill>
                      <a:prstClr val="black"/>
                    </a:solidFill>
                    <a:effectLst/>
                    <a:uLnTx/>
                    <a:uFillTx/>
                    <a:latin typeface="Calibri" panose="020F0502020204030204"/>
                    <a:ea typeface="+mn-ea"/>
                    <a:cs typeface="+mn-cs"/>
                  </a:endParaRPr>
                </a:p>
              </p:txBody>
            </p:sp>
            <p:sp>
              <p:nvSpPr>
                <p:cNvPr id="182" name="Problem_Based_Learning">
                  <a:extLst>
                    <a:ext uri="{FF2B5EF4-FFF2-40B4-BE49-F238E27FC236}">
                      <a16:creationId xmlns:a16="http://schemas.microsoft.com/office/drawing/2014/main" id="{EDB63FB0-2901-4F95-B552-FBCD6194416F}"/>
                    </a:ext>
                  </a:extLst>
                </p:cNvPr>
                <p:cNvSpPr>
                  <a:spLocks/>
                </p:cNvSpPr>
                <p:nvPr>
                  <p:custDataLst>
                    <p:tags r:id="rId38"/>
                  </p:custDataLst>
                </p:nvPr>
              </p:nvSpPr>
              <p:spPr bwMode="auto">
                <a:xfrm>
                  <a:off x="301" y="46"/>
                  <a:ext cx="51" cy="60"/>
                </a:xfrm>
                <a:custGeom>
                  <a:avLst/>
                  <a:gdLst>
                    <a:gd name="T0" fmla="*/ 29 w 137"/>
                    <a:gd name="T1" fmla="*/ 160 h 160"/>
                    <a:gd name="T2" fmla="*/ 14 w 137"/>
                    <a:gd name="T3" fmla="*/ 155 h 160"/>
                    <a:gd name="T4" fmla="*/ 9 w 137"/>
                    <a:gd name="T5" fmla="*/ 118 h 160"/>
                    <a:gd name="T6" fmla="*/ 87 w 137"/>
                    <a:gd name="T7" fmla="*/ 14 h 160"/>
                    <a:gd name="T8" fmla="*/ 123 w 137"/>
                    <a:gd name="T9" fmla="*/ 9 h 160"/>
                    <a:gd name="T10" fmla="*/ 128 w 137"/>
                    <a:gd name="T11" fmla="*/ 45 h 160"/>
                    <a:gd name="T12" fmla="*/ 50 w 137"/>
                    <a:gd name="T13" fmla="*/ 149 h 160"/>
                    <a:gd name="T14" fmla="*/ 29 w 137"/>
                    <a:gd name="T15" fmla="*/ 160 h 16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7" h="160">
                      <a:moveTo>
                        <a:pt x="29" y="160"/>
                      </a:moveTo>
                      <a:cubicBezTo>
                        <a:pt x="24" y="160"/>
                        <a:pt x="18" y="158"/>
                        <a:pt x="14" y="155"/>
                      </a:cubicBezTo>
                      <a:cubicBezTo>
                        <a:pt x="2" y="146"/>
                        <a:pt x="0" y="130"/>
                        <a:pt x="9" y="118"/>
                      </a:cubicBezTo>
                      <a:lnTo>
                        <a:pt x="87" y="14"/>
                      </a:lnTo>
                      <a:cubicBezTo>
                        <a:pt x="95" y="2"/>
                        <a:pt x="112" y="0"/>
                        <a:pt x="123" y="9"/>
                      </a:cubicBezTo>
                      <a:cubicBezTo>
                        <a:pt x="135" y="17"/>
                        <a:pt x="137" y="34"/>
                        <a:pt x="128" y="45"/>
                      </a:cubicBezTo>
                      <a:lnTo>
                        <a:pt x="50" y="149"/>
                      </a:lnTo>
                      <a:cubicBezTo>
                        <a:pt x="45" y="156"/>
                        <a:pt x="37" y="160"/>
                        <a:pt x="29" y="16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noProof="0">
                    <a:ln>
                      <a:noFill/>
                    </a:ln>
                    <a:solidFill>
                      <a:prstClr val="black"/>
                    </a:solidFill>
                    <a:effectLst/>
                    <a:uLnTx/>
                    <a:uFillTx/>
                    <a:latin typeface="Calibri" panose="020F0502020204030204"/>
                    <a:ea typeface="+mn-ea"/>
                    <a:cs typeface="+mn-cs"/>
                  </a:endParaRPr>
                </a:p>
              </p:txBody>
            </p:sp>
            <p:sp>
              <p:nvSpPr>
                <p:cNvPr id="183" name="Problem_Based_Learning">
                  <a:extLst>
                    <a:ext uri="{FF2B5EF4-FFF2-40B4-BE49-F238E27FC236}">
                      <a16:creationId xmlns:a16="http://schemas.microsoft.com/office/drawing/2014/main" id="{10F96150-9425-42FE-9E15-C96B131DA222}"/>
                    </a:ext>
                  </a:extLst>
                </p:cNvPr>
                <p:cNvSpPr>
                  <a:spLocks/>
                </p:cNvSpPr>
                <p:nvPr>
                  <p:custDataLst>
                    <p:tags r:id="rId39"/>
                  </p:custDataLst>
                </p:nvPr>
              </p:nvSpPr>
              <p:spPr bwMode="auto">
                <a:xfrm>
                  <a:off x="85" y="46"/>
                  <a:ext cx="52" cy="60"/>
                </a:xfrm>
                <a:custGeom>
                  <a:avLst/>
                  <a:gdLst>
                    <a:gd name="T0" fmla="*/ 108 w 137"/>
                    <a:gd name="T1" fmla="*/ 160 h 160"/>
                    <a:gd name="T2" fmla="*/ 87 w 137"/>
                    <a:gd name="T3" fmla="*/ 149 h 160"/>
                    <a:gd name="T4" fmla="*/ 9 w 137"/>
                    <a:gd name="T5" fmla="*/ 45 h 160"/>
                    <a:gd name="T6" fmla="*/ 14 w 137"/>
                    <a:gd name="T7" fmla="*/ 9 h 160"/>
                    <a:gd name="T8" fmla="*/ 51 w 137"/>
                    <a:gd name="T9" fmla="*/ 14 h 160"/>
                    <a:gd name="T10" fmla="*/ 129 w 137"/>
                    <a:gd name="T11" fmla="*/ 118 h 160"/>
                    <a:gd name="T12" fmla="*/ 124 w 137"/>
                    <a:gd name="T13" fmla="*/ 155 h 160"/>
                    <a:gd name="T14" fmla="*/ 108 w 137"/>
                    <a:gd name="T15" fmla="*/ 160 h 16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7" h="160">
                      <a:moveTo>
                        <a:pt x="108" y="160"/>
                      </a:moveTo>
                      <a:cubicBezTo>
                        <a:pt x="100" y="160"/>
                        <a:pt x="92" y="156"/>
                        <a:pt x="87" y="149"/>
                      </a:cubicBezTo>
                      <a:lnTo>
                        <a:pt x="9" y="45"/>
                      </a:lnTo>
                      <a:cubicBezTo>
                        <a:pt x="0" y="34"/>
                        <a:pt x="3" y="17"/>
                        <a:pt x="14" y="9"/>
                      </a:cubicBezTo>
                      <a:cubicBezTo>
                        <a:pt x="26" y="0"/>
                        <a:pt x="42" y="2"/>
                        <a:pt x="51" y="14"/>
                      </a:cubicBezTo>
                      <a:lnTo>
                        <a:pt x="129" y="118"/>
                      </a:lnTo>
                      <a:cubicBezTo>
                        <a:pt x="137" y="130"/>
                        <a:pt x="135" y="146"/>
                        <a:pt x="124" y="155"/>
                      </a:cubicBezTo>
                      <a:cubicBezTo>
                        <a:pt x="119" y="158"/>
                        <a:pt x="113" y="160"/>
                        <a:pt x="108" y="16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noProof="0">
                    <a:ln>
                      <a:noFill/>
                    </a:ln>
                    <a:solidFill>
                      <a:prstClr val="black"/>
                    </a:solidFill>
                    <a:effectLst/>
                    <a:uLnTx/>
                    <a:uFillTx/>
                    <a:latin typeface="Calibri" panose="020F0502020204030204"/>
                    <a:ea typeface="+mn-ea"/>
                    <a:cs typeface="+mn-cs"/>
                  </a:endParaRPr>
                </a:p>
              </p:txBody>
            </p:sp>
            <p:sp>
              <p:nvSpPr>
                <p:cNvPr id="184" name="Problem_Based_Learning">
                  <a:extLst>
                    <a:ext uri="{FF2B5EF4-FFF2-40B4-BE49-F238E27FC236}">
                      <a16:creationId xmlns:a16="http://schemas.microsoft.com/office/drawing/2014/main" id="{57A0A478-E705-4C0B-BF85-E89660C3330F}"/>
                    </a:ext>
                  </a:extLst>
                </p:cNvPr>
                <p:cNvSpPr>
                  <a:spLocks/>
                </p:cNvSpPr>
                <p:nvPr>
                  <p:custDataLst>
                    <p:tags r:id="rId40"/>
                  </p:custDataLst>
                </p:nvPr>
              </p:nvSpPr>
              <p:spPr bwMode="auto">
                <a:xfrm>
                  <a:off x="7" y="134"/>
                  <a:ext cx="61" cy="41"/>
                </a:xfrm>
                <a:custGeom>
                  <a:avLst/>
                  <a:gdLst>
                    <a:gd name="T0" fmla="*/ 134 w 164"/>
                    <a:gd name="T1" fmla="*/ 108 h 108"/>
                    <a:gd name="T2" fmla="*/ 123 w 164"/>
                    <a:gd name="T3" fmla="*/ 106 h 108"/>
                    <a:gd name="T4" fmla="*/ 18 w 164"/>
                    <a:gd name="T5" fmla="*/ 53 h 108"/>
                    <a:gd name="T6" fmla="*/ 7 w 164"/>
                    <a:gd name="T7" fmla="*/ 18 h 108"/>
                    <a:gd name="T8" fmla="*/ 42 w 164"/>
                    <a:gd name="T9" fmla="*/ 7 h 108"/>
                    <a:gd name="T10" fmla="*/ 146 w 164"/>
                    <a:gd name="T11" fmla="*/ 59 h 108"/>
                    <a:gd name="T12" fmla="*/ 158 w 164"/>
                    <a:gd name="T13" fmla="*/ 94 h 108"/>
                    <a:gd name="T14" fmla="*/ 134 w 164"/>
                    <a:gd name="T15" fmla="*/ 108 h 1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4" h="108">
                      <a:moveTo>
                        <a:pt x="134" y="108"/>
                      </a:moveTo>
                      <a:cubicBezTo>
                        <a:pt x="130" y="108"/>
                        <a:pt x="126" y="107"/>
                        <a:pt x="123" y="106"/>
                      </a:cubicBezTo>
                      <a:lnTo>
                        <a:pt x="18" y="53"/>
                      </a:lnTo>
                      <a:cubicBezTo>
                        <a:pt x="6" y="47"/>
                        <a:pt x="0" y="31"/>
                        <a:pt x="7" y="18"/>
                      </a:cubicBezTo>
                      <a:cubicBezTo>
                        <a:pt x="13" y="6"/>
                        <a:pt x="29" y="0"/>
                        <a:pt x="42" y="7"/>
                      </a:cubicBezTo>
                      <a:lnTo>
                        <a:pt x="146" y="59"/>
                      </a:lnTo>
                      <a:cubicBezTo>
                        <a:pt x="159" y="65"/>
                        <a:pt x="164" y="81"/>
                        <a:pt x="158" y="94"/>
                      </a:cubicBezTo>
                      <a:cubicBezTo>
                        <a:pt x="153" y="103"/>
                        <a:pt x="144" y="108"/>
                        <a:pt x="134" y="108"/>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noProof="0">
                    <a:ln>
                      <a:noFill/>
                    </a:ln>
                    <a:solidFill>
                      <a:prstClr val="black"/>
                    </a:solidFill>
                    <a:effectLst/>
                    <a:uLnTx/>
                    <a:uFillTx/>
                    <a:latin typeface="Calibri" panose="020F0502020204030204"/>
                    <a:ea typeface="+mn-ea"/>
                    <a:cs typeface="+mn-cs"/>
                  </a:endParaRPr>
                </a:p>
              </p:txBody>
            </p:sp>
            <p:sp>
              <p:nvSpPr>
                <p:cNvPr id="185" name="Problem_Based_Learning">
                  <a:extLst>
                    <a:ext uri="{FF2B5EF4-FFF2-40B4-BE49-F238E27FC236}">
                      <a16:creationId xmlns:a16="http://schemas.microsoft.com/office/drawing/2014/main" id="{6F011AB8-6358-48CC-A458-8D0E66B1CAC6}"/>
                    </a:ext>
                  </a:extLst>
                </p:cNvPr>
                <p:cNvSpPr>
                  <a:spLocks/>
                </p:cNvSpPr>
                <p:nvPr>
                  <p:custDataLst>
                    <p:tags r:id="rId41"/>
                  </p:custDataLst>
                </p:nvPr>
              </p:nvSpPr>
              <p:spPr bwMode="auto">
                <a:xfrm>
                  <a:off x="369" y="134"/>
                  <a:ext cx="62" cy="41"/>
                </a:xfrm>
                <a:custGeom>
                  <a:avLst/>
                  <a:gdLst>
                    <a:gd name="T0" fmla="*/ 30 w 164"/>
                    <a:gd name="T1" fmla="*/ 108 h 108"/>
                    <a:gd name="T2" fmla="*/ 7 w 164"/>
                    <a:gd name="T3" fmla="*/ 94 h 108"/>
                    <a:gd name="T4" fmla="*/ 18 w 164"/>
                    <a:gd name="T5" fmla="*/ 59 h 108"/>
                    <a:gd name="T6" fmla="*/ 123 w 164"/>
                    <a:gd name="T7" fmla="*/ 7 h 108"/>
                    <a:gd name="T8" fmla="*/ 158 w 164"/>
                    <a:gd name="T9" fmla="*/ 18 h 108"/>
                    <a:gd name="T10" fmla="*/ 146 w 164"/>
                    <a:gd name="T11" fmla="*/ 53 h 108"/>
                    <a:gd name="T12" fmla="*/ 42 w 164"/>
                    <a:gd name="T13" fmla="*/ 106 h 108"/>
                    <a:gd name="T14" fmla="*/ 30 w 164"/>
                    <a:gd name="T15" fmla="*/ 108 h 1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4" h="108">
                      <a:moveTo>
                        <a:pt x="30" y="108"/>
                      </a:moveTo>
                      <a:cubicBezTo>
                        <a:pt x="20" y="108"/>
                        <a:pt x="11" y="103"/>
                        <a:pt x="7" y="94"/>
                      </a:cubicBezTo>
                      <a:cubicBezTo>
                        <a:pt x="0" y="81"/>
                        <a:pt x="5" y="65"/>
                        <a:pt x="18" y="59"/>
                      </a:cubicBezTo>
                      <a:lnTo>
                        <a:pt x="123" y="7"/>
                      </a:lnTo>
                      <a:cubicBezTo>
                        <a:pt x="135" y="0"/>
                        <a:pt x="151" y="6"/>
                        <a:pt x="158" y="18"/>
                      </a:cubicBezTo>
                      <a:cubicBezTo>
                        <a:pt x="164" y="31"/>
                        <a:pt x="159" y="47"/>
                        <a:pt x="146" y="53"/>
                      </a:cubicBezTo>
                      <a:lnTo>
                        <a:pt x="42" y="106"/>
                      </a:lnTo>
                      <a:cubicBezTo>
                        <a:pt x="38" y="107"/>
                        <a:pt x="34" y="108"/>
                        <a:pt x="30" y="108"/>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noProof="0">
                    <a:ln>
                      <a:noFill/>
                    </a:ln>
                    <a:solidFill>
                      <a:prstClr val="black"/>
                    </a:solidFill>
                    <a:effectLst/>
                    <a:uLnTx/>
                    <a:uFillTx/>
                    <a:latin typeface="Calibri" panose="020F0502020204030204"/>
                    <a:ea typeface="+mn-ea"/>
                    <a:cs typeface="+mn-cs"/>
                  </a:endParaRPr>
                </a:p>
              </p:txBody>
            </p:sp>
            <p:sp>
              <p:nvSpPr>
                <p:cNvPr id="186" name="Problem_Based_Learning">
                  <a:extLst>
                    <a:ext uri="{FF2B5EF4-FFF2-40B4-BE49-F238E27FC236}">
                      <a16:creationId xmlns:a16="http://schemas.microsoft.com/office/drawing/2014/main" id="{1547A45C-694B-4D71-A3E6-DD3A28A5A891}"/>
                    </a:ext>
                  </a:extLst>
                </p:cNvPr>
                <p:cNvSpPr>
                  <a:spLocks noEditPoints="1"/>
                </p:cNvSpPr>
                <p:nvPr>
                  <p:custDataLst>
                    <p:tags r:id="rId42"/>
                  </p:custDataLst>
                </p:nvPr>
              </p:nvSpPr>
              <p:spPr bwMode="auto">
                <a:xfrm>
                  <a:off x="87" y="106"/>
                  <a:ext cx="303" cy="373"/>
                </a:xfrm>
                <a:custGeom>
                  <a:avLst/>
                  <a:gdLst>
                    <a:gd name="T0" fmla="*/ 730 w 808"/>
                    <a:gd name="T1" fmla="*/ 391 h 989"/>
                    <a:gd name="T2" fmla="*/ 730 w 808"/>
                    <a:gd name="T3" fmla="*/ 365 h 989"/>
                    <a:gd name="T4" fmla="*/ 365 w 808"/>
                    <a:gd name="T5" fmla="*/ 0 h 989"/>
                    <a:gd name="T6" fmla="*/ 0 w 808"/>
                    <a:gd name="T7" fmla="*/ 365 h 989"/>
                    <a:gd name="T8" fmla="*/ 78 w 808"/>
                    <a:gd name="T9" fmla="*/ 590 h 989"/>
                    <a:gd name="T10" fmla="*/ 78 w 808"/>
                    <a:gd name="T11" fmla="*/ 989 h 989"/>
                    <a:gd name="T12" fmla="*/ 547 w 808"/>
                    <a:gd name="T13" fmla="*/ 989 h 989"/>
                    <a:gd name="T14" fmla="*/ 547 w 808"/>
                    <a:gd name="T15" fmla="*/ 860 h 989"/>
                    <a:gd name="T16" fmla="*/ 704 w 808"/>
                    <a:gd name="T17" fmla="*/ 704 h 989"/>
                    <a:gd name="T18" fmla="*/ 704 w 808"/>
                    <a:gd name="T19" fmla="*/ 626 h 989"/>
                    <a:gd name="T20" fmla="*/ 782 w 808"/>
                    <a:gd name="T21" fmla="*/ 626 h 989"/>
                    <a:gd name="T22" fmla="*/ 808 w 808"/>
                    <a:gd name="T23" fmla="*/ 600 h 989"/>
                    <a:gd name="T24" fmla="*/ 730 w 808"/>
                    <a:gd name="T25" fmla="*/ 391 h 989"/>
                    <a:gd name="T26" fmla="*/ 587 w 808"/>
                    <a:gd name="T27" fmla="*/ 387 h 989"/>
                    <a:gd name="T28" fmla="*/ 547 w 808"/>
                    <a:gd name="T29" fmla="*/ 365 h 989"/>
                    <a:gd name="T30" fmla="*/ 522 w 808"/>
                    <a:gd name="T31" fmla="*/ 385 h 989"/>
                    <a:gd name="T32" fmla="*/ 520 w 808"/>
                    <a:gd name="T33" fmla="*/ 474 h 989"/>
                    <a:gd name="T34" fmla="*/ 410 w 808"/>
                    <a:gd name="T35" fmla="*/ 473 h 989"/>
                    <a:gd name="T36" fmla="*/ 390 w 808"/>
                    <a:gd name="T37" fmla="*/ 449 h 989"/>
                    <a:gd name="T38" fmla="*/ 412 w 808"/>
                    <a:gd name="T39" fmla="*/ 409 h 989"/>
                    <a:gd name="T40" fmla="*/ 368 w 808"/>
                    <a:gd name="T41" fmla="*/ 364 h 989"/>
                    <a:gd name="T42" fmla="*/ 325 w 808"/>
                    <a:gd name="T43" fmla="*/ 409 h 989"/>
                    <a:gd name="T44" fmla="*/ 347 w 808"/>
                    <a:gd name="T45" fmla="*/ 449 h 989"/>
                    <a:gd name="T46" fmla="*/ 326 w 808"/>
                    <a:gd name="T47" fmla="*/ 473 h 989"/>
                    <a:gd name="T48" fmla="*/ 214 w 808"/>
                    <a:gd name="T49" fmla="*/ 474 h 989"/>
                    <a:gd name="T50" fmla="*/ 213 w 808"/>
                    <a:gd name="T51" fmla="*/ 385 h 989"/>
                    <a:gd name="T52" fmla="*/ 188 w 808"/>
                    <a:gd name="T53" fmla="*/ 365 h 989"/>
                    <a:gd name="T54" fmla="*/ 148 w 808"/>
                    <a:gd name="T55" fmla="*/ 387 h 989"/>
                    <a:gd name="T56" fmla="*/ 104 w 808"/>
                    <a:gd name="T57" fmla="*/ 344 h 989"/>
                    <a:gd name="T58" fmla="*/ 148 w 808"/>
                    <a:gd name="T59" fmla="*/ 300 h 989"/>
                    <a:gd name="T60" fmla="*/ 188 w 808"/>
                    <a:gd name="T61" fmla="*/ 322 h 989"/>
                    <a:gd name="T62" fmla="*/ 213 w 808"/>
                    <a:gd name="T63" fmla="*/ 302 h 989"/>
                    <a:gd name="T64" fmla="*/ 216 w 808"/>
                    <a:gd name="T65" fmla="*/ 213 h 989"/>
                    <a:gd name="T66" fmla="*/ 326 w 808"/>
                    <a:gd name="T67" fmla="*/ 203 h 989"/>
                    <a:gd name="T68" fmla="*/ 347 w 808"/>
                    <a:gd name="T69" fmla="*/ 227 h 989"/>
                    <a:gd name="T70" fmla="*/ 325 w 808"/>
                    <a:gd name="T71" fmla="*/ 267 h 989"/>
                    <a:gd name="T72" fmla="*/ 368 w 808"/>
                    <a:gd name="T73" fmla="*/ 312 h 989"/>
                    <a:gd name="T74" fmla="*/ 412 w 808"/>
                    <a:gd name="T75" fmla="*/ 267 h 989"/>
                    <a:gd name="T76" fmla="*/ 390 w 808"/>
                    <a:gd name="T77" fmla="*/ 227 h 989"/>
                    <a:gd name="T78" fmla="*/ 410 w 808"/>
                    <a:gd name="T79" fmla="*/ 203 h 989"/>
                    <a:gd name="T80" fmla="*/ 521 w 808"/>
                    <a:gd name="T81" fmla="*/ 213 h 989"/>
                    <a:gd name="T82" fmla="*/ 522 w 808"/>
                    <a:gd name="T83" fmla="*/ 302 h 989"/>
                    <a:gd name="T84" fmla="*/ 547 w 808"/>
                    <a:gd name="T85" fmla="*/ 322 h 989"/>
                    <a:gd name="T86" fmla="*/ 587 w 808"/>
                    <a:gd name="T87" fmla="*/ 300 h 989"/>
                    <a:gd name="T88" fmla="*/ 631 w 808"/>
                    <a:gd name="T89" fmla="*/ 344 h 989"/>
                    <a:gd name="T90" fmla="*/ 587 w 808"/>
                    <a:gd name="T91" fmla="*/ 387 h 9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8" h="989">
                      <a:moveTo>
                        <a:pt x="730" y="391"/>
                      </a:moveTo>
                      <a:lnTo>
                        <a:pt x="730" y="365"/>
                      </a:lnTo>
                      <a:cubicBezTo>
                        <a:pt x="730" y="163"/>
                        <a:pt x="566" y="0"/>
                        <a:pt x="365" y="0"/>
                      </a:cubicBezTo>
                      <a:cubicBezTo>
                        <a:pt x="163" y="0"/>
                        <a:pt x="0" y="163"/>
                        <a:pt x="0" y="365"/>
                      </a:cubicBezTo>
                      <a:cubicBezTo>
                        <a:pt x="0" y="450"/>
                        <a:pt x="29" y="528"/>
                        <a:pt x="78" y="590"/>
                      </a:cubicBezTo>
                      <a:lnTo>
                        <a:pt x="78" y="989"/>
                      </a:lnTo>
                      <a:lnTo>
                        <a:pt x="547" y="989"/>
                      </a:lnTo>
                      <a:lnTo>
                        <a:pt x="547" y="860"/>
                      </a:lnTo>
                      <a:cubicBezTo>
                        <a:pt x="634" y="860"/>
                        <a:pt x="704" y="790"/>
                        <a:pt x="704" y="704"/>
                      </a:cubicBezTo>
                      <a:lnTo>
                        <a:pt x="704" y="626"/>
                      </a:lnTo>
                      <a:lnTo>
                        <a:pt x="782" y="626"/>
                      </a:lnTo>
                      <a:cubicBezTo>
                        <a:pt x="796" y="626"/>
                        <a:pt x="808" y="614"/>
                        <a:pt x="808" y="600"/>
                      </a:cubicBezTo>
                      <a:cubicBezTo>
                        <a:pt x="808" y="593"/>
                        <a:pt x="730" y="391"/>
                        <a:pt x="730" y="391"/>
                      </a:cubicBezTo>
                      <a:close/>
                      <a:moveTo>
                        <a:pt x="587" y="387"/>
                      </a:moveTo>
                      <a:cubicBezTo>
                        <a:pt x="562" y="381"/>
                        <a:pt x="566" y="365"/>
                        <a:pt x="547" y="365"/>
                      </a:cubicBezTo>
                      <a:cubicBezTo>
                        <a:pt x="528" y="365"/>
                        <a:pt x="524" y="378"/>
                        <a:pt x="522" y="385"/>
                      </a:cubicBezTo>
                      <a:cubicBezTo>
                        <a:pt x="519" y="407"/>
                        <a:pt x="520" y="474"/>
                        <a:pt x="520" y="474"/>
                      </a:cubicBezTo>
                      <a:cubicBezTo>
                        <a:pt x="520" y="474"/>
                        <a:pt x="432" y="477"/>
                        <a:pt x="410" y="473"/>
                      </a:cubicBezTo>
                      <a:cubicBezTo>
                        <a:pt x="402" y="472"/>
                        <a:pt x="390" y="468"/>
                        <a:pt x="390" y="449"/>
                      </a:cubicBezTo>
                      <a:cubicBezTo>
                        <a:pt x="390" y="430"/>
                        <a:pt x="406" y="434"/>
                        <a:pt x="412" y="409"/>
                      </a:cubicBezTo>
                      <a:cubicBezTo>
                        <a:pt x="414" y="383"/>
                        <a:pt x="392" y="364"/>
                        <a:pt x="368" y="364"/>
                      </a:cubicBezTo>
                      <a:cubicBezTo>
                        <a:pt x="344" y="364"/>
                        <a:pt x="323" y="383"/>
                        <a:pt x="325" y="409"/>
                      </a:cubicBezTo>
                      <a:cubicBezTo>
                        <a:pt x="331" y="434"/>
                        <a:pt x="347" y="430"/>
                        <a:pt x="347" y="449"/>
                      </a:cubicBezTo>
                      <a:cubicBezTo>
                        <a:pt x="347" y="468"/>
                        <a:pt x="334" y="472"/>
                        <a:pt x="326" y="473"/>
                      </a:cubicBezTo>
                      <a:cubicBezTo>
                        <a:pt x="305" y="477"/>
                        <a:pt x="214" y="474"/>
                        <a:pt x="214" y="474"/>
                      </a:cubicBezTo>
                      <a:cubicBezTo>
                        <a:pt x="214" y="474"/>
                        <a:pt x="216" y="407"/>
                        <a:pt x="213" y="385"/>
                      </a:cubicBezTo>
                      <a:cubicBezTo>
                        <a:pt x="212" y="377"/>
                        <a:pt x="207" y="365"/>
                        <a:pt x="188" y="365"/>
                      </a:cubicBezTo>
                      <a:cubicBezTo>
                        <a:pt x="169" y="365"/>
                        <a:pt x="174" y="381"/>
                        <a:pt x="148" y="387"/>
                      </a:cubicBezTo>
                      <a:cubicBezTo>
                        <a:pt x="123" y="389"/>
                        <a:pt x="104" y="368"/>
                        <a:pt x="104" y="344"/>
                      </a:cubicBezTo>
                      <a:cubicBezTo>
                        <a:pt x="104" y="319"/>
                        <a:pt x="123" y="298"/>
                        <a:pt x="148" y="300"/>
                      </a:cubicBezTo>
                      <a:cubicBezTo>
                        <a:pt x="174" y="306"/>
                        <a:pt x="169" y="322"/>
                        <a:pt x="188" y="322"/>
                      </a:cubicBezTo>
                      <a:cubicBezTo>
                        <a:pt x="207" y="322"/>
                        <a:pt x="212" y="310"/>
                        <a:pt x="213" y="302"/>
                      </a:cubicBezTo>
                      <a:cubicBezTo>
                        <a:pt x="216" y="280"/>
                        <a:pt x="216" y="213"/>
                        <a:pt x="216" y="213"/>
                      </a:cubicBezTo>
                      <a:cubicBezTo>
                        <a:pt x="216" y="213"/>
                        <a:pt x="305" y="199"/>
                        <a:pt x="326" y="203"/>
                      </a:cubicBezTo>
                      <a:cubicBezTo>
                        <a:pt x="334" y="204"/>
                        <a:pt x="347" y="208"/>
                        <a:pt x="347" y="227"/>
                      </a:cubicBezTo>
                      <a:cubicBezTo>
                        <a:pt x="347" y="246"/>
                        <a:pt x="331" y="242"/>
                        <a:pt x="325" y="267"/>
                      </a:cubicBezTo>
                      <a:cubicBezTo>
                        <a:pt x="323" y="293"/>
                        <a:pt x="344" y="312"/>
                        <a:pt x="368" y="312"/>
                      </a:cubicBezTo>
                      <a:cubicBezTo>
                        <a:pt x="392" y="312"/>
                        <a:pt x="414" y="293"/>
                        <a:pt x="412" y="267"/>
                      </a:cubicBezTo>
                      <a:cubicBezTo>
                        <a:pt x="406" y="242"/>
                        <a:pt x="390" y="246"/>
                        <a:pt x="390" y="227"/>
                      </a:cubicBezTo>
                      <a:cubicBezTo>
                        <a:pt x="390" y="208"/>
                        <a:pt x="402" y="204"/>
                        <a:pt x="410" y="203"/>
                      </a:cubicBezTo>
                      <a:cubicBezTo>
                        <a:pt x="432" y="199"/>
                        <a:pt x="521" y="213"/>
                        <a:pt x="521" y="213"/>
                      </a:cubicBezTo>
                      <a:cubicBezTo>
                        <a:pt x="521" y="213"/>
                        <a:pt x="519" y="280"/>
                        <a:pt x="522" y="302"/>
                      </a:cubicBezTo>
                      <a:cubicBezTo>
                        <a:pt x="524" y="310"/>
                        <a:pt x="528" y="322"/>
                        <a:pt x="547" y="322"/>
                      </a:cubicBezTo>
                      <a:cubicBezTo>
                        <a:pt x="566" y="322"/>
                        <a:pt x="562" y="306"/>
                        <a:pt x="587" y="300"/>
                      </a:cubicBezTo>
                      <a:cubicBezTo>
                        <a:pt x="613" y="298"/>
                        <a:pt x="631" y="319"/>
                        <a:pt x="631" y="344"/>
                      </a:cubicBezTo>
                      <a:cubicBezTo>
                        <a:pt x="631" y="368"/>
                        <a:pt x="613" y="389"/>
                        <a:pt x="587" y="387"/>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noProof="0">
                    <a:ln>
                      <a:noFill/>
                    </a:ln>
                    <a:solidFill>
                      <a:prstClr val="black"/>
                    </a:solidFill>
                    <a:effectLst/>
                    <a:uLnTx/>
                    <a:uFillTx/>
                    <a:latin typeface="Calibri" panose="020F0502020204030204"/>
                    <a:ea typeface="+mn-ea"/>
                    <a:cs typeface="+mn-cs"/>
                  </a:endParaRPr>
                </a:p>
              </p:txBody>
            </p:sp>
          </p:grpSp>
        </p:grpSp>
      </p:grpSp>
      <p:grpSp>
        <p:nvGrpSpPr>
          <p:cNvPr id="187" name="Group 125">
            <a:extLst>
              <a:ext uri="{FF2B5EF4-FFF2-40B4-BE49-F238E27FC236}">
                <a16:creationId xmlns:a16="http://schemas.microsoft.com/office/drawing/2014/main" id="{678ABEE7-F59C-4371-AD92-796F0E05DAF4}"/>
              </a:ext>
            </a:extLst>
          </p:cNvPr>
          <p:cNvGrpSpPr/>
          <p:nvPr/>
        </p:nvGrpSpPr>
        <p:grpSpPr>
          <a:xfrm>
            <a:off x="7141067" y="3693925"/>
            <a:ext cx="288000" cy="288000"/>
            <a:chOff x="7095592" y="742073"/>
            <a:chExt cx="329184" cy="329184"/>
          </a:xfrm>
        </p:grpSpPr>
        <p:sp>
          <p:nvSpPr>
            <p:cNvPr id="188" name="Oval 137">
              <a:extLst>
                <a:ext uri="{FF2B5EF4-FFF2-40B4-BE49-F238E27FC236}">
                  <a16:creationId xmlns:a16="http://schemas.microsoft.com/office/drawing/2014/main" id="{E310E558-A14B-4DAB-B3CB-81A9DD053233}"/>
                </a:ext>
              </a:extLst>
            </p:cNvPr>
            <p:cNvSpPr/>
            <p:nvPr/>
          </p:nvSpPr>
          <p:spPr>
            <a:xfrm>
              <a:off x="7095592" y="742073"/>
              <a:ext cx="329184" cy="329184"/>
            </a:xfrm>
            <a:prstGeom prst="ellipse">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89" name="Group 127">
              <a:extLst>
                <a:ext uri="{FF2B5EF4-FFF2-40B4-BE49-F238E27FC236}">
                  <a16:creationId xmlns:a16="http://schemas.microsoft.com/office/drawing/2014/main" id="{A2107E2E-DCA2-428E-A236-40CAC2797862}"/>
                </a:ext>
              </a:extLst>
            </p:cNvPr>
            <p:cNvGrpSpPr/>
            <p:nvPr/>
          </p:nvGrpSpPr>
          <p:grpSpPr>
            <a:xfrm>
              <a:off x="7176816" y="778521"/>
              <a:ext cx="179310" cy="244447"/>
              <a:chOff x="7176816" y="778521"/>
              <a:chExt cx="179310" cy="244447"/>
            </a:xfrm>
          </p:grpSpPr>
          <p:sp>
            <p:nvSpPr>
              <p:cNvPr id="190" name="Seed" descr="{&quot;Key&quot;:&quot;POWER_USER_SHAPE_ICON&quot;,&quot;Value&quot;:&quot;POWER_USER_SHAPE_ICON_STYLE_1&quot;}">
                <a:extLst>
                  <a:ext uri="{FF2B5EF4-FFF2-40B4-BE49-F238E27FC236}">
                    <a16:creationId xmlns:a16="http://schemas.microsoft.com/office/drawing/2014/main" id="{EA2F81BC-C34F-498B-9A83-7EA7F8A3C105}"/>
                  </a:ext>
                </a:extLst>
              </p:cNvPr>
              <p:cNvSpPr>
                <a:spLocks noChangeAspect="1" noEditPoints="1"/>
              </p:cNvSpPr>
              <p:nvPr>
                <p:custDataLst>
                  <p:tags r:id="rId27"/>
                </p:custDataLst>
              </p:nvPr>
            </p:nvSpPr>
            <p:spPr bwMode="auto">
              <a:xfrm>
                <a:off x="7176816" y="878690"/>
                <a:ext cx="162838" cy="144278"/>
              </a:xfrm>
              <a:custGeom>
                <a:avLst/>
                <a:gdLst>
                  <a:gd name="T0" fmla="*/ 6744 w 11364"/>
                  <a:gd name="T1" fmla="*/ 3564 h 10067"/>
                  <a:gd name="T2" fmla="*/ 7042 w 11364"/>
                  <a:gd name="T3" fmla="*/ 3354 h 10067"/>
                  <a:gd name="T4" fmla="*/ 4139 w 11364"/>
                  <a:gd name="T5" fmla="*/ 214 h 10067"/>
                  <a:gd name="T6" fmla="*/ 5282 w 11364"/>
                  <a:gd name="T7" fmla="*/ 2733 h 10067"/>
                  <a:gd name="T8" fmla="*/ 10245 w 11364"/>
                  <a:gd name="T9" fmla="*/ 7311 h 10067"/>
                  <a:gd name="T10" fmla="*/ 7950 w 11364"/>
                  <a:gd name="T11" fmla="*/ 5369 h 10067"/>
                  <a:gd name="T12" fmla="*/ 7665 w 11364"/>
                  <a:gd name="T13" fmla="*/ 5315 h 10067"/>
                  <a:gd name="T14" fmla="*/ 7626 w 11364"/>
                  <a:gd name="T15" fmla="*/ 5310 h 10067"/>
                  <a:gd name="T16" fmla="*/ 7637 w 11364"/>
                  <a:gd name="T17" fmla="*/ 4576 h 10067"/>
                  <a:gd name="T18" fmla="*/ 7646 w 11364"/>
                  <a:gd name="T19" fmla="*/ 4476 h 10067"/>
                  <a:gd name="T20" fmla="*/ 7673 w 11364"/>
                  <a:gd name="T21" fmla="*/ 4234 h 10067"/>
                  <a:gd name="T22" fmla="*/ 8068 w 11364"/>
                  <a:gd name="T23" fmla="*/ 4029 h 10067"/>
                  <a:gd name="T24" fmla="*/ 11244 w 11364"/>
                  <a:gd name="T25" fmla="*/ 0 h 10067"/>
                  <a:gd name="T26" fmla="*/ 7516 w 11364"/>
                  <a:gd name="T27" fmla="*/ 2618 h 10067"/>
                  <a:gd name="T28" fmla="*/ 7233 w 11364"/>
                  <a:gd name="T29" fmla="*/ 4214 h 10067"/>
                  <a:gd name="T30" fmla="*/ 7224 w 11364"/>
                  <a:gd name="T31" fmla="*/ 5280 h 10067"/>
                  <a:gd name="T32" fmla="*/ 7082 w 11364"/>
                  <a:gd name="T33" fmla="*/ 5277 h 10067"/>
                  <a:gd name="T34" fmla="*/ 5070 w 11364"/>
                  <a:gd name="T35" fmla="*/ 6113 h 10067"/>
                  <a:gd name="T36" fmla="*/ 2454 w 11364"/>
                  <a:gd name="T37" fmla="*/ 5748 h 10067"/>
                  <a:gd name="T38" fmla="*/ 1979 w 11364"/>
                  <a:gd name="T39" fmla="*/ 5775 h 10067"/>
                  <a:gd name="T40" fmla="*/ 2514 w 11364"/>
                  <a:gd name="T41" fmla="*/ 6100 h 10067"/>
                  <a:gd name="T42" fmla="*/ 4816 w 11364"/>
                  <a:gd name="T43" fmla="*/ 6387 h 10067"/>
                  <a:gd name="T44" fmla="*/ 6145 w 11364"/>
                  <a:gd name="T45" fmla="*/ 6987 h 10067"/>
                  <a:gd name="T46" fmla="*/ 8301 w 11364"/>
                  <a:gd name="T47" fmla="*/ 7145 h 10067"/>
                  <a:gd name="T48" fmla="*/ 8758 w 11364"/>
                  <a:gd name="T49" fmla="*/ 7918 h 10067"/>
                  <a:gd name="T50" fmla="*/ 8461 w 11364"/>
                  <a:gd name="T51" fmla="*/ 8153 h 10067"/>
                  <a:gd name="T52" fmla="*/ 7099 w 11364"/>
                  <a:gd name="T53" fmla="*/ 8176 h 10067"/>
                  <a:gd name="T54" fmla="*/ 6945 w 11364"/>
                  <a:gd name="T55" fmla="*/ 8155 h 10067"/>
                  <a:gd name="T56" fmla="*/ 6316 w 11364"/>
                  <a:gd name="T57" fmla="*/ 8035 h 10067"/>
                  <a:gd name="T58" fmla="*/ 6020 w 11364"/>
                  <a:gd name="T59" fmla="*/ 7984 h 10067"/>
                  <a:gd name="T60" fmla="*/ 4994 w 11364"/>
                  <a:gd name="T61" fmla="*/ 8127 h 10067"/>
                  <a:gd name="T62" fmla="*/ 4903 w 11364"/>
                  <a:gd name="T63" fmla="*/ 8363 h 10067"/>
                  <a:gd name="T64" fmla="*/ 6233 w 11364"/>
                  <a:gd name="T65" fmla="*/ 8382 h 10067"/>
                  <a:gd name="T66" fmla="*/ 8735 w 11364"/>
                  <a:gd name="T67" fmla="*/ 8429 h 10067"/>
                  <a:gd name="T68" fmla="*/ 9563 w 11364"/>
                  <a:gd name="T69" fmla="*/ 8061 h 10067"/>
                  <a:gd name="T70" fmla="*/ 10404 w 11364"/>
                  <a:gd name="T71" fmla="*/ 7630 h 10067"/>
                  <a:gd name="T72" fmla="*/ 10935 w 11364"/>
                  <a:gd name="T73" fmla="*/ 7937 h 10067"/>
                  <a:gd name="T74" fmla="*/ 10018 w 11364"/>
                  <a:gd name="T75" fmla="*/ 8647 h 10067"/>
                  <a:gd name="T76" fmla="*/ 9086 w 11364"/>
                  <a:gd name="T77" fmla="*/ 9020 h 10067"/>
                  <a:gd name="T78" fmla="*/ 6547 w 11364"/>
                  <a:gd name="T79" fmla="*/ 9626 h 10067"/>
                  <a:gd name="T80" fmla="*/ 2148 w 11364"/>
                  <a:gd name="T81" fmla="*/ 8613 h 10067"/>
                  <a:gd name="T82" fmla="*/ 1979 w 11364"/>
                  <a:gd name="T83" fmla="*/ 8970 h 10067"/>
                  <a:gd name="T84" fmla="*/ 5139 w 11364"/>
                  <a:gd name="T85" fmla="*/ 9875 h 10067"/>
                  <a:gd name="T86" fmla="*/ 6619 w 11364"/>
                  <a:gd name="T87" fmla="*/ 9976 h 10067"/>
                  <a:gd name="T88" fmla="*/ 9235 w 11364"/>
                  <a:gd name="T89" fmla="*/ 9344 h 10067"/>
                  <a:gd name="T90" fmla="*/ 10176 w 11364"/>
                  <a:gd name="T91" fmla="*/ 8967 h 10067"/>
                  <a:gd name="T92" fmla="*/ 11194 w 11364"/>
                  <a:gd name="T93" fmla="*/ 8190 h 10067"/>
                  <a:gd name="T94" fmla="*/ 0 w 11364"/>
                  <a:gd name="T95" fmla="*/ 9309 h 10067"/>
                  <a:gd name="T96" fmla="*/ 1630 w 11364"/>
                  <a:gd name="T97" fmla="*/ 5351 h 10067"/>
                  <a:gd name="T98" fmla="*/ 0 w 11364"/>
                  <a:gd name="T99" fmla="*/ 9309 h 100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1364" h="10067">
                    <a:moveTo>
                      <a:pt x="5282" y="2733"/>
                    </a:moveTo>
                    <a:cubicBezTo>
                      <a:pt x="5856" y="3288"/>
                      <a:pt x="6390" y="3439"/>
                      <a:pt x="6744" y="3564"/>
                    </a:cubicBezTo>
                    <a:cubicBezTo>
                      <a:pt x="6525" y="2306"/>
                      <a:pt x="5827" y="1150"/>
                      <a:pt x="4589" y="609"/>
                    </a:cubicBezTo>
                    <a:cubicBezTo>
                      <a:pt x="5820" y="997"/>
                      <a:pt x="6676" y="2123"/>
                      <a:pt x="7042" y="3354"/>
                    </a:cubicBezTo>
                    <a:cubicBezTo>
                      <a:pt x="7112" y="2949"/>
                      <a:pt x="7216" y="2574"/>
                      <a:pt x="7358" y="2233"/>
                    </a:cubicBezTo>
                    <a:cubicBezTo>
                      <a:pt x="7006" y="1054"/>
                      <a:pt x="5918" y="214"/>
                      <a:pt x="4139" y="214"/>
                    </a:cubicBezTo>
                    <a:cubicBezTo>
                      <a:pt x="3920" y="214"/>
                      <a:pt x="3690" y="227"/>
                      <a:pt x="3450" y="253"/>
                    </a:cubicBezTo>
                    <a:cubicBezTo>
                      <a:pt x="4708" y="954"/>
                      <a:pt x="4033" y="1529"/>
                      <a:pt x="5282" y="2733"/>
                    </a:cubicBezTo>
                    <a:close/>
                    <a:moveTo>
                      <a:pt x="11174" y="7560"/>
                    </a:moveTo>
                    <a:cubicBezTo>
                      <a:pt x="11020" y="7299"/>
                      <a:pt x="10696" y="7094"/>
                      <a:pt x="10245" y="7311"/>
                    </a:cubicBezTo>
                    <a:lnTo>
                      <a:pt x="10145" y="7362"/>
                    </a:lnTo>
                    <a:cubicBezTo>
                      <a:pt x="9750" y="6361"/>
                      <a:pt x="9011" y="5620"/>
                      <a:pt x="7950" y="5369"/>
                    </a:cubicBezTo>
                    <a:cubicBezTo>
                      <a:pt x="7904" y="5358"/>
                      <a:pt x="7855" y="5350"/>
                      <a:pt x="7807" y="5341"/>
                    </a:cubicBezTo>
                    <a:cubicBezTo>
                      <a:pt x="7760" y="5332"/>
                      <a:pt x="7713" y="5323"/>
                      <a:pt x="7665" y="5315"/>
                    </a:cubicBezTo>
                    <a:lnTo>
                      <a:pt x="7665" y="5310"/>
                    </a:lnTo>
                    <a:lnTo>
                      <a:pt x="7626" y="5310"/>
                    </a:lnTo>
                    <a:cubicBezTo>
                      <a:pt x="7615" y="5095"/>
                      <a:pt x="7617" y="4877"/>
                      <a:pt x="7630" y="4658"/>
                    </a:cubicBezTo>
                    <a:cubicBezTo>
                      <a:pt x="7632" y="4631"/>
                      <a:pt x="7635" y="4603"/>
                      <a:pt x="7637" y="4576"/>
                    </a:cubicBezTo>
                    <a:cubicBezTo>
                      <a:pt x="7639" y="4548"/>
                      <a:pt x="7642" y="4521"/>
                      <a:pt x="7645" y="4493"/>
                    </a:cubicBezTo>
                    <a:cubicBezTo>
                      <a:pt x="7645" y="4487"/>
                      <a:pt x="7646" y="4482"/>
                      <a:pt x="7646" y="4476"/>
                    </a:cubicBezTo>
                    <a:cubicBezTo>
                      <a:pt x="7650" y="4440"/>
                      <a:pt x="7653" y="4405"/>
                      <a:pt x="7657" y="4369"/>
                    </a:cubicBezTo>
                    <a:cubicBezTo>
                      <a:pt x="7662" y="4324"/>
                      <a:pt x="7667" y="4279"/>
                      <a:pt x="7673" y="4234"/>
                    </a:cubicBezTo>
                    <a:cubicBezTo>
                      <a:pt x="7872" y="2771"/>
                      <a:pt x="8628" y="1348"/>
                      <a:pt x="9939" y="657"/>
                    </a:cubicBezTo>
                    <a:cubicBezTo>
                      <a:pt x="8766" y="1446"/>
                      <a:pt x="8183" y="2704"/>
                      <a:pt x="8068" y="4029"/>
                    </a:cubicBezTo>
                    <a:cubicBezTo>
                      <a:pt x="8412" y="3957"/>
                      <a:pt x="8947" y="3834"/>
                      <a:pt x="9555" y="3096"/>
                    </a:cubicBezTo>
                    <a:cubicBezTo>
                      <a:pt x="10606" y="1820"/>
                      <a:pt x="10037" y="1108"/>
                      <a:pt x="11244" y="0"/>
                    </a:cubicBezTo>
                    <a:cubicBezTo>
                      <a:pt x="9086" y="152"/>
                      <a:pt x="8041" y="1219"/>
                      <a:pt x="7569" y="2470"/>
                    </a:cubicBezTo>
                    <a:cubicBezTo>
                      <a:pt x="7551" y="2519"/>
                      <a:pt x="7533" y="2568"/>
                      <a:pt x="7516" y="2618"/>
                    </a:cubicBezTo>
                    <a:cubicBezTo>
                      <a:pt x="7499" y="2670"/>
                      <a:pt x="7482" y="2723"/>
                      <a:pt x="7466" y="2776"/>
                    </a:cubicBezTo>
                    <a:cubicBezTo>
                      <a:pt x="7324" y="3251"/>
                      <a:pt x="7255" y="3743"/>
                      <a:pt x="7233" y="4214"/>
                    </a:cubicBezTo>
                    <a:cubicBezTo>
                      <a:pt x="7227" y="4337"/>
                      <a:pt x="7224" y="4458"/>
                      <a:pt x="7224" y="4577"/>
                    </a:cubicBezTo>
                    <a:lnTo>
                      <a:pt x="7224" y="5280"/>
                    </a:lnTo>
                    <a:cubicBezTo>
                      <a:pt x="7190" y="5279"/>
                      <a:pt x="7156" y="5276"/>
                      <a:pt x="7121" y="5276"/>
                    </a:cubicBezTo>
                    <a:cubicBezTo>
                      <a:pt x="7107" y="5276"/>
                      <a:pt x="7095" y="5277"/>
                      <a:pt x="7082" y="5277"/>
                    </a:cubicBezTo>
                    <a:cubicBezTo>
                      <a:pt x="7033" y="5278"/>
                      <a:pt x="6986" y="5280"/>
                      <a:pt x="6939" y="5283"/>
                    </a:cubicBezTo>
                    <a:cubicBezTo>
                      <a:pt x="6217" y="5326"/>
                      <a:pt x="5581" y="5623"/>
                      <a:pt x="5070" y="6113"/>
                    </a:cubicBezTo>
                    <a:cubicBezTo>
                      <a:pt x="4740" y="5948"/>
                      <a:pt x="4382" y="5797"/>
                      <a:pt x="4006" y="5741"/>
                    </a:cubicBezTo>
                    <a:cubicBezTo>
                      <a:pt x="3196" y="5621"/>
                      <a:pt x="2767" y="5694"/>
                      <a:pt x="2454" y="5748"/>
                    </a:cubicBezTo>
                    <a:cubicBezTo>
                      <a:pt x="2277" y="5778"/>
                      <a:pt x="2149" y="5801"/>
                      <a:pt x="2006" y="5779"/>
                    </a:cubicBezTo>
                    <a:lnTo>
                      <a:pt x="1979" y="5775"/>
                    </a:lnTo>
                    <a:lnTo>
                      <a:pt x="1979" y="6135"/>
                    </a:lnTo>
                    <a:cubicBezTo>
                      <a:pt x="2167" y="6158"/>
                      <a:pt x="2329" y="6132"/>
                      <a:pt x="2514" y="6100"/>
                    </a:cubicBezTo>
                    <a:cubicBezTo>
                      <a:pt x="2820" y="6048"/>
                      <a:pt x="3200" y="5983"/>
                      <a:pt x="3953" y="6094"/>
                    </a:cubicBezTo>
                    <a:cubicBezTo>
                      <a:pt x="4247" y="6138"/>
                      <a:pt x="4539" y="6254"/>
                      <a:pt x="4816" y="6387"/>
                    </a:cubicBezTo>
                    <a:cubicBezTo>
                      <a:pt x="4964" y="6458"/>
                      <a:pt x="5108" y="6534"/>
                      <a:pt x="5246" y="6607"/>
                    </a:cubicBezTo>
                    <a:cubicBezTo>
                      <a:pt x="5584" y="6786"/>
                      <a:pt x="5875" y="6940"/>
                      <a:pt x="6145" y="6987"/>
                    </a:cubicBezTo>
                    <a:cubicBezTo>
                      <a:pt x="6374" y="7027"/>
                      <a:pt x="6617" y="7019"/>
                      <a:pt x="6873" y="7011"/>
                    </a:cubicBezTo>
                    <a:cubicBezTo>
                      <a:pt x="7279" y="6999"/>
                      <a:pt x="7740" y="6985"/>
                      <a:pt x="8301" y="7145"/>
                    </a:cubicBezTo>
                    <a:cubicBezTo>
                      <a:pt x="8622" y="7237"/>
                      <a:pt x="8803" y="7401"/>
                      <a:pt x="8825" y="7618"/>
                    </a:cubicBezTo>
                    <a:cubicBezTo>
                      <a:pt x="8835" y="7725"/>
                      <a:pt x="8806" y="7830"/>
                      <a:pt x="8758" y="7918"/>
                    </a:cubicBezTo>
                    <a:cubicBezTo>
                      <a:pt x="8709" y="8005"/>
                      <a:pt x="8640" y="8076"/>
                      <a:pt x="8571" y="8111"/>
                    </a:cubicBezTo>
                    <a:cubicBezTo>
                      <a:pt x="8540" y="8127"/>
                      <a:pt x="8502" y="8141"/>
                      <a:pt x="8461" y="8153"/>
                    </a:cubicBezTo>
                    <a:cubicBezTo>
                      <a:pt x="8371" y="8180"/>
                      <a:pt x="8259" y="8200"/>
                      <a:pt x="8128" y="8211"/>
                    </a:cubicBezTo>
                    <a:cubicBezTo>
                      <a:pt x="7846" y="8235"/>
                      <a:pt x="7483" y="8223"/>
                      <a:pt x="7099" y="8176"/>
                    </a:cubicBezTo>
                    <a:cubicBezTo>
                      <a:pt x="7067" y="8172"/>
                      <a:pt x="7035" y="8168"/>
                      <a:pt x="7003" y="8164"/>
                    </a:cubicBezTo>
                    <a:cubicBezTo>
                      <a:pt x="6984" y="8161"/>
                      <a:pt x="6965" y="8158"/>
                      <a:pt x="6945" y="8155"/>
                    </a:cubicBezTo>
                    <a:cubicBezTo>
                      <a:pt x="6790" y="8133"/>
                      <a:pt x="6633" y="8105"/>
                      <a:pt x="6477" y="8071"/>
                    </a:cubicBezTo>
                    <a:cubicBezTo>
                      <a:pt x="6423" y="8060"/>
                      <a:pt x="6370" y="8048"/>
                      <a:pt x="6316" y="8035"/>
                    </a:cubicBezTo>
                    <a:cubicBezTo>
                      <a:pt x="6270" y="8024"/>
                      <a:pt x="6226" y="8017"/>
                      <a:pt x="6181" y="8008"/>
                    </a:cubicBezTo>
                    <a:cubicBezTo>
                      <a:pt x="6126" y="7998"/>
                      <a:pt x="6072" y="7990"/>
                      <a:pt x="6020" y="7984"/>
                    </a:cubicBezTo>
                    <a:cubicBezTo>
                      <a:pt x="5990" y="7981"/>
                      <a:pt x="5960" y="7977"/>
                      <a:pt x="5931" y="7975"/>
                    </a:cubicBezTo>
                    <a:cubicBezTo>
                      <a:pt x="5524" y="7946"/>
                      <a:pt x="5206" y="8034"/>
                      <a:pt x="4994" y="8127"/>
                    </a:cubicBezTo>
                    <a:cubicBezTo>
                      <a:pt x="4960" y="8142"/>
                      <a:pt x="4936" y="8168"/>
                      <a:pt x="4918" y="8197"/>
                    </a:cubicBezTo>
                    <a:cubicBezTo>
                      <a:pt x="4888" y="8246"/>
                      <a:pt x="4878" y="8306"/>
                      <a:pt x="4903" y="8363"/>
                    </a:cubicBezTo>
                    <a:cubicBezTo>
                      <a:pt x="4943" y="8452"/>
                      <a:pt x="5048" y="8493"/>
                      <a:pt x="5138" y="8454"/>
                    </a:cubicBezTo>
                    <a:cubicBezTo>
                      <a:pt x="5465" y="8310"/>
                      <a:pt x="5833" y="8286"/>
                      <a:pt x="6233" y="8382"/>
                    </a:cubicBezTo>
                    <a:cubicBezTo>
                      <a:pt x="6732" y="8503"/>
                      <a:pt x="7317" y="8582"/>
                      <a:pt x="7817" y="8582"/>
                    </a:cubicBezTo>
                    <a:cubicBezTo>
                      <a:pt x="8196" y="8582"/>
                      <a:pt x="8527" y="8536"/>
                      <a:pt x="8735" y="8429"/>
                    </a:cubicBezTo>
                    <a:cubicBezTo>
                      <a:pt x="8828" y="8381"/>
                      <a:pt x="8910" y="8308"/>
                      <a:pt x="8978" y="8223"/>
                    </a:cubicBezTo>
                    <a:cubicBezTo>
                      <a:pt x="9279" y="8130"/>
                      <a:pt x="9558" y="8062"/>
                      <a:pt x="9563" y="8061"/>
                    </a:cubicBezTo>
                    <a:cubicBezTo>
                      <a:pt x="9577" y="8057"/>
                      <a:pt x="9590" y="8052"/>
                      <a:pt x="9603" y="8045"/>
                    </a:cubicBezTo>
                    <a:lnTo>
                      <a:pt x="10404" y="7630"/>
                    </a:lnTo>
                    <a:cubicBezTo>
                      <a:pt x="10627" y="7523"/>
                      <a:pt x="10731" y="7601"/>
                      <a:pt x="10766" y="7626"/>
                    </a:cubicBezTo>
                    <a:cubicBezTo>
                      <a:pt x="10877" y="7708"/>
                      <a:pt x="10927" y="7862"/>
                      <a:pt x="10935" y="7937"/>
                    </a:cubicBezTo>
                    <a:cubicBezTo>
                      <a:pt x="10867" y="7990"/>
                      <a:pt x="10749" y="8081"/>
                      <a:pt x="10619" y="8183"/>
                    </a:cubicBezTo>
                    <a:cubicBezTo>
                      <a:pt x="10396" y="8357"/>
                      <a:pt x="10058" y="8621"/>
                      <a:pt x="10018" y="8647"/>
                    </a:cubicBezTo>
                    <a:cubicBezTo>
                      <a:pt x="9989" y="8661"/>
                      <a:pt x="9867" y="8708"/>
                      <a:pt x="9720" y="8765"/>
                    </a:cubicBezTo>
                    <a:cubicBezTo>
                      <a:pt x="9489" y="8855"/>
                      <a:pt x="9201" y="8966"/>
                      <a:pt x="9086" y="9020"/>
                    </a:cubicBezTo>
                    <a:cubicBezTo>
                      <a:pt x="8816" y="9144"/>
                      <a:pt x="8300" y="9346"/>
                      <a:pt x="8196" y="9349"/>
                    </a:cubicBezTo>
                    <a:cubicBezTo>
                      <a:pt x="8024" y="9349"/>
                      <a:pt x="7346" y="9463"/>
                      <a:pt x="6547" y="9626"/>
                    </a:cubicBezTo>
                    <a:cubicBezTo>
                      <a:pt x="5919" y="9754"/>
                      <a:pt x="5696" y="9741"/>
                      <a:pt x="5291" y="9552"/>
                    </a:cubicBezTo>
                    <a:cubicBezTo>
                      <a:pt x="4872" y="9356"/>
                      <a:pt x="2441" y="8613"/>
                      <a:pt x="2148" y="8613"/>
                    </a:cubicBezTo>
                    <a:lnTo>
                      <a:pt x="1979" y="8613"/>
                    </a:lnTo>
                    <a:lnTo>
                      <a:pt x="1979" y="8970"/>
                    </a:lnTo>
                    <a:lnTo>
                      <a:pt x="2146" y="8970"/>
                    </a:lnTo>
                    <a:cubicBezTo>
                      <a:pt x="2378" y="8981"/>
                      <a:pt x="4685" y="9662"/>
                      <a:pt x="5139" y="9875"/>
                    </a:cubicBezTo>
                    <a:cubicBezTo>
                      <a:pt x="5427" y="10010"/>
                      <a:pt x="5655" y="10067"/>
                      <a:pt x="5917" y="10067"/>
                    </a:cubicBezTo>
                    <a:cubicBezTo>
                      <a:pt x="6117" y="10067"/>
                      <a:pt x="6337" y="10034"/>
                      <a:pt x="6619" y="9976"/>
                    </a:cubicBezTo>
                    <a:cubicBezTo>
                      <a:pt x="7530" y="9790"/>
                      <a:pt x="8089" y="9706"/>
                      <a:pt x="8196" y="9706"/>
                    </a:cubicBezTo>
                    <a:cubicBezTo>
                      <a:pt x="8437" y="9706"/>
                      <a:pt x="9228" y="9348"/>
                      <a:pt x="9235" y="9344"/>
                    </a:cubicBezTo>
                    <a:cubicBezTo>
                      <a:pt x="9341" y="9296"/>
                      <a:pt x="9635" y="9181"/>
                      <a:pt x="9849" y="9098"/>
                    </a:cubicBezTo>
                    <a:cubicBezTo>
                      <a:pt x="10069" y="9013"/>
                      <a:pt x="10148" y="8982"/>
                      <a:pt x="10176" y="8967"/>
                    </a:cubicBezTo>
                    <a:cubicBezTo>
                      <a:pt x="10216" y="8947"/>
                      <a:pt x="10303" y="8883"/>
                      <a:pt x="10839" y="8464"/>
                    </a:cubicBezTo>
                    <a:cubicBezTo>
                      <a:pt x="11008" y="8332"/>
                      <a:pt x="11155" y="8217"/>
                      <a:pt x="11194" y="8190"/>
                    </a:cubicBezTo>
                    <a:cubicBezTo>
                      <a:pt x="11364" y="8068"/>
                      <a:pt x="11285" y="7748"/>
                      <a:pt x="11174" y="7560"/>
                    </a:cubicBezTo>
                    <a:close/>
                    <a:moveTo>
                      <a:pt x="0" y="9309"/>
                    </a:moveTo>
                    <a:lnTo>
                      <a:pt x="1630" y="9309"/>
                    </a:lnTo>
                    <a:lnTo>
                      <a:pt x="1630" y="5351"/>
                    </a:lnTo>
                    <a:lnTo>
                      <a:pt x="0" y="5351"/>
                    </a:lnTo>
                    <a:lnTo>
                      <a:pt x="0" y="9309"/>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nvGrpSpPr>
              <p:cNvPr id="191" name="Problem_Based_Learning" descr="{&quot;Key&quot;:&quot;POWER_USER_SHAPE_ICON&quot;,&quot;Value&quot;:&quot;POWER_USER_SHAPE_ICON_STYLE_1&quot;}">
                <a:extLst>
                  <a:ext uri="{FF2B5EF4-FFF2-40B4-BE49-F238E27FC236}">
                    <a16:creationId xmlns:a16="http://schemas.microsoft.com/office/drawing/2014/main" id="{74C58191-7B01-4A7D-BD4F-AE20F129870D}"/>
                  </a:ext>
                </a:extLst>
              </p:cNvPr>
              <p:cNvGrpSpPr>
                <a:grpSpLocks noChangeAspect="1"/>
              </p:cNvGrpSpPr>
              <p:nvPr>
                <p:custDataLst>
                  <p:tags r:id="rId28"/>
                </p:custDataLst>
              </p:nvPr>
            </p:nvGrpSpPr>
            <p:grpSpPr bwMode="auto">
              <a:xfrm>
                <a:off x="7183815" y="778521"/>
                <a:ext cx="172311" cy="185669"/>
                <a:chOff x="7" y="8"/>
                <a:chExt cx="424" cy="471"/>
              </a:xfrm>
              <a:solidFill>
                <a:schemeClr val="bg1"/>
              </a:solidFill>
            </p:grpSpPr>
            <p:sp>
              <p:nvSpPr>
                <p:cNvPr id="192" name="Problem_Based_Learning">
                  <a:extLst>
                    <a:ext uri="{FF2B5EF4-FFF2-40B4-BE49-F238E27FC236}">
                      <a16:creationId xmlns:a16="http://schemas.microsoft.com/office/drawing/2014/main" id="{C7198BB5-8B02-4146-B011-247005B1A647}"/>
                    </a:ext>
                  </a:extLst>
                </p:cNvPr>
                <p:cNvSpPr>
                  <a:spLocks/>
                </p:cNvSpPr>
                <p:nvPr>
                  <p:custDataLst>
                    <p:tags r:id="rId29"/>
                  </p:custDataLst>
                </p:nvPr>
              </p:nvSpPr>
              <p:spPr bwMode="auto">
                <a:xfrm>
                  <a:off x="214" y="8"/>
                  <a:ext cx="20" cy="69"/>
                </a:xfrm>
                <a:custGeom>
                  <a:avLst/>
                  <a:gdLst>
                    <a:gd name="T0" fmla="*/ 26 w 52"/>
                    <a:gd name="T1" fmla="*/ 183 h 183"/>
                    <a:gd name="T2" fmla="*/ 0 w 52"/>
                    <a:gd name="T3" fmla="*/ 156 h 183"/>
                    <a:gd name="T4" fmla="*/ 0 w 52"/>
                    <a:gd name="T5" fmla="*/ 26 h 183"/>
                    <a:gd name="T6" fmla="*/ 26 w 52"/>
                    <a:gd name="T7" fmla="*/ 0 h 183"/>
                    <a:gd name="T8" fmla="*/ 52 w 52"/>
                    <a:gd name="T9" fmla="*/ 26 h 183"/>
                    <a:gd name="T10" fmla="*/ 52 w 52"/>
                    <a:gd name="T11" fmla="*/ 156 h 183"/>
                    <a:gd name="T12" fmla="*/ 26 w 52"/>
                    <a:gd name="T13" fmla="*/ 183 h 183"/>
                  </a:gdLst>
                  <a:ahLst/>
                  <a:cxnLst>
                    <a:cxn ang="0">
                      <a:pos x="T0" y="T1"/>
                    </a:cxn>
                    <a:cxn ang="0">
                      <a:pos x="T2" y="T3"/>
                    </a:cxn>
                    <a:cxn ang="0">
                      <a:pos x="T4" y="T5"/>
                    </a:cxn>
                    <a:cxn ang="0">
                      <a:pos x="T6" y="T7"/>
                    </a:cxn>
                    <a:cxn ang="0">
                      <a:pos x="T8" y="T9"/>
                    </a:cxn>
                    <a:cxn ang="0">
                      <a:pos x="T10" y="T11"/>
                    </a:cxn>
                    <a:cxn ang="0">
                      <a:pos x="T12" y="T13"/>
                    </a:cxn>
                  </a:cxnLst>
                  <a:rect l="0" t="0" r="r" b="b"/>
                  <a:pathLst>
                    <a:path w="52" h="183">
                      <a:moveTo>
                        <a:pt x="26" y="183"/>
                      </a:moveTo>
                      <a:cubicBezTo>
                        <a:pt x="11" y="183"/>
                        <a:pt x="0" y="171"/>
                        <a:pt x="0" y="156"/>
                      </a:cubicBezTo>
                      <a:lnTo>
                        <a:pt x="0" y="26"/>
                      </a:lnTo>
                      <a:cubicBezTo>
                        <a:pt x="0" y="12"/>
                        <a:pt x="11" y="0"/>
                        <a:pt x="26" y="0"/>
                      </a:cubicBezTo>
                      <a:cubicBezTo>
                        <a:pt x="40" y="0"/>
                        <a:pt x="52" y="12"/>
                        <a:pt x="52" y="26"/>
                      </a:cubicBezTo>
                      <a:lnTo>
                        <a:pt x="52" y="156"/>
                      </a:lnTo>
                      <a:cubicBezTo>
                        <a:pt x="52" y="171"/>
                        <a:pt x="40" y="183"/>
                        <a:pt x="26" y="183"/>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noProof="0">
                    <a:ln>
                      <a:noFill/>
                    </a:ln>
                    <a:solidFill>
                      <a:prstClr val="black"/>
                    </a:solidFill>
                    <a:effectLst/>
                    <a:uLnTx/>
                    <a:uFillTx/>
                    <a:latin typeface="Calibri" panose="020F0502020204030204"/>
                    <a:ea typeface="+mn-ea"/>
                    <a:cs typeface="+mn-cs"/>
                  </a:endParaRPr>
                </a:p>
              </p:txBody>
            </p:sp>
            <p:sp>
              <p:nvSpPr>
                <p:cNvPr id="193" name="Problem_Based_Learning">
                  <a:extLst>
                    <a:ext uri="{FF2B5EF4-FFF2-40B4-BE49-F238E27FC236}">
                      <a16:creationId xmlns:a16="http://schemas.microsoft.com/office/drawing/2014/main" id="{65EBD1BC-9BCC-4F87-840E-9569BB11EE56}"/>
                    </a:ext>
                  </a:extLst>
                </p:cNvPr>
                <p:cNvSpPr>
                  <a:spLocks/>
                </p:cNvSpPr>
                <p:nvPr>
                  <p:custDataLst>
                    <p:tags r:id="rId30"/>
                  </p:custDataLst>
                </p:nvPr>
              </p:nvSpPr>
              <p:spPr bwMode="auto">
                <a:xfrm>
                  <a:off x="301" y="46"/>
                  <a:ext cx="51" cy="60"/>
                </a:xfrm>
                <a:custGeom>
                  <a:avLst/>
                  <a:gdLst>
                    <a:gd name="T0" fmla="*/ 29 w 137"/>
                    <a:gd name="T1" fmla="*/ 160 h 160"/>
                    <a:gd name="T2" fmla="*/ 14 w 137"/>
                    <a:gd name="T3" fmla="*/ 155 h 160"/>
                    <a:gd name="T4" fmla="*/ 9 w 137"/>
                    <a:gd name="T5" fmla="*/ 118 h 160"/>
                    <a:gd name="T6" fmla="*/ 87 w 137"/>
                    <a:gd name="T7" fmla="*/ 14 h 160"/>
                    <a:gd name="T8" fmla="*/ 123 w 137"/>
                    <a:gd name="T9" fmla="*/ 9 h 160"/>
                    <a:gd name="T10" fmla="*/ 128 w 137"/>
                    <a:gd name="T11" fmla="*/ 45 h 160"/>
                    <a:gd name="T12" fmla="*/ 50 w 137"/>
                    <a:gd name="T13" fmla="*/ 149 h 160"/>
                    <a:gd name="T14" fmla="*/ 29 w 137"/>
                    <a:gd name="T15" fmla="*/ 160 h 16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7" h="160">
                      <a:moveTo>
                        <a:pt x="29" y="160"/>
                      </a:moveTo>
                      <a:cubicBezTo>
                        <a:pt x="24" y="160"/>
                        <a:pt x="18" y="158"/>
                        <a:pt x="14" y="155"/>
                      </a:cubicBezTo>
                      <a:cubicBezTo>
                        <a:pt x="2" y="146"/>
                        <a:pt x="0" y="130"/>
                        <a:pt x="9" y="118"/>
                      </a:cubicBezTo>
                      <a:lnTo>
                        <a:pt x="87" y="14"/>
                      </a:lnTo>
                      <a:cubicBezTo>
                        <a:pt x="95" y="2"/>
                        <a:pt x="112" y="0"/>
                        <a:pt x="123" y="9"/>
                      </a:cubicBezTo>
                      <a:cubicBezTo>
                        <a:pt x="135" y="17"/>
                        <a:pt x="137" y="34"/>
                        <a:pt x="128" y="45"/>
                      </a:cubicBezTo>
                      <a:lnTo>
                        <a:pt x="50" y="149"/>
                      </a:lnTo>
                      <a:cubicBezTo>
                        <a:pt x="45" y="156"/>
                        <a:pt x="37" y="160"/>
                        <a:pt x="29" y="16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noProof="0">
                    <a:ln>
                      <a:noFill/>
                    </a:ln>
                    <a:solidFill>
                      <a:prstClr val="black"/>
                    </a:solidFill>
                    <a:effectLst/>
                    <a:uLnTx/>
                    <a:uFillTx/>
                    <a:latin typeface="Calibri" panose="020F0502020204030204"/>
                    <a:ea typeface="+mn-ea"/>
                    <a:cs typeface="+mn-cs"/>
                  </a:endParaRPr>
                </a:p>
              </p:txBody>
            </p:sp>
            <p:sp>
              <p:nvSpPr>
                <p:cNvPr id="194" name="Problem_Based_Learning">
                  <a:extLst>
                    <a:ext uri="{FF2B5EF4-FFF2-40B4-BE49-F238E27FC236}">
                      <a16:creationId xmlns:a16="http://schemas.microsoft.com/office/drawing/2014/main" id="{D17E3572-9021-4FB4-A24D-D46BF22E2C0D}"/>
                    </a:ext>
                  </a:extLst>
                </p:cNvPr>
                <p:cNvSpPr>
                  <a:spLocks/>
                </p:cNvSpPr>
                <p:nvPr>
                  <p:custDataLst>
                    <p:tags r:id="rId31"/>
                  </p:custDataLst>
                </p:nvPr>
              </p:nvSpPr>
              <p:spPr bwMode="auto">
                <a:xfrm>
                  <a:off x="85" y="46"/>
                  <a:ext cx="52" cy="60"/>
                </a:xfrm>
                <a:custGeom>
                  <a:avLst/>
                  <a:gdLst>
                    <a:gd name="T0" fmla="*/ 108 w 137"/>
                    <a:gd name="T1" fmla="*/ 160 h 160"/>
                    <a:gd name="T2" fmla="*/ 87 w 137"/>
                    <a:gd name="T3" fmla="*/ 149 h 160"/>
                    <a:gd name="T4" fmla="*/ 9 w 137"/>
                    <a:gd name="T5" fmla="*/ 45 h 160"/>
                    <a:gd name="T6" fmla="*/ 14 w 137"/>
                    <a:gd name="T7" fmla="*/ 9 h 160"/>
                    <a:gd name="T8" fmla="*/ 51 w 137"/>
                    <a:gd name="T9" fmla="*/ 14 h 160"/>
                    <a:gd name="T10" fmla="*/ 129 w 137"/>
                    <a:gd name="T11" fmla="*/ 118 h 160"/>
                    <a:gd name="T12" fmla="*/ 124 w 137"/>
                    <a:gd name="T13" fmla="*/ 155 h 160"/>
                    <a:gd name="T14" fmla="*/ 108 w 137"/>
                    <a:gd name="T15" fmla="*/ 160 h 16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7" h="160">
                      <a:moveTo>
                        <a:pt x="108" y="160"/>
                      </a:moveTo>
                      <a:cubicBezTo>
                        <a:pt x="100" y="160"/>
                        <a:pt x="92" y="156"/>
                        <a:pt x="87" y="149"/>
                      </a:cubicBezTo>
                      <a:lnTo>
                        <a:pt x="9" y="45"/>
                      </a:lnTo>
                      <a:cubicBezTo>
                        <a:pt x="0" y="34"/>
                        <a:pt x="3" y="17"/>
                        <a:pt x="14" y="9"/>
                      </a:cubicBezTo>
                      <a:cubicBezTo>
                        <a:pt x="26" y="0"/>
                        <a:pt x="42" y="2"/>
                        <a:pt x="51" y="14"/>
                      </a:cubicBezTo>
                      <a:lnTo>
                        <a:pt x="129" y="118"/>
                      </a:lnTo>
                      <a:cubicBezTo>
                        <a:pt x="137" y="130"/>
                        <a:pt x="135" y="146"/>
                        <a:pt x="124" y="155"/>
                      </a:cubicBezTo>
                      <a:cubicBezTo>
                        <a:pt x="119" y="158"/>
                        <a:pt x="113" y="160"/>
                        <a:pt x="108" y="16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noProof="0">
                    <a:ln>
                      <a:noFill/>
                    </a:ln>
                    <a:solidFill>
                      <a:prstClr val="black"/>
                    </a:solidFill>
                    <a:effectLst/>
                    <a:uLnTx/>
                    <a:uFillTx/>
                    <a:latin typeface="Calibri" panose="020F0502020204030204"/>
                    <a:ea typeface="+mn-ea"/>
                    <a:cs typeface="+mn-cs"/>
                  </a:endParaRPr>
                </a:p>
              </p:txBody>
            </p:sp>
            <p:sp>
              <p:nvSpPr>
                <p:cNvPr id="195" name="Problem_Based_Learning">
                  <a:extLst>
                    <a:ext uri="{FF2B5EF4-FFF2-40B4-BE49-F238E27FC236}">
                      <a16:creationId xmlns:a16="http://schemas.microsoft.com/office/drawing/2014/main" id="{6B26C029-ACAF-479A-9A59-CE242C3CD838}"/>
                    </a:ext>
                  </a:extLst>
                </p:cNvPr>
                <p:cNvSpPr>
                  <a:spLocks/>
                </p:cNvSpPr>
                <p:nvPr>
                  <p:custDataLst>
                    <p:tags r:id="rId32"/>
                  </p:custDataLst>
                </p:nvPr>
              </p:nvSpPr>
              <p:spPr bwMode="auto">
                <a:xfrm>
                  <a:off x="7" y="134"/>
                  <a:ext cx="61" cy="41"/>
                </a:xfrm>
                <a:custGeom>
                  <a:avLst/>
                  <a:gdLst>
                    <a:gd name="T0" fmla="*/ 134 w 164"/>
                    <a:gd name="T1" fmla="*/ 108 h 108"/>
                    <a:gd name="T2" fmla="*/ 123 w 164"/>
                    <a:gd name="T3" fmla="*/ 106 h 108"/>
                    <a:gd name="T4" fmla="*/ 18 w 164"/>
                    <a:gd name="T5" fmla="*/ 53 h 108"/>
                    <a:gd name="T6" fmla="*/ 7 w 164"/>
                    <a:gd name="T7" fmla="*/ 18 h 108"/>
                    <a:gd name="T8" fmla="*/ 42 w 164"/>
                    <a:gd name="T9" fmla="*/ 7 h 108"/>
                    <a:gd name="T10" fmla="*/ 146 w 164"/>
                    <a:gd name="T11" fmla="*/ 59 h 108"/>
                    <a:gd name="T12" fmla="*/ 158 w 164"/>
                    <a:gd name="T13" fmla="*/ 94 h 108"/>
                    <a:gd name="T14" fmla="*/ 134 w 164"/>
                    <a:gd name="T15" fmla="*/ 108 h 1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4" h="108">
                      <a:moveTo>
                        <a:pt x="134" y="108"/>
                      </a:moveTo>
                      <a:cubicBezTo>
                        <a:pt x="130" y="108"/>
                        <a:pt x="126" y="107"/>
                        <a:pt x="123" y="106"/>
                      </a:cubicBezTo>
                      <a:lnTo>
                        <a:pt x="18" y="53"/>
                      </a:lnTo>
                      <a:cubicBezTo>
                        <a:pt x="6" y="47"/>
                        <a:pt x="0" y="31"/>
                        <a:pt x="7" y="18"/>
                      </a:cubicBezTo>
                      <a:cubicBezTo>
                        <a:pt x="13" y="6"/>
                        <a:pt x="29" y="0"/>
                        <a:pt x="42" y="7"/>
                      </a:cubicBezTo>
                      <a:lnTo>
                        <a:pt x="146" y="59"/>
                      </a:lnTo>
                      <a:cubicBezTo>
                        <a:pt x="159" y="65"/>
                        <a:pt x="164" y="81"/>
                        <a:pt x="158" y="94"/>
                      </a:cubicBezTo>
                      <a:cubicBezTo>
                        <a:pt x="153" y="103"/>
                        <a:pt x="144" y="108"/>
                        <a:pt x="134" y="108"/>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noProof="0">
                    <a:ln>
                      <a:noFill/>
                    </a:ln>
                    <a:solidFill>
                      <a:prstClr val="black"/>
                    </a:solidFill>
                    <a:effectLst/>
                    <a:uLnTx/>
                    <a:uFillTx/>
                    <a:latin typeface="Calibri" panose="020F0502020204030204"/>
                    <a:ea typeface="+mn-ea"/>
                    <a:cs typeface="+mn-cs"/>
                  </a:endParaRPr>
                </a:p>
              </p:txBody>
            </p:sp>
            <p:sp>
              <p:nvSpPr>
                <p:cNvPr id="196" name="Problem_Based_Learning">
                  <a:extLst>
                    <a:ext uri="{FF2B5EF4-FFF2-40B4-BE49-F238E27FC236}">
                      <a16:creationId xmlns:a16="http://schemas.microsoft.com/office/drawing/2014/main" id="{368B48DB-8BEB-4A7E-890B-AE76E6411441}"/>
                    </a:ext>
                  </a:extLst>
                </p:cNvPr>
                <p:cNvSpPr>
                  <a:spLocks/>
                </p:cNvSpPr>
                <p:nvPr>
                  <p:custDataLst>
                    <p:tags r:id="rId33"/>
                  </p:custDataLst>
                </p:nvPr>
              </p:nvSpPr>
              <p:spPr bwMode="auto">
                <a:xfrm>
                  <a:off x="369" y="134"/>
                  <a:ext cx="62" cy="41"/>
                </a:xfrm>
                <a:custGeom>
                  <a:avLst/>
                  <a:gdLst>
                    <a:gd name="T0" fmla="*/ 30 w 164"/>
                    <a:gd name="T1" fmla="*/ 108 h 108"/>
                    <a:gd name="T2" fmla="*/ 7 w 164"/>
                    <a:gd name="T3" fmla="*/ 94 h 108"/>
                    <a:gd name="T4" fmla="*/ 18 w 164"/>
                    <a:gd name="T5" fmla="*/ 59 h 108"/>
                    <a:gd name="T6" fmla="*/ 123 w 164"/>
                    <a:gd name="T7" fmla="*/ 7 h 108"/>
                    <a:gd name="T8" fmla="*/ 158 w 164"/>
                    <a:gd name="T9" fmla="*/ 18 h 108"/>
                    <a:gd name="T10" fmla="*/ 146 w 164"/>
                    <a:gd name="T11" fmla="*/ 53 h 108"/>
                    <a:gd name="T12" fmla="*/ 42 w 164"/>
                    <a:gd name="T13" fmla="*/ 106 h 108"/>
                    <a:gd name="T14" fmla="*/ 30 w 164"/>
                    <a:gd name="T15" fmla="*/ 108 h 1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4" h="108">
                      <a:moveTo>
                        <a:pt x="30" y="108"/>
                      </a:moveTo>
                      <a:cubicBezTo>
                        <a:pt x="20" y="108"/>
                        <a:pt x="11" y="103"/>
                        <a:pt x="7" y="94"/>
                      </a:cubicBezTo>
                      <a:cubicBezTo>
                        <a:pt x="0" y="81"/>
                        <a:pt x="5" y="65"/>
                        <a:pt x="18" y="59"/>
                      </a:cubicBezTo>
                      <a:lnTo>
                        <a:pt x="123" y="7"/>
                      </a:lnTo>
                      <a:cubicBezTo>
                        <a:pt x="135" y="0"/>
                        <a:pt x="151" y="6"/>
                        <a:pt x="158" y="18"/>
                      </a:cubicBezTo>
                      <a:cubicBezTo>
                        <a:pt x="164" y="31"/>
                        <a:pt x="159" y="47"/>
                        <a:pt x="146" y="53"/>
                      </a:cubicBezTo>
                      <a:lnTo>
                        <a:pt x="42" y="106"/>
                      </a:lnTo>
                      <a:cubicBezTo>
                        <a:pt x="38" y="107"/>
                        <a:pt x="34" y="108"/>
                        <a:pt x="30" y="108"/>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noProof="0">
                    <a:ln>
                      <a:noFill/>
                    </a:ln>
                    <a:solidFill>
                      <a:prstClr val="black"/>
                    </a:solidFill>
                    <a:effectLst/>
                    <a:uLnTx/>
                    <a:uFillTx/>
                    <a:latin typeface="Calibri" panose="020F0502020204030204"/>
                    <a:ea typeface="+mn-ea"/>
                    <a:cs typeface="+mn-cs"/>
                  </a:endParaRPr>
                </a:p>
              </p:txBody>
            </p:sp>
            <p:sp>
              <p:nvSpPr>
                <p:cNvPr id="197" name="Problem_Based_Learning">
                  <a:extLst>
                    <a:ext uri="{FF2B5EF4-FFF2-40B4-BE49-F238E27FC236}">
                      <a16:creationId xmlns:a16="http://schemas.microsoft.com/office/drawing/2014/main" id="{4091AE65-F46B-46C1-84FC-267F4E9F22E1}"/>
                    </a:ext>
                  </a:extLst>
                </p:cNvPr>
                <p:cNvSpPr>
                  <a:spLocks noEditPoints="1"/>
                </p:cNvSpPr>
                <p:nvPr>
                  <p:custDataLst>
                    <p:tags r:id="rId34"/>
                  </p:custDataLst>
                </p:nvPr>
              </p:nvSpPr>
              <p:spPr bwMode="auto">
                <a:xfrm>
                  <a:off x="87" y="106"/>
                  <a:ext cx="303" cy="373"/>
                </a:xfrm>
                <a:custGeom>
                  <a:avLst/>
                  <a:gdLst>
                    <a:gd name="T0" fmla="*/ 730 w 808"/>
                    <a:gd name="T1" fmla="*/ 391 h 989"/>
                    <a:gd name="T2" fmla="*/ 730 w 808"/>
                    <a:gd name="T3" fmla="*/ 365 h 989"/>
                    <a:gd name="T4" fmla="*/ 365 w 808"/>
                    <a:gd name="T5" fmla="*/ 0 h 989"/>
                    <a:gd name="T6" fmla="*/ 0 w 808"/>
                    <a:gd name="T7" fmla="*/ 365 h 989"/>
                    <a:gd name="T8" fmla="*/ 78 w 808"/>
                    <a:gd name="T9" fmla="*/ 590 h 989"/>
                    <a:gd name="T10" fmla="*/ 78 w 808"/>
                    <a:gd name="T11" fmla="*/ 989 h 989"/>
                    <a:gd name="T12" fmla="*/ 547 w 808"/>
                    <a:gd name="T13" fmla="*/ 989 h 989"/>
                    <a:gd name="T14" fmla="*/ 547 w 808"/>
                    <a:gd name="T15" fmla="*/ 860 h 989"/>
                    <a:gd name="T16" fmla="*/ 704 w 808"/>
                    <a:gd name="T17" fmla="*/ 704 h 989"/>
                    <a:gd name="T18" fmla="*/ 704 w 808"/>
                    <a:gd name="T19" fmla="*/ 626 h 989"/>
                    <a:gd name="T20" fmla="*/ 782 w 808"/>
                    <a:gd name="T21" fmla="*/ 626 h 989"/>
                    <a:gd name="T22" fmla="*/ 808 w 808"/>
                    <a:gd name="T23" fmla="*/ 600 h 989"/>
                    <a:gd name="T24" fmla="*/ 730 w 808"/>
                    <a:gd name="T25" fmla="*/ 391 h 989"/>
                    <a:gd name="T26" fmla="*/ 587 w 808"/>
                    <a:gd name="T27" fmla="*/ 387 h 989"/>
                    <a:gd name="T28" fmla="*/ 547 w 808"/>
                    <a:gd name="T29" fmla="*/ 365 h 989"/>
                    <a:gd name="T30" fmla="*/ 522 w 808"/>
                    <a:gd name="T31" fmla="*/ 385 h 989"/>
                    <a:gd name="T32" fmla="*/ 520 w 808"/>
                    <a:gd name="T33" fmla="*/ 474 h 989"/>
                    <a:gd name="T34" fmla="*/ 410 w 808"/>
                    <a:gd name="T35" fmla="*/ 473 h 989"/>
                    <a:gd name="T36" fmla="*/ 390 w 808"/>
                    <a:gd name="T37" fmla="*/ 449 h 989"/>
                    <a:gd name="T38" fmla="*/ 412 w 808"/>
                    <a:gd name="T39" fmla="*/ 409 h 989"/>
                    <a:gd name="T40" fmla="*/ 368 w 808"/>
                    <a:gd name="T41" fmla="*/ 364 h 989"/>
                    <a:gd name="T42" fmla="*/ 325 w 808"/>
                    <a:gd name="T43" fmla="*/ 409 h 989"/>
                    <a:gd name="T44" fmla="*/ 347 w 808"/>
                    <a:gd name="T45" fmla="*/ 449 h 989"/>
                    <a:gd name="T46" fmla="*/ 326 w 808"/>
                    <a:gd name="T47" fmla="*/ 473 h 989"/>
                    <a:gd name="T48" fmla="*/ 214 w 808"/>
                    <a:gd name="T49" fmla="*/ 474 h 989"/>
                    <a:gd name="T50" fmla="*/ 213 w 808"/>
                    <a:gd name="T51" fmla="*/ 385 h 989"/>
                    <a:gd name="T52" fmla="*/ 188 w 808"/>
                    <a:gd name="T53" fmla="*/ 365 h 989"/>
                    <a:gd name="T54" fmla="*/ 148 w 808"/>
                    <a:gd name="T55" fmla="*/ 387 h 989"/>
                    <a:gd name="T56" fmla="*/ 104 w 808"/>
                    <a:gd name="T57" fmla="*/ 344 h 989"/>
                    <a:gd name="T58" fmla="*/ 148 w 808"/>
                    <a:gd name="T59" fmla="*/ 300 h 989"/>
                    <a:gd name="T60" fmla="*/ 188 w 808"/>
                    <a:gd name="T61" fmla="*/ 322 h 989"/>
                    <a:gd name="T62" fmla="*/ 213 w 808"/>
                    <a:gd name="T63" fmla="*/ 302 h 989"/>
                    <a:gd name="T64" fmla="*/ 216 w 808"/>
                    <a:gd name="T65" fmla="*/ 213 h 989"/>
                    <a:gd name="T66" fmla="*/ 326 w 808"/>
                    <a:gd name="T67" fmla="*/ 203 h 989"/>
                    <a:gd name="T68" fmla="*/ 347 w 808"/>
                    <a:gd name="T69" fmla="*/ 227 h 989"/>
                    <a:gd name="T70" fmla="*/ 325 w 808"/>
                    <a:gd name="T71" fmla="*/ 267 h 989"/>
                    <a:gd name="T72" fmla="*/ 368 w 808"/>
                    <a:gd name="T73" fmla="*/ 312 h 989"/>
                    <a:gd name="T74" fmla="*/ 412 w 808"/>
                    <a:gd name="T75" fmla="*/ 267 h 989"/>
                    <a:gd name="T76" fmla="*/ 390 w 808"/>
                    <a:gd name="T77" fmla="*/ 227 h 989"/>
                    <a:gd name="T78" fmla="*/ 410 w 808"/>
                    <a:gd name="T79" fmla="*/ 203 h 989"/>
                    <a:gd name="T80" fmla="*/ 521 w 808"/>
                    <a:gd name="T81" fmla="*/ 213 h 989"/>
                    <a:gd name="T82" fmla="*/ 522 w 808"/>
                    <a:gd name="T83" fmla="*/ 302 h 989"/>
                    <a:gd name="T84" fmla="*/ 547 w 808"/>
                    <a:gd name="T85" fmla="*/ 322 h 989"/>
                    <a:gd name="T86" fmla="*/ 587 w 808"/>
                    <a:gd name="T87" fmla="*/ 300 h 989"/>
                    <a:gd name="T88" fmla="*/ 631 w 808"/>
                    <a:gd name="T89" fmla="*/ 344 h 989"/>
                    <a:gd name="T90" fmla="*/ 587 w 808"/>
                    <a:gd name="T91" fmla="*/ 387 h 9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8" h="989">
                      <a:moveTo>
                        <a:pt x="730" y="391"/>
                      </a:moveTo>
                      <a:lnTo>
                        <a:pt x="730" y="365"/>
                      </a:lnTo>
                      <a:cubicBezTo>
                        <a:pt x="730" y="163"/>
                        <a:pt x="566" y="0"/>
                        <a:pt x="365" y="0"/>
                      </a:cubicBezTo>
                      <a:cubicBezTo>
                        <a:pt x="163" y="0"/>
                        <a:pt x="0" y="163"/>
                        <a:pt x="0" y="365"/>
                      </a:cubicBezTo>
                      <a:cubicBezTo>
                        <a:pt x="0" y="450"/>
                        <a:pt x="29" y="528"/>
                        <a:pt x="78" y="590"/>
                      </a:cubicBezTo>
                      <a:lnTo>
                        <a:pt x="78" y="989"/>
                      </a:lnTo>
                      <a:lnTo>
                        <a:pt x="547" y="989"/>
                      </a:lnTo>
                      <a:lnTo>
                        <a:pt x="547" y="860"/>
                      </a:lnTo>
                      <a:cubicBezTo>
                        <a:pt x="634" y="860"/>
                        <a:pt x="704" y="790"/>
                        <a:pt x="704" y="704"/>
                      </a:cubicBezTo>
                      <a:lnTo>
                        <a:pt x="704" y="626"/>
                      </a:lnTo>
                      <a:lnTo>
                        <a:pt x="782" y="626"/>
                      </a:lnTo>
                      <a:cubicBezTo>
                        <a:pt x="796" y="626"/>
                        <a:pt x="808" y="614"/>
                        <a:pt x="808" y="600"/>
                      </a:cubicBezTo>
                      <a:cubicBezTo>
                        <a:pt x="808" y="593"/>
                        <a:pt x="730" y="391"/>
                        <a:pt x="730" y="391"/>
                      </a:cubicBezTo>
                      <a:close/>
                      <a:moveTo>
                        <a:pt x="587" y="387"/>
                      </a:moveTo>
                      <a:cubicBezTo>
                        <a:pt x="562" y="381"/>
                        <a:pt x="566" y="365"/>
                        <a:pt x="547" y="365"/>
                      </a:cubicBezTo>
                      <a:cubicBezTo>
                        <a:pt x="528" y="365"/>
                        <a:pt x="524" y="378"/>
                        <a:pt x="522" y="385"/>
                      </a:cubicBezTo>
                      <a:cubicBezTo>
                        <a:pt x="519" y="407"/>
                        <a:pt x="520" y="474"/>
                        <a:pt x="520" y="474"/>
                      </a:cubicBezTo>
                      <a:cubicBezTo>
                        <a:pt x="520" y="474"/>
                        <a:pt x="432" y="477"/>
                        <a:pt x="410" y="473"/>
                      </a:cubicBezTo>
                      <a:cubicBezTo>
                        <a:pt x="402" y="472"/>
                        <a:pt x="390" y="468"/>
                        <a:pt x="390" y="449"/>
                      </a:cubicBezTo>
                      <a:cubicBezTo>
                        <a:pt x="390" y="430"/>
                        <a:pt x="406" y="434"/>
                        <a:pt x="412" y="409"/>
                      </a:cubicBezTo>
                      <a:cubicBezTo>
                        <a:pt x="414" y="383"/>
                        <a:pt x="392" y="364"/>
                        <a:pt x="368" y="364"/>
                      </a:cubicBezTo>
                      <a:cubicBezTo>
                        <a:pt x="344" y="364"/>
                        <a:pt x="323" y="383"/>
                        <a:pt x="325" y="409"/>
                      </a:cubicBezTo>
                      <a:cubicBezTo>
                        <a:pt x="331" y="434"/>
                        <a:pt x="347" y="430"/>
                        <a:pt x="347" y="449"/>
                      </a:cubicBezTo>
                      <a:cubicBezTo>
                        <a:pt x="347" y="468"/>
                        <a:pt x="334" y="472"/>
                        <a:pt x="326" y="473"/>
                      </a:cubicBezTo>
                      <a:cubicBezTo>
                        <a:pt x="305" y="477"/>
                        <a:pt x="214" y="474"/>
                        <a:pt x="214" y="474"/>
                      </a:cubicBezTo>
                      <a:cubicBezTo>
                        <a:pt x="214" y="474"/>
                        <a:pt x="216" y="407"/>
                        <a:pt x="213" y="385"/>
                      </a:cubicBezTo>
                      <a:cubicBezTo>
                        <a:pt x="212" y="377"/>
                        <a:pt x="207" y="365"/>
                        <a:pt x="188" y="365"/>
                      </a:cubicBezTo>
                      <a:cubicBezTo>
                        <a:pt x="169" y="365"/>
                        <a:pt x="174" y="381"/>
                        <a:pt x="148" y="387"/>
                      </a:cubicBezTo>
                      <a:cubicBezTo>
                        <a:pt x="123" y="389"/>
                        <a:pt x="104" y="368"/>
                        <a:pt x="104" y="344"/>
                      </a:cubicBezTo>
                      <a:cubicBezTo>
                        <a:pt x="104" y="319"/>
                        <a:pt x="123" y="298"/>
                        <a:pt x="148" y="300"/>
                      </a:cubicBezTo>
                      <a:cubicBezTo>
                        <a:pt x="174" y="306"/>
                        <a:pt x="169" y="322"/>
                        <a:pt x="188" y="322"/>
                      </a:cubicBezTo>
                      <a:cubicBezTo>
                        <a:pt x="207" y="322"/>
                        <a:pt x="212" y="310"/>
                        <a:pt x="213" y="302"/>
                      </a:cubicBezTo>
                      <a:cubicBezTo>
                        <a:pt x="216" y="280"/>
                        <a:pt x="216" y="213"/>
                        <a:pt x="216" y="213"/>
                      </a:cubicBezTo>
                      <a:cubicBezTo>
                        <a:pt x="216" y="213"/>
                        <a:pt x="305" y="199"/>
                        <a:pt x="326" y="203"/>
                      </a:cubicBezTo>
                      <a:cubicBezTo>
                        <a:pt x="334" y="204"/>
                        <a:pt x="347" y="208"/>
                        <a:pt x="347" y="227"/>
                      </a:cubicBezTo>
                      <a:cubicBezTo>
                        <a:pt x="347" y="246"/>
                        <a:pt x="331" y="242"/>
                        <a:pt x="325" y="267"/>
                      </a:cubicBezTo>
                      <a:cubicBezTo>
                        <a:pt x="323" y="293"/>
                        <a:pt x="344" y="312"/>
                        <a:pt x="368" y="312"/>
                      </a:cubicBezTo>
                      <a:cubicBezTo>
                        <a:pt x="392" y="312"/>
                        <a:pt x="414" y="293"/>
                        <a:pt x="412" y="267"/>
                      </a:cubicBezTo>
                      <a:cubicBezTo>
                        <a:pt x="406" y="242"/>
                        <a:pt x="390" y="246"/>
                        <a:pt x="390" y="227"/>
                      </a:cubicBezTo>
                      <a:cubicBezTo>
                        <a:pt x="390" y="208"/>
                        <a:pt x="402" y="204"/>
                        <a:pt x="410" y="203"/>
                      </a:cubicBezTo>
                      <a:cubicBezTo>
                        <a:pt x="432" y="199"/>
                        <a:pt x="521" y="213"/>
                        <a:pt x="521" y="213"/>
                      </a:cubicBezTo>
                      <a:cubicBezTo>
                        <a:pt x="521" y="213"/>
                        <a:pt x="519" y="280"/>
                        <a:pt x="522" y="302"/>
                      </a:cubicBezTo>
                      <a:cubicBezTo>
                        <a:pt x="524" y="310"/>
                        <a:pt x="528" y="322"/>
                        <a:pt x="547" y="322"/>
                      </a:cubicBezTo>
                      <a:cubicBezTo>
                        <a:pt x="566" y="322"/>
                        <a:pt x="562" y="306"/>
                        <a:pt x="587" y="300"/>
                      </a:cubicBezTo>
                      <a:cubicBezTo>
                        <a:pt x="613" y="298"/>
                        <a:pt x="631" y="319"/>
                        <a:pt x="631" y="344"/>
                      </a:cubicBezTo>
                      <a:cubicBezTo>
                        <a:pt x="631" y="368"/>
                        <a:pt x="613" y="389"/>
                        <a:pt x="587" y="387"/>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noProof="0">
                    <a:ln>
                      <a:noFill/>
                    </a:ln>
                    <a:solidFill>
                      <a:prstClr val="black"/>
                    </a:solidFill>
                    <a:effectLst/>
                    <a:uLnTx/>
                    <a:uFillTx/>
                    <a:latin typeface="Calibri" panose="020F0502020204030204"/>
                    <a:ea typeface="+mn-ea"/>
                    <a:cs typeface="+mn-cs"/>
                  </a:endParaRPr>
                </a:p>
              </p:txBody>
            </p:sp>
          </p:grpSp>
        </p:grpSp>
      </p:grpSp>
      <p:grpSp>
        <p:nvGrpSpPr>
          <p:cNvPr id="198" name="Groep 197">
            <a:extLst>
              <a:ext uri="{FF2B5EF4-FFF2-40B4-BE49-F238E27FC236}">
                <a16:creationId xmlns:a16="http://schemas.microsoft.com/office/drawing/2014/main" id="{92947763-6172-4DBD-9F9E-4D7CBDEDE399}"/>
              </a:ext>
            </a:extLst>
          </p:cNvPr>
          <p:cNvGrpSpPr/>
          <p:nvPr/>
        </p:nvGrpSpPr>
        <p:grpSpPr>
          <a:xfrm>
            <a:off x="7995639" y="3971869"/>
            <a:ext cx="288000" cy="288000"/>
            <a:chOff x="7536161" y="3828294"/>
            <a:chExt cx="329184" cy="329184"/>
          </a:xfrm>
        </p:grpSpPr>
        <p:sp>
          <p:nvSpPr>
            <p:cNvPr id="199" name="Oval 221">
              <a:extLst>
                <a:ext uri="{FF2B5EF4-FFF2-40B4-BE49-F238E27FC236}">
                  <a16:creationId xmlns:a16="http://schemas.microsoft.com/office/drawing/2014/main" id="{F3BEF8BE-D9F4-487C-8167-C6DBDE5F1552}"/>
                </a:ext>
              </a:extLst>
            </p:cNvPr>
            <p:cNvSpPr/>
            <p:nvPr/>
          </p:nvSpPr>
          <p:spPr>
            <a:xfrm>
              <a:off x="7536161" y="3828294"/>
              <a:ext cx="329184" cy="329184"/>
            </a:xfrm>
            <a:prstGeom prst="ellipse">
              <a:avLst/>
            </a:prstGeom>
            <a:solidFill>
              <a:srgbClr val="7D2B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00" name="Group 1">
              <a:extLst>
                <a:ext uri="{FF2B5EF4-FFF2-40B4-BE49-F238E27FC236}">
                  <a16:creationId xmlns:a16="http://schemas.microsoft.com/office/drawing/2014/main" id="{9A46F9EC-8156-4B17-BE38-E7CBEFFE073C}"/>
                </a:ext>
              </a:extLst>
            </p:cNvPr>
            <p:cNvGrpSpPr/>
            <p:nvPr/>
          </p:nvGrpSpPr>
          <p:grpSpPr>
            <a:xfrm>
              <a:off x="7558082" y="3918651"/>
              <a:ext cx="268066" cy="148469"/>
              <a:chOff x="4827318" y="3775979"/>
              <a:chExt cx="371092" cy="205530"/>
            </a:xfrm>
          </p:grpSpPr>
          <p:sp>
            <p:nvSpPr>
              <p:cNvPr id="201" name="Tag2" descr="{&quot;Key&quot;:&quot;POWER_USER_SHAPE_ICON&quot;,&quot;Value&quot;:&quot;POWER_USER_SHAPE_ICON_STYLE_1&quot;}">
                <a:extLst>
                  <a:ext uri="{FF2B5EF4-FFF2-40B4-BE49-F238E27FC236}">
                    <a16:creationId xmlns:a16="http://schemas.microsoft.com/office/drawing/2014/main" id="{D6C7C5FE-ED41-4127-AF87-129186EBAC89}"/>
                  </a:ext>
                </a:extLst>
              </p:cNvPr>
              <p:cNvSpPr>
                <a:spLocks noChangeAspect="1" noEditPoints="1"/>
              </p:cNvSpPr>
              <p:nvPr>
                <p:custDataLst>
                  <p:tags r:id="rId25"/>
                </p:custDataLst>
              </p:nvPr>
            </p:nvSpPr>
            <p:spPr bwMode="auto">
              <a:xfrm>
                <a:off x="4827318" y="3775979"/>
                <a:ext cx="179598" cy="178796"/>
              </a:xfrm>
              <a:custGeom>
                <a:avLst/>
                <a:gdLst>
                  <a:gd name="T0" fmla="*/ 537 w 621"/>
                  <a:gd name="T1" fmla="*/ 117 h 617"/>
                  <a:gd name="T2" fmla="*/ 504 w 621"/>
                  <a:gd name="T3" fmla="*/ 83 h 617"/>
                  <a:gd name="T4" fmla="*/ 537 w 621"/>
                  <a:gd name="T5" fmla="*/ 50 h 617"/>
                  <a:gd name="T6" fmla="*/ 571 w 621"/>
                  <a:gd name="T7" fmla="*/ 83 h 617"/>
                  <a:gd name="T8" fmla="*/ 537 w 621"/>
                  <a:gd name="T9" fmla="*/ 117 h 617"/>
                  <a:gd name="T10" fmla="*/ 601 w 621"/>
                  <a:gd name="T11" fmla="*/ 0 h 617"/>
                  <a:gd name="T12" fmla="*/ 600 w 621"/>
                  <a:gd name="T13" fmla="*/ 0 h 617"/>
                  <a:gd name="T14" fmla="*/ 599 w 621"/>
                  <a:gd name="T15" fmla="*/ 0 h 617"/>
                  <a:gd name="T16" fmla="*/ 341 w 621"/>
                  <a:gd name="T17" fmla="*/ 0 h 617"/>
                  <a:gd name="T18" fmla="*/ 318 w 621"/>
                  <a:gd name="T19" fmla="*/ 12 h 617"/>
                  <a:gd name="T20" fmla="*/ 16 w 621"/>
                  <a:gd name="T21" fmla="*/ 314 h 617"/>
                  <a:gd name="T22" fmla="*/ 16 w 621"/>
                  <a:gd name="T23" fmla="*/ 372 h 617"/>
                  <a:gd name="T24" fmla="*/ 248 w 621"/>
                  <a:gd name="T25" fmla="*/ 605 h 617"/>
                  <a:gd name="T26" fmla="*/ 277 w 621"/>
                  <a:gd name="T27" fmla="*/ 617 h 617"/>
                  <a:gd name="T28" fmla="*/ 306 w 621"/>
                  <a:gd name="T29" fmla="*/ 605 h 617"/>
                  <a:gd name="T30" fmla="*/ 608 w 621"/>
                  <a:gd name="T31" fmla="*/ 302 h 617"/>
                  <a:gd name="T32" fmla="*/ 621 w 621"/>
                  <a:gd name="T33" fmla="*/ 280 h 617"/>
                  <a:gd name="T34" fmla="*/ 621 w 621"/>
                  <a:gd name="T35" fmla="*/ 20 h 617"/>
                  <a:gd name="T36" fmla="*/ 601 w 621"/>
                  <a:gd name="T37" fmla="*/ 0 h 6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21" h="617">
                    <a:moveTo>
                      <a:pt x="537" y="117"/>
                    </a:moveTo>
                    <a:cubicBezTo>
                      <a:pt x="519" y="117"/>
                      <a:pt x="504" y="102"/>
                      <a:pt x="504" y="83"/>
                    </a:cubicBezTo>
                    <a:cubicBezTo>
                      <a:pt x="504" y="65"/>
                      <a:pt x="519" y="50"/>
                      <a:pt x="537" y="50"/>
                    </a:cubicBezTo>
                    <a:cubicBezTo>
                      <a:pt x="556" y="50"/>
                      <a:pt x="571" y="65"/>
                      <a:pt x="571" y="83"/>
                    </a:cubicBezTo>
                    <a:cubicBezTo>
                      <a:pt x="571" y="102"/>
                      <a:pt x="556" y="117"/>
                      <a:pt x="537" y="117"/>
                    </a:cubicBezTo>
                    <a:close/>
                    <a:moveTo>
                      <a:pt x="601" y="0"/>
                    </a:moveTo>
                    <a:lnTo>
                      <a:pt x="600" y="0"/>
                    </a:lnTo>
                    <a:cubicBezTo>
                      <a:pt x="600" y="0"/>
                      <a:pt x="600" y="0"/>
                      <a:pt x="599" y="0"/>
                    </a:cubicBezTo>
                    <a:lnTo>
                      <a:pt x="341" y="0"/>
                    </a:lnTo>
                    <a:cubicBezTo>
                      <a:pt x="334" y="0"/>
                      <a:pt x="320" y="10"/>
                      <a:pt x="318" y="12"/>
                    </a:cubicBezTo>
                    <a:lnTo>
                      <a:pt x="16" y="314"/>
                    </a:lnTo>
                    <a:cubicBezTo>
                      <a:pt x="0" y="330"/>
                      <a:pt x="0" y="356"/>
                      <a:pt x="16" y="372"/>
                    </a:cubicBezTo>
                    <a:lnTo>
                      <a:pt x="248" y="605"/>
                    </a:lnTo>
                    <a:cubicBezTo>
                      <a:pt x="256" y="613"/>
                      <a:pt x="267" y="617"/>
                      <a:pt x="277" y="617"/>
                    </a:cubicBezTo>
                    <a:cubicBezTo>
                      <a:pt x="288" y="617"/>
                      <a:pt x="298" y="613"/>
                      <a:pt x="306" y="605"/>
                    </a:cubicBezTo>
                    <a:lnTo>
                      <a:pt x="608" y="302"/>
                    </a:lnTo>
                    <a:cubicBezTo>
                      <a:pt x="610" y="300"/>
                      <a:pt x="621" y="288"/>
                      <a:pt x="621" y="280"/>
                    </a:cubicBezTo>
                    <a:lnTo>
                      <a:pt x="621" y="20"/>
                    </a:lnTo>
                    <a:cubicBezTo>
                      <a:pt x="621" y="9"/>
                      <a:pt x="613" y="0"/>
                      <a:pt x="601"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2" name="Shopping_Basket2" descr="{&quot;Key&quot;:&quot;POWER_USER_SHAPE_ICON&quot;,&quot;Value&quot;:&quot;POWER_USER_SHAPE_ICON_STYLE_1&quot;}">
                <a:extLst>
                  <a:ext uri="{FF2B5EF4-FFF2-40B4-BE49-F238E27FC236}">
                    <a16:creationId xmlns:a16="http://schemas.microsoft.com/office/drawing/2014/main" id="{C41316CA-9203-4DFD-8A99-5161DE28C825}"/>
                  </a:ext>
                </a:extLst>
              </p:cNvPr>
              <p:cNvSpPr>
                <a:spLocks noChangeAspect="1" noChangeArrowheads="1"/>
              </p:cNvSpPr>
              <p:nvPr>
                <p:custDataLst>
                  <p:tags r:id="rId26"/>
                </p:custDataLst>
              </p:nvPr>
            </p:nvSpPr>
            <p:spPr bwMode="auto">
              <a:xfrm>
                <a:off x="4994952" y="3802713"/>
                <a:ext cx="203458" cy="178796"/>
              </a:xfrm>
              <a:custGeom>
                <a:avLst/>
                <a:gdLst>
                  <a:gd name="T0" fmla="*/ 429 w 583"/>
                  <a:gd name="T1" fmla="*/ 183 h 512"/>
                  <a:gd name="T2" fmla="*/ 312 w 583"/>
                  <a:gd name="T3" fmla="*/ 10 h 512"/>
                  <a:gd name="T4" fmla="*/ 291 w 583"/>
                  <a:gd name="T5" fmla="*/ 0 h 512"/>
                  <a:gd name="T6" fmla="*/ 271 w 583"/>
                  <a:gd name="T7" fmla="*/ 10 h 512"/>
                  <a:gd name="T8" fmla="*/ 153 w 583"/>
                  <a:gd name="T9" fmla="*/ 183 h 512"/>
                  <a:gd name="T10" fmla="*/ 26 w 583"/>
                  <a:gd name="T11" fmla="*/ 183 h 512"/>
                  <a:gd name="T12" fmla="*/ 0 w 583"/>
                  <a:gd name="T13" fmla="*/ 214 h 512"/>
                  <a:gd name="T14" fmla="*/ 0 w 583"/>
                  <a:gd name="T15" fmla="*/ 219 h 512"/>
                  <a:gd name="T16" fmla="*/ 66 w 583"/>
                  <a:gd name="T17" fmla="*/ 470 h 512"/>
                  <a:gd name="T18" fmla="*/ 117 w 583"/>
                  <a:gd name="T19" fmla="*/ 511 h 512"/>
                  <a:gd name="T20" fmla="*/ 465 w 583"/>
                  <a:gd name="T21" fmla="*/ 511 h 512"/>
                  <a:gd name="T22" fmla="*/ 516 w 583"/>
                  <a:gd name="T23" fmla="*/ 470 h 512"/>
                  <a:gd name="T24" fmla="*/ 582 w 583"/>
                  <a:gd name="T25" fmla="*/ 219 h 512"/>
                  <a:gd name="T26" fmla="*/ 582 w 583"/>
                  <a:gd name="T27" fmla="*/ 214 h 512"/>
                  <a:gd name="T28" fmla="*/ 552 w 583"/>
                  <a:gd name="T29" fmla="*/ 183 h 512"/>
                  <a:gd name="T30" fmla="*/ 429 w 583"/>
                  <a:gd name="T31" fmla="*/ 183 h 512"/>
                  <a:gd name="T32" fmla="*/ 209 w 583"/>
                  <a:gd name="T33" fmla="*/ 183 h 512"/>
                  <a:gd name="T34" fmla="*/ 291 w 583"/>
                  <a:gd name="T35" fmla="*/ 66 h 512"/>
                  <a:gd name="T36" fmla="*/ 373 w 583"/>
                  <a:gd name="T37" fmla="*/ 183 h 512"/>
                  <a:gd name="T38" fmla="*/ 209 w 583"/>
                  <a:gd name="T39" fmla="*/ 183 h 512"/>
                  <a:gd name="T40" fmla="*/ 291 w 583"/>
                  <a:gd name="T41" fmla="*/ 398 h 512"/>
                  <a:gd name="T42" fmla="*/ 240 w 583"/>
                  <a:gd name="T43" fmla="*/ 347 h 512"/>
                  <a:gd name="T44" fmla="*/ 291 w 583"/>
                  <a:gd name="T45" fmla="*/ 291 h 512"/>
                  <a:gd name="T46" fmla="*/ 347 w 583"/>
                  <a:gd name="T47" fmla="*/ 347 h 512"/>
                  <a:gd name="T48" fmla="*/ 291 w 583"/>
                  <a:gd name="T49" fmla="*/ 39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83" h="512">
                    <a:moveTo>
                      <a:pt x="429" y="183"/>
                    </a:moveTo>
                    <a:lnTo>
                      <a:pt x="312" y="10"/>
                    </a:lnTo>
                    <a:cubicBezTo>
                      <a:pt x="307" y="5"/>
                      <a:pt x="299" y="0"/>
                      <a:pt x="291" y="0"/>
                    </a:cubicBezTo>
                    <a:cubicBezTo>
                      <a:pt x="284" y="0"/>
                      <a:pt x="276" y="0"/>
                      <a:pt x="271" y="10"/>
                    </a:cubicBezTo>
                    <a:lnTo>
                      <a:pt x="153" y="183"/>
                    </a:lnTo>
                    <a:lnTo>
                      <a:pt x="26" y="183"/>
                    </a:lnTo>
                    <a:cubicBezTo>
                      <a:pt x="10" y="183"/>
                      <a:pt x="0" y="194"/>
                      <a:pt x="0" y="214"/>
                    </a:cubicBezTo>
                    <a:lnTo>
                      <a:pt x="0" y="219"/>
                    </a:lnTo>
                    <a:lnTo>
                      <a:pt x="66" y="470"/>
                    </a:lnTo>
                    <a:cubicBezTo>
                      <a:pt x="72" y="490"/>
                      <a:pt x="92" y="511"/>
                      <a:pt x="117" y="511"/>
                    </a:cubicBezTo>
                    <a:lnTo>
                      <a:pt x="465" y="511"/>
                    </a:lnTo>
                    <a:cubicBezTo>
                      <a:pt x="485" y="511"/>
                      <a:pt x="506" y="490"/>
                      <a:pt x="516" y="470"/>
                    </a:cubicBezTo>
                    <a:lnTo>
                      <a:pt x="582" y="219"/>
                    </a:lnTo>
                    <a:lnTo>
                      <a:pt x="582" y="214"/>
                    </a:lnTo>
                    <a:cubicBezTo>
                      <a:pt x="582" y="194"/>
                      <a:pt x="572" y="183"/>
                      <a:pt x="552" y="183"/>
                    </a:cubicBezTo>
                    <a:lnTo>
                      <a:pt x="429" y="183"/>
                    </a:lnTo>
                    <a:close/>
                    <a:moveTo>
                      <a:pt x="209" y="183"/>
                    </a:moveTo>
                    <a:lnTo>
                      <a:pt x="291" y="66"/>
                    </a:lnTo>
                    <a:lnTo>
                      <a:pt x="373" y="183"/>
                    </a:lnTo>
                    <a:lnTo>
                      <a:pt x="209" y="183"/>
                    </a:lnTo>
                    <a:close/>
                    <a:moveTo>
                      <a:pt x="291" y="398"/>
                    </a:moveTo>
                    <a:cubicBezTo>
                      <a:pt x="261" y="398"/>
                      <a:pt x="240" y="375"/>
                      <a:pt x="240" y="347"/>
                    </a:cubicBezTo>
                    <a:cubicBezTo>
                      <a:pt x="240" y="319"/>
                      <a:pt x="261" y="291"/>
                      <a:pt x="291" y="291"/>
                    </a:cubicBezTo>
                    <a:cubicBezTo>
                      <a:pt x="322" y="291"/>
                      <a:pt x="347" y="319"/>
                      <a:pt x="347" y="347"/>
                    </a:cubicBezTo>
                    <a:cubicBezTo>
                      <a:pt x="347" y="375"/>
                      <a:pt x="322" y="398"/>
                      <a:pt x="291" y="398"/>
                    </a:cubicBezTo>
                    <a:close/>
                  </a:path>
                </a:pathLst>
              </a:custGeom>
              <a:solidFill>
                <a:schemeClr val="bg1"/>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grpSp>
        <p:nvGrpSpPr>
          <p:cNvPr id="203" name="Groep 202">
            <a:extLst>
              <a:ext uri="{FF2B5EF4-FFF2-40B4-BE49-F238E27FC236}">
                <a16:creationId xmlns:a16="http://schemas.microsoft.com/office/drawing/2014/main" id="{857593D3-CE78-42A1-955E-B8B2D580DC08}"/>
              </a:ext>
            </a:extLst>
          </p:cNvPr>
          <p:cNvGrpSpPr/>
          <p:nvPr/>
        </p:nvGrpSpPr>
        <p:grpSpPr>
          <a:xfrm>
            <a:off x="8779933" y="2246435"/>
            <a:ext cx="252000" cy="252000"/>
            <a:chOff x="8342489" y="1970656"/>
            <a:chExt cx="329184" cy="329184"/>
          </a:xfrm>
        </p:grpSpPr>
        <p:sp>
          <p:nvSpPr>
            <p:cNvPr id="204" name="Oval 53">
              <a:extLst>
                <a:ext uri="{FF2B5EF4-FFF2-40B4-BE49-F238E27FC236}">
                  <a16:creationId xmlns:a16="http://schemas.microsoft.com/office/drawing/2014/main" id="{78AE1C12-43E9-44DE-9DA2-49022F30E1C6}"/>
                </a:ext>
              </a:extLst>
            </p:cNvPr>
            <p:cNvSpPr/>
            <p:nvPr/>
          </p:nvSpPr>
          <p:spPr>
            <a:xfrm>
              <a:off x="8342489" y="1970656"/>
              <a:ext cx="329184" cy="329184"/>
            </a:xfrm>
            <a:prstGeom prst="ellipse">
              <a:avLst/>
            </a:prstGeom>
            <a:solidFill>
              <a:srgbClr val="62366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05" name="Shopping_cart" descr="{&quot;Key&quot;:&quot;POWER_USER_SHAPE_ICON&quot;,&quot;Value&quot;:&quot;POWER_USER_SHAPE_ICON_STYLE_1&quot;}">
              <a:extLst>
                <a:ext uri="{FF2B5EF4-FFF2-40B4-BE49-F238E27FC236}">
                  <a16:creationId xmlns:a16="http://schemas.microsoft.com/office/drawing/2014/main" id="{7A9EBCF4-EE86-4B75-B763-92A5C0FF8F64}"/>
                </a:ext>
              </a:extLst>
            </p:cNvPr>
            <p:cNvGrpSpPr>
              <a:grpSpLocks noChangeAspect="1"/>
            </p:cNvGrpSpPr>
            <p:nvPr>
              <p:custDataLst>
                <p:tags r:id="rId24"/>
              </p:custDataLst>
            </p:nvPr>
          </p:nvGrpSpPr>
          <p:grpSpPr>
            <a:xfrm>
              <a:off x="8380012" y="2028686"/>
              <a:ext cx="235088" cy="232174"/>
              <a:chOff x="4646614" y="2062164"/>
              <a:chExt cx="384175" cy="379413"/>
            </a:xfrm>
            <a:solidFill>
              <a:schemeClr val="bg1"/>
            </a:solidFill>
          </p:grpSpPr>
          <p:sp>
            <p:nvSpPr>
              <p:cNvPr id="206" name="Freeform 198">
                <a:extLst>
                  <a:ext uri="{FF2B5EF4-FFF2-40B4-BE49-F238E27FC236}">
                    <a16:creationId xmlns:a16="http://schemas.microsoft.com/office/drawing/2014/main" id="{75FF0410-89BD-42E0-9D92-99896EEC35F7}"/>
                  </a:ext>
                </a:extLst>
              </p:cNvPr>
              <p:cNvSpPr>
                <a:spLocks noEditPoints="1"/>
              </p:cNvSpPr>
              <p:nvPr/>
            </p:nvSpPr>
            <p:spPr bwMode="auto">
              <a:xfrm>
                <a:off x="4773614" y="2386014"/>
                <a:ext cx="55563" cy="55563"/>
              </a:xfrm>
              <a:custGeom>
                <a:avLst/>
                <a:gdLst>
                  <a:gd name="T0" fmla="*/ 40 w 80"/>
                  <a:gd name="T1" fmla="*/ 55 h 80"/>
                  <a:gd name="T2" fmla="*/ 25 w 80"/>
                  <a:gd name="T3" fmla="*/ 40 h 80"/>
                  <a:gd name="T4" fmla="*/ 40 w 80"/>
                  <a:gd name="T5" fmla="*/ 25 h 80"/>
                  <a:gd name="T6" fmla="*/ 55 w 80"/>
                  <a:gd name="T7" fmla="*/ 40 h 80"/>
                  <a:gd name="T8" fmla="*/ 40 w 80"/>
                  <a:gd name="T9" fmla="*/ 55 h 80"/>
                  <a:gd name="T10" fmla="*/ 40 w 80"/>
                  <a:gd name="T11" fmla="*/ 0 h 80"/>
                  <a:gd name="T12" fmla="*/ 0 w 80"/>
                  <a:gd name="T13" fmla="*/ 40 h 80"/>
                  <a:gd name="T14" fmla="*/ 40 w 80"/>
                  <a:gd name="T15" fmla="*/ 80 h 80"/>
                  <a:gd name="T16" fmla="*/ 80 w 80"/>
                  <a:gd name="T17" fmla="*/ 40 h 80"/>
                  <a:gd name="T18" fmla="*/ 40 w 80"/>
                  <a:gd name="T19"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0" h="80">
                    <a:moveTo>
                      <a:pt x="40" y="55"/>
                    </a:moveTo>
                    <a:cubicBezTo>
                      <a:pt x="32" y="55"/>
                      <a:pt x="25" y="48"/>
                      <a:pt x="25" y="40"/>
                    </a:cubicBezTo>
                    <a:cubicBezTo>
                      <a:pt x="25" y="32"/>
                      <a:pt x="32" y="25"/>
                      <a:pt x="40" y="25"/>
                    </a:cubicBezTo>
                    <a:cubicBezTo>
                      <a:pt x="48" y="25"/>
                      <a:pt x="55" y="32"/>
                      <a:pt x="55" y="40"/>
                    </a:cubicBezTo>
                    <a:cubicBezTo>
                      <a:pt x="55" y="48"/>
                      <a:pt x="48" y="55"/>
                      <a:pt x="40" y="55"/>
                    </a:cubicBezTo>
                    <a:close/>
                    <a:moveTo>
                      <a:pt x="40" y="0"/>
                    </a:moveTo>
                    <a:cubicBezTo>
                      <a:pt x="18" y="0"/>
                      <a:pt x="0" y="18"/>
                      <a:pt x="0" y="40"/>
                    </a:cubicBezTo>
                    <a:cubicBezTo>
                      <a:pt x="0" y="62"/>
                      <a:pt x="18" y="80"/>
                      <a:pt x="40" y="80"/>
                    </a:cubicBezTo>
                    <a:cubicBezTo>
                      <a:pt x="62" y="80"/>
                      <a:pt x="80" y="62"/>
                      <a:pt x="80" y="40"/>
                    </a:cubicBezTo>
                    <a:cubicBezTo>
                      <a:pt x="80" y="18"/>
                      <a:pt x="62" y="0"/>
                      <a:pt x="40"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7" name="Freeform 199">
                <a:extLst>
                  <a:ext uri="{FF2B5EF4-FFF2-40B4-BE49-F238E27FC236}">
                    <a16:creationId xmlns:a16="http://schemas.microsoft.com/office/drawing/2014/main" id="{FE930D7B-BF0F-46E5-94CB-B415B4B7483B}"/>
                  </a:ext>
                </a:extLst>
              </p:cNvPr>
              <p:cNvSpPr>
                <a:spLocks noEditPoints="1"/>
              </p:cNvSpPr>
              <p:nvPr/>
            </p:nvSpPr>
            <p:spPr bwMode="auto">
              <a:xfrm>
                <a:off x="4929189" y="2386014"/>
                <a:ext cx="55563" cy="55563"/>
              </a:xfrm>
              <a:custGeom>
                <a:avLst/>
                <a:gdLst>
                  <a:gd name="T0" fmla="*/ 40 w 80"/>
                  <a:gd name="T1" fmla="*/ 55 h 80"/>
                  <a:gd name="T2" fmla="*/ 25 w 80"/>
                  <a:gd name="T3" fmla="*/ 40 h 80"/>
                  <a:gd name="T4" fmla="*/ 40 w 80"/>
                  <a:gd name="T5" fmla="*/ 25 h 80"/>
                  <a:gd name="T6" fmla="*/ 55 w 80"/>
                  <a:gd name="T7" fmla="*/ 40 h 80"/>
                  <a:gd name="T8" fmla="*/ 40 w 80"/>
                  <a:gd name="T9" fmla="*/ 55 h 80"/>
                  <a:gd name="T10" fmla="*/ 40 w 80"/>
                  <a:gd name="T11" fmla="*/ 0 h 80"/>
                  <a:gd name="T12" fmla="*/ 0 w 80"/>
                  <a:gd name="T13" fmla="*/ 40 h 80"/>
                  <a:gd name="T14" fmla="*/ 40 w 80"/>
                  <a:gd name="T15" fmla="*/ 80 h 80"/>
                  <a:gd name="T16" fmla="*/ 80 w 80"/>
                  <a:gd name="T17" fmla="*/ 40 h 80"/>
                  <a:gd name="T18" fmla="*/ 40 w 80"/>
                  <a:gd name="T19"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0" h="80">
                    <a:moveTo>
                      <a:pt x="40" y="55"/>
                    </a:moveTo>
                    <a:cubicBezTo>
                      <a:pt x="32" y="55"/>
                      <a:pt x="25" y="48"/>
                      <a:pt x="25" y="40"/>
                    </a:cubicBezTo>
                    <a:cubicBezTo>
                      <a:pt x="25" y="32"/>
                      <a:pt x="32" y="25"/>
                      <a:pt x="40" y="25"/>
                    </a:cubicBezTo>
                    <a:cubicBezTo>
                      <a:pt x="48" y="25"/>
                      <a:pt x="55" y="32"/>
                      <a:pt x="55" y="40"/>
                    </a:cubicBezTo>
                    <a:cubicBezTo>
                      <a:pt x="55" y="48"/>
                      <a:pt x="48" y="55"/>
                      <a:pt x="40" y="55"/>
                    </a:cubicBezTo>
                    <a:close/>
                    <a:moveTo>
                      <a:pt x="40" y="0"/>
                    </a:moveTo>
                    <a:cubicBezTo>
                      <a:pt x="18" y="0"/>
                      <a:pt x="0" y="18"/>
                      <a:pt x="0" y="40"/>
                    </a:cubicBezTo>
                    <a:cubicBezTo>
                      <a:pt x="0" y="62"/>
                      <a:pt x="18" y="80"/>
                      <a:pt x="40" y="80"/>
                    </a:cubicBezTo>
                    <a:cubicBezTo>
                      <a:pt x="62" y="80"/>
                      <a:pt x="80" y="62"/>
                      <a:pt x="80" y="40"/>
                    </a:cubicBezTo>
                    <a:cubicBezTo>
                      <a:pt x="80" y="18"/>
                      <a:pt x="62" y="0"/>
                      <a:pt x="40"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8" name="Freeform 200">
                <a:extLst>
                  <a:ext uri="{FF2B5EF4-FFF2-40B4-BE49-F238E27FC236}">
                    <a16:creationId xmlns:a16="http://schemas.microsoft.com/office/drawing/2014/main" id="{E45C4783-2194-44CD-8D8B-491811E3DC3B}"/>
                  </a:ext>
                </a:extLst>
              </p:cNvPr>
              <p:cNvSpPr>
                <a:spLocks noEditPoints="1"/>
              </p:cNvSpPr>
              <p:nvPr/>
            </p:nvSpPr>
            <p:spPr bwMode="auto">
              <a:xfrm>
                <a:off x="4646614" y="2062164"/>
                <a:ext cx="384175" cy="311150"/>
              </a:xfrm>
              <a:custGeom>
                <a:avLst/>
                <a:gdLst>
                  <a:gd name="T0" fmla="*/ 465 w 554"/>
                  <a:gd name="T1" fmla="*/ 168 h 450"/>
                  <a:gd name="T2" fmla="*/ 530 w 554"/>
                  <a:gd name="T3" fmla="*/ 88 h 450"/>
                  <a:gd name="T4" fmla="*/ 483 w 554"/>
                  <a:gd name="T5" fmla="*/ 257 h 450"/>
                  <a:gd name="T6" fmla="*/ 447 w 554"/>
                  <a:gd name="T7" fmla="*/ 273 h 450"/>
                  <a:gd name="T8" fmla="*/ 505 w 554"/>
                  <a:gd name="T9" fmla="*/ 177 h 450"/>
                  <a:gd name="T10" fmla="*/ 432 w 554"/>
                  <a:gd name="T11" fmla="*/ 273 h 450"/>
                  <a:gd name="T12" fmla="*/ 407 w 554"/>
                  <a:gd name="T13" fmla="*/ 177 h 450"/>
                  <a:gd name="T14" fmla="*/ 432 w 554"/>
                  <a:gd name="T15" fmla="*/ 273 h 450"/>
                  <a:gd name="T16" fmla="*/ 352 w 554"/>
                  <a:gd name="T17" fmla="*/ 88 h 450"/>
                  <a:gd name="T18" fmla="*/ 393 w 554"/>
                  <a:gd name="T19" fmla="*/ 168 h 450"/>
                  <a:gd name="T20" fmla="*/ 383 w 554"/>
                  <a:gd name="T21" fmla="*/ 273 h 450"/>
                  <a:gd name="T22" fmla="*/ 352 w 554"/>
                  <a:gd name="T23" fmla="*/ 177 h 450"/>
                  <a:gd name="T24" fmla="*/ 383 w 554"/>
                  <a:gd name="T25" fmla="*/ 273 h 450"/>
                  <a:gd name="T26" fmla="*/ 297 w 554"/>
                  <a:gd name="T27" fmla="*/ 168 h 450"/>
                  <a:gd name="T28" fmla="*/ 337 w 554"/>
                  <a:gd name="T29" fmla="*/ 88 h 450"/>
                  <a:gd name="T30" fmla="*/ 337 w 554"/>
                  <a:gd name="T31" fmla="*/ 273 h 450"/>
                  <a:gd name="T32" fmla="*/ 298 w 554"/>
                  <a:gd name="T33" fmla="*/ 177 h 450"/>
                  <a:gd name="T34" fmla="*/ 337 w 554"/>
                  <a:gd name="T35" fmla="*/ 273 h 450"/>
                  <a:gd name="T36" fmla="*/ 242 w 554"/>
                  <a:gd name="T37" fmla="*/ 177 h 450"/>
                  <a:gd name="T38" fmla="*/ 292 w 554"/>
                  <a:gd name="T39" fmla="*/ 273 h 450"/>
                  <a:gd name="T40" fmla="*/ 210 w 554"/>
                  <a:gd name="T41" fmla="*/ 273 h 450"/>
                  <a:gd name="T42" fmla="*/ 227 w 554"/>
                  <a:gd name="T43" fmla="*/ 177 h 450"/>
                  <a:gd name="T44" fmla="*/ 210 w 554"/>
                  <a:gd name="T45" fmla="*/ 273 h 450"/>
                  <a:gd name="T46" fmla="*/ 157 w 554"/>
                  <a:gd name="T47" fmla="*/ 268 h 450"/>
                  <a:gd name="T48" fmla="*/ 173 w 554"/>
                  <a:gd name="T49" fmla="*/ 177 h 450"/>
                  <a:gd name="T50" fmla="*/ 170 w 554"/>
                  <a:gd name="T51" fmla="*/ 273 h 450"/>
                  <a:gd name="T52" fmla="*/ 106 w 554"/>
                  <a:gd name="T53" fmla="*/ 88 h 450"/>
                  <a:gd name="T54" fmla="*/ 171 w 554"/>
                  <a:gd name="T55" fmla="*/ 168 h 450"/>
                  <a:gd name="T56" fmla="*/ 126 w 554"/>
                  <a:gd name="T57" fmla="*/ 156 h 450"/>
                  <a:gd name="T58" fmla="*/ 225 w 554"/>
                  <a:gd name="T59" fmla="*/ 168 h 450"/>
                  <a:gd name="T60" fmla="*/ 168 w 554"/>
                  <a:gd name="T61" fmla="*/ 88 h 450"/>
                  <a:gd name="T62" fmla="*/ 274 w 554"/>
                  <a:gd name="T63" fmla="*/ 88 h 450"/>
                  <a:gd name="T64" fmla="*/ 241 w 554"/>
                  <a:gd name="T65" fmla="*/ 168 h 450"/>
                  <a:gd name="T66" fmla="*/ 274 w 554"/>
                  <a:gd name="T67" fmla="*/ 88 h 450"/>
                  <a:gd name="T68" fmla="*/ 462 w 554"/>
                  <a:gd name="T69" fmla="*/ 88 h 450"/>
                  <a:gd name="T70" fmla="*/ 408 w 554"/>
                  <a:gd name="T71" fmla="*/ 168 h 450"/>
                  <a:gd name="T72" fmla="*/ 24 w 554"/>
                  <a:gd name="T73" fmla="*/ 29 h 450"/>
                  <a:gd name="T74" fmla="*/ 19 w 554"/>
                  <a:gd name="T75" fmla="*/ 13 h 450"/>
                  <a:gd name="T76" fmla="*/ 24 w 554"/>
                  <a:gd name="T77" fmla="*/ 29 h 450"/>
                  <a:gd name="T78" fmla="*/ 110 w 554"/>
                  <a:gd name="T79" fmla="*/ 63 h 450"/>
                  <a:gd name="T80" fmla="*/ 91 w 554"/>
                  <a:gd name="T81" fmla="*/ 34 h 450"/>
                  <a:gd name="T82" fmla="*/ 39 w 554"/>
                  <a:gd name="T83" fmla="*/ 12 h 450"/>
                  <a:gd name="T84" fmla="*/ 3 w 554"/>
                  <a:gd name="T85" fmla="*/ 27 h 450"/>
                  <a:gd name="T86" fmla="*/ 38 w 554"/>
                  <a:gd name="T87" fmla="*/ 31 h 450"/>
                  <a:gd name="T88" fmla="*/ 67 w 554"/>
                  <a:gd name="T89" fmla="*/ 40 h 450"/>
                  <a:gd name="T90" fmla="*/ 209 w 554"/>
                  <a:gd name="T91" fmla="*/ 450 h 450"/>
                  <a:gd name="T92" fmla="*/ 496 w 554"/>
                  <a:gd name="T93" fmla="*/ 437 h 450"/>
                  <a:gd name="T94" fmla="*/ 212 w 554"/>
                  <a:gd name="T95" fmla="*/ 420 h 450"/>
                  <a:gd name="T96" fmla="*/ 168 w 554"/>
                  <a:gd name="T97" fmla="*/ 309 h 450"/>
                  <a:gd name="T98" fmla="*/ 451 w 554"/>
                  <a:gd name="T99" fmla="*/ 314 h 450"/>
                  <a:gd name="T100" fmla="*/ 552 w 554"/>
                  <a:gd name="T101" fmla="*/ 88 h 4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54" h="450">
                    <a:moveTo>
                      <a:pt x="508" y="168"/>
                    </a:moveTo>
                    <a:lnTo>
                      <a:pt x="465" y="168"/>
                    </a:lnTo>
                    <a:lnTo>
                      <a:pt x="478" y="88"/>
                    </a:lnTo>
                    <a:lnTo>
                      <a:pt x="530" y="88"/>
                    </a:lnTo>
                    <a:lnTo>
                      <a:pt x="508" y="168"/>
                    </a:lnTo>
                    <a:close/>
                    <a:moveTo>
                      <a:pt x="483" y="257"/>
                    </a:moveTo>
                    <a:cubicBezTo>
                      <a:pt x="480" y="265"/>
                      <a:pt x="471" y="273"/>
                      <a:pt x="462" y="273"/>
                    </a:cubicBezTo>
                    <a:lnTo>
                      <a:pt x="447" y="273"/>
                    </a:lnTo>
                    <a:lnTo>
                      <a:pt x="463" y="177"/>
                    </a:lnTo>
                    <a:lnTo>
                      <a:pt x="505" y="177"/>
                    </a:lnTo>
                    <a:lnTo>
                      <a:pt x="483" y="257"/>
                    </a:lnTo>
                    <a:close/>
                    <a:moveTo>
                      <a:pt x="432" y="273"/>
                    </a:moveTo>
                    <a:lnTo>
                      <a:pt x="398" y="273"/>
                    </a:lnTo>
                    <a:lnTo>
                      <a:pt x="407" y="177"/>
                    </a:lnTo>
                    <a:lnTo>
                      <a:pt x="447" y="177"/>
                    </a:lnTo>
                    <a:lnTo>
                      <a:pt x="432" y="273"/>
                    </a:lnTo>
                    <a:close/>
                    <a:moveTo>
                      <a:pt x="352" y="168"/>
                    </a:moveTo>
                    <a:lnTo>
                      <a:pt x="352" y="88"/>
                    </a:lnTo>
                    <a:lnTo>
                      <a:pt x="401" y="88"/>
                    </a:lnTo>
                    <a:lnTo>
                      <a:pt x="393" y="168"/>
                    </a:lnTo>
                    <a:lnTo>
                      <a:pt x="352" y="168"/>
                    </a:lnTo>
                    <a:close/>
                    <a:moveTo>
                      <a:pt x="383" y="273"/>
                    </a:moveTo>
                    <a:lnTo>
                      <a:pt x="352" y="273"/>
                    </a:lnTo>
                    <a:lnTo>
                      <a:pt x="352" y="177"/>
                    </a:lnTo>
                    <a:lnTo>
                      <a:pt x="392" y="177"/>
                    </a:lnTo>
                    <a:lnTo>
                      <a:pt x="383" y="273"/>
                    </a:lnTo>
                    <a:close/>
                    <a:moveTo>
                      <a:pt x="337" y="168"/>
                    </a:moveTo>
                    <a:lnTo>
                      <a:pt x="297" y="168"/>
                    </a:lnTo>
                    <a:lnTo>
                      <a:pt x="289" y="88"/>
                    </a:lnTo>
                    <a:lnTo>
                      <a:pt x="337" y="88"/>
                    </a:lnTo>
                    <a:lnTo>
                      <a:pt x="337" y="168"/>
                    </a:lnTo>
                    <a:close/>
                    <a:moveTo>
                      <a:pt x="337" y="273"/>
                    </a:moveTo>
                    <a:lnTo>
                      <a:pt x="307" y="273"/>
                    </a:lnTo>
                    <a:lnTo>
                      <a:pt x="298" y="177"/>
                    </a:lnTo>
                    <a:lnTo>
                      <a:pt x="337" y="177"/>
                    </a:lnTo>
                    <a:lnTo>
                      <a:pt x="337" y="273"/>
                    </a:lnTo>
                    <a:close/>
                    <a:moveTo>
                      <a:pt x="258" y="273"/>
                    </a:moveTo>
                    <a:lnTo>
                      <a:pt x="242" y="177"/>
                    </a:lnTo>
                    <a:lnTo>
                      <a:pt x="282" y="177"/>
                    </a:lnTo>
                    <a:lnTo>
                      <a:pt x="292" y="273"/>
                    </a:lnTo>
                    <a:lnTo>
                      <a:pt x="258" y="273"/>
                    </a:lnTo>
                    <a:close/>
                    <a:moveTo>
                      <a:pt x="210" y="273"/>
                    </a:moveTo>
                    <a:lnTo>
                      <a:pt x="188" y="177"/>
                    </a:lnTo>
                    <a:lnTo>
                      <a:pt x="227" y="177"/>
                    </a:lnTo>
                    <a:lnTo>
                      <a:pt x="242" y="273"/>
                    </a:lnTo>
                    <a:lnTo>
                      <a:pt x="210" y="273"/>
                    </a:lnTo>
                    <a:close/>
                    <a:moveTo>
                      <a:pt x="170" y="273"/>
                    </a:moveTo>
                    <a:cubicBezTo>
                      <a:pt x="165" y="273"/>
                      <a:pt x="161" y="271"/>
                      <a:pt x="157" y="268"/>
                    </a:cubicBezTo>
                    <a:cubicBezTo>
                      <a:pt x="150" y="244"/>
                      <a:pt x="141" y="211"/>
                      <a:pt x="131" y="177"/>
                    </a:cubicBezTo>
                    <a:lnTo>
                      <a:pt x="173" y="177"/>
                    </a:lnTo>
                    <a:lnTo>
                      <a:pt x="194" y="273"/>
                    </a:lnTo>
                    <a:lnTo>
                      <a:pt x="170" y="273"/>
                    </a:lnTo>
                    <a:close/>
                    <a:moveTo>
                      <a:pt x="126" y="156"/>
                    </a:moveTo>
                    <a:cubicBezTo>
                      <a:pt x="119" y="133"/>
                      <a:pt x="112" y="109"/>
                      <a:pt x="106" y="88"/>
                    </a:cubicBezTo>
                    <a:lnTo>
                      <a:pt x="153" y="88"/>
                    </a:lnTo>
                    <a:lnTo>
                      <a:pt x="171" y="168"/>
                    </a:lnTo>
                    <a:lnTo>
                      <a:pt x="129" y="168"/>
                    </a:lnTo>
                    <a:cubicBezTo>
                      <a:pt x="128" y="164"/>
                      <a:pt x="127" y="160"/>
                      <a:pt x="126" y="156"/>
                    </a:cubicBezTo>
                    <a:close/>
                    <a:moveTo>
                      <a:pt x="212" y="88"/>
                    </a:moveTo>
                    <a:lnTo>
                      <a:pt x="225" y="168"/>
                    </a:lnTo>
                    <a:lnTo>
                      <a:pt x="186" y="168"/>
                    </a:lnTo>
                    <a:lnTo>
                      <a:pt x="168" y="88"/>
                    </a:lnTo>
                    <a:lnTo>
                      <a:pt x="212" y="88"/>
                    </a:lnTo>
                    <a:close/>
                    <a:moveTo>
                      <a:pt x="274" y="88"/>
                    </a:moveTo>
                    <a:lnTo>
                      <a:pt x="281" y="168"/>
                    </a:lnTo>
                    <a:lnTo>
                      <a:pt x="241" y="168"/>
                    </a:lnTo>
                    <a:lnTo>
                      <a:pt x="228" y="88"/>
                    </a:lnTo>
                    <a:lnTo>
                      <a:pt x="274" y="88"/>
                    </a:lnTo>
                    <a:close/>
                    <a:moveTo>
                      <a:pt x="416" y="88"/>
                    </a:moveTo>
                    <a:lnTo>
                      <a:pt x="462" y="88"/>
                    </a:lnTo>
                    <a:lnTo>
                      <a:pt x="449" y="168"/>
                    </a:lnTo>
                    <a:lnTo>
                      <a:pt x="408" y="168"/>
                    </a:lnTo>
                    <a:lnTo>
                      <a:pt x="416" y="88"/>
                    </a:lnTo>
                    <a:close/>
                    <a:moveTo>
                      <a:pt x="24" y="29"/>
                    </a:moveTo>
                    <a:cubicBezTo>
                      <a:pt x="19" y="31"/>
                      <a:pt x="15" y="28"/>
                      <a:pt x="13" y="24"/>
                    </a:cubicBezTo>
                    <a:cubicBezTo>
                      <a:pt x="12" y="19"/>
                      <a:pt x="14" y="14"/>
                      <a:pt x="19" y="13"/>
                    </a:cubicBezTo>
                    <a:cubicBezTo>
                      <a:pt x="24" y="12"/>
                      <a:pt x="28" y="14"/>
                      <a:pt x="30" y="19"/>
                    </a:cubicBezTo>
                    <a:cubicBezTo>
                      <a:pt x="31" y="23"/>
                      <a:pt x="29" y="28"/>
                      <a:pt x="24" y="29"/>
                    </a:cubicBezTo>
                    <a:close/>
                    <a:moveTo>
                      <a:pt x="533" y="63"/>
                    </a:moveTo>
                    <a:lnTo>
                      <a:pt x="110" y="63"/>
                    </a:lnTo>
                    <a:cubicBezTo>
                      <a:pt x="106" y="63"/>
                      <a:pt x="103" y="63"/>
                      <a:pt x="100" y="65"/>
                    </a:cubicBezTo>
                    <a:cubicBezTo>
                      <a:pt x="99" y="61"/>
                      <a:pt x="94" y="44"/>
                      <a:pt x="91" y="34"/>
                    </a:cubicBezTo>
                    <a:cubicBezTo>
                      <a:pt x="88" y="22"/>
                      <a:pt x="79" y="12"/>
                      <a:pt x="64" y="12"/>
                    </a:cubicBezTo>
                    <a:cubicBezTo>
                      <a:pt x="61" y="12"/>
                      <a:pt x="40" y="12"/>
                      <a:pt x="39" y="12"/>
                    </a:cubicBezTo>
                    <a:cubicBezTo>
                      <a:pt x="34" y="4"/>
                      <a:pt x="25" y="0"/>
                      <a:pt x="16" y="2"/>
                    </a:cubicBezTo>
                    <a:cubicBezTo>
                      <a:pt x="5" y="6"/>
                      <a:pt x="0" y="16"/>
                      <a:pt x="3" y="27"/>
                    </a:cubicBezTo>
                    <a:cubicBezTo>
                      <a:pt x="6" y="37"/>
                      <a:pt x="17" y="43"/>
                      <a:pt x="27" y="40"/>
                    </a:cubicBezTo>
                    <a:cubicBezTo>
                      <a:pt x="32" y="39"/>
                      <a:pt x="36" y="35"/>
                      <a:pt x="38" y="31"/>
                    </a:cubicBezTo>
                    <a:cubicBezTo>
                      <a:pt x="40" y="31"/>
                      <a:pt x="52" y="31"/>
                      <a:pt x="54" y="31"/>
                    </a:cubicBezTo>
                    <a:cubicBezTo>
                      <a:pt x="63" y="31"/>
                      <a:pt x="65" y="33"/>
                      <a:pt x="67" y="40"/>
                    </a:cubicBezTo>
                    <a:cubicBezTo>
                      <a:pt x="73" y="61"/>
                      <a:pt x="165" y="388"/>
                      <a:pt x="171" y="409"/>
                    </a:cubicBezTo>
                    <a:cubicBezTo>
                      <a:pt x="180" y="439"/>
                      <a:pt x="194" y="450"/>
                      <a:pt x="209" y="450"/>
                    </a:cubicBezTo>
                    <a:lnTo>
                      <a:pt x="483" y="450"/>
                    </a:lnTo>
                    <a:cubicBezTo>
                      <a:pt x="492" y="450"/>
                      <a:pt x="496" y="441"/>
                      <a:pt x="496" y="437"/>
                    </a:cubicBezTo>
                    <a:cubicBezTo>
                      <a:pt x="498" y="423"/>
                      <a:pt x="486" y="420"/>
                      <a:pt x="480" y="420"/>
                    </a:cubicBezTo>
                    <a:lnTo>
                      <a:pt x="212" y="420"/>
                    </a:lnTo>
                    <a:cubicBezTo>
                      <a:pt x="205" y="420"/>
                      <a:pt x="198" y="415"/>
                      <a:pt x="196" y="408"/>
                    </a:cubicBezTo>
                    <a:cubicBezTo>
                      <a:pt x="195" y="404"/>
                      <a:pt x="170" y="315"/>
                      <a:pt x="168" y="309"/>
                    </a:cubicBezTo>
                    <a:cubicBezTo>
                      <a:pt x="174" y="315"/>
                      <a:pt x="179" y="314"/>
                      <a:pt x="182" y="314"/>
                    </a:cubicBezTo>
                    <a:lnTo>
                      <a:pt x="451" y="314"/>
                    </a:lnTo>
                    <a:cubicBezTo>
                      <a:pt x="486" y="314"/>
                      <a:pt x="500" y="272"/>
                      <a:pt x="503" y="259"/>
                    </a:cubicBezTo>
                    <a:lnTo>
                      <a:pt x="552" y="88"/>
                    </a:lnTo>
                    <a:cubicBezTo>
                      <a:pt x="554" y="81"/>
                      <a:pt x="552" y="63"/>
                      <a:pt x="533" y="63"/>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grpSp>
        <p:nvGrpSpPr>
          <p:cNvPr id="209" name="Groep 208">
            <a:extLst>
              <a:ext uri="{FF2B5EF4-FFF2-40B4-BE49-F238E27FC236}">
                <a16:creationId xmlns:a16="http://schemas.microsoft.com/office/drawing/2014/main" id="{B01DD2C0-FCBE-4023-8594-DD4DB408E649}"/>
              </a:ext>
            </a:extLst>
          </p:cNvPr>
          <p:cNvGrpSpPr/>
          <p:nvPr/>
        </p:nvGrpSpPr>
        <p:grpSpPr>
          <a:xfrm>
            <a:off x="7115262" y="4460365"/>
            <a:ext cx="252000" cy="252000"/>
            <a:chOff x="8342489" y="1970656"/>
            <a:chExt cx="329184" cy="329184"/>
          </a:xfrm>
        </p:grpSpPr>
        <p:sp>
          <p:nvSpPr>
            <p:cNvPr id="210" name="Oval 53">
              <a:extLst>
                <a:ext uri="{FF2B5EF4-FFF2-40B4-BE49-F238E27FC236}">
                  <a16:creationId xmlns:a16="http://schemas.microsoft.com/office/drawing/2014/main" id="{231B40D6-4A5B-4D69-855E-9EDC5AAB1623}"/>
                </a:ext>
              </a:extLst>
            </p:cNvPr>
            <p:cNvSpPr/>
            <p:nvPr/>
          </p:nvSpPr>
          <p:spPr>
            <a:xfrm>
              <a:off x="8342489" y="1970656"/>
              <a:ext cx="329184" cy="329184"/>
            </a:xfrm>
            <a:prstGeom prst="ellipse">
              <a:avLst/>
            </a:prstGeom>
            <a:solidFill>
              <a:srgbClr val="62366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11" name="Shopping_cart" descr="{&quot;Key&quot;:&quot;POWER_USER_SHAPE_ICON&quot;,&quot;Value&quot;:&quot;POWER_USER_SHAPE_ICON_STYLE_1&quot;}">
              <a:extLst>
                <a:ext uri="{FF2B5EF4-FFF2-40B4-BE49-F238E27FC236}">
                  <a16:creationId xmlns:a16="http://schemas.microsoft.com/office/drawing/2014/main" id="{8910F1A2-EA18-4068-B0F6-44C1F77514B8}"/>
                </a:ext>
              </a:extLst>
            </p:cNvPr>
            <p:cNvGrpSpPr>
              <a:grpSpLocks noChangeAspect="1"/>
            </p:cNvGrpSpPr>
            <p:nvPr>
              <p:custDataLst>
                <p:tags r:id="rId23"/>
              </p:custDataLst>
            </p:nvPr>
          </p:nvGrpSpPr>
          <p:grpSpPr>
            <a:xfrm>
              <a:off x="8380012" y="2028686"/>
              <a:ext cx="235088" cy="232174"/>
              <a:chOff x="4646614" y="2062164"/>
              <a:chExt cx="384175" cy="379413"/>
            </a:xfrm>
            <a:solidFill>
              <a:schemeClr val="bg1"/>
            </a:solidFill>
          </p:grpSpPr>
          <p:sp>
            <p:nvSpPr>
              <p:cNvPr id="212" name="Freeform 198">
                <a:extLst>
                  <a:ext uri="{FF2B5EF4-FFF2-40B4-BE49-F238E27FC236}">
                    <a16:creationId xmlns:a16="http://schemas.microsoft.com/office/drawing/2014/main" id="{17FE59AF-0956-4A9E-B9DA-26E7CEB37CE1}"/>
                  </a:ext>
                </a:extLst>
              </p:cNvPr>
              <p:cNvSpPr>
                <a:spLocks noEditPoints="1"/>
              </p:cNvSpPr>
              <p:nvPr/>
            </p:nvSpPr>
            <p:spPr bwMode="auto">
              <a:xfrm>
                <a:off x="4773614" y="2386014"/>
                <a:ext cx="55563" cy="55563"/>
              </a:xfrm>
              <a:custGeom>
                <a:avLst/>
                <a:gdLst>
                  <a:gd name="T0" fmla="*/ 40 w 80"/>
                  <a:gd name="T1" fmla="*/ 55 h 80"/>
                  <a:gd name="T2" fmla="*/ 25 w 80"/>
                  <a:gd name="T3" fmla="*/ 40 h 80"/>
                  <a:gd name="T4" fmla="*/ 40 w 80"/>
                  <a:gd name="T5" fmla="*/ 25 h 80"/>
                  <a:gd name="T6" fmla="*/ 55 w 80"/>
                  <a:gd name="T7" fmla="*/ 40 h 80"/>
                  <a:gd name="T8" fmla="*/ 40 w 80"/>
                  <a:gd name="T9" fmla="*/ 55 h 80"/>
                  <a:gd name="T10" fmla="*/ 40 w 80"/>
                  <a:gd name="T11" fmla="*/ 0 h 80"/>
                  <a:gd name="T12" fmla="*/ 0 w 80"/>
                  <a:gd name="T13" fmla="*/ 40 h 80"/>
                  <a:gd name="T14" fmla="*/ 40 w 80"/>
                  <a:gd name="T15" fmla="*/ 80 h 80"/>
                  <a:gd name="T16" fmla="*/ 80 w 80"/>
                  <a:gd name="T17" fmla="*/ 40 h 80"/>
                  <a:gd name="T18" fmla="*/ 40 w 80"/>
                  <a:gd name="T19"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0" h="80">
                    <a:moveTo>
                      <a:pt x="40" y="55"/>
                    </a:moveTo>
                    <a:cubicBezTo>
                      <a:pt x="32" y="55"/>
                      <a:pt x="25" y="48"/>
                      <a:pt x="25" y="40"/>
                    </a:cubicBezTo>
                    <a:cubicBezTo>
                      <a:pt x="25" y="32"/>
                      <a:pt x="32" y="25"/>
                      <a:pt x="40" y="25"/>
                    </a:cubicBezTo>
                    <a:cubicBezTo>
                      <a:pt x="48" y="25"/>
                      <a:pt x="55" y="32"/>
                      <a:pt x="55" y="40"/>
                    </a:cubicBezTo>
                    <a:cubicBezTo>
                      <a:pt x="55" y="48"/>
                      <a:pt x="48" y="55"/>
                      <a:pt x="40" y="55"/>
                    </a:cubicBezTo>
                    <a:close/>
                    <a:moveTo>
                      <a:pt x="40" y="0"/>
                    </a:moveTo>
                    <a:cubicBezTo>
                      <a:pt x="18" y="0"/>
                      <a:pt x="0" y="18"/>
                      <a:pt x="0" y="40"/>
                    </a:cubicBezTo>
                    <a:cubicBezTo>
                      <a:pt x="0" y="62"/>
                      <a:pt x="18" y="80"/>
                      <a:pt x="40" y="80"/>
                    </a:cubicBezTo>
                    <a:cubicBezTo>
                      <a:pt x="62" y="80"/>
                      <a:pt x="80" y="62"/>
                      <a:pt x="80" y="40"/>
                    </a:cubicBezTo>
                    <a:cubicBezTo>
                      <a:pt x="80" y="18"/>
                      <a:pt x="62" y="0"/>
                      <a:pt x="40"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3" name="Freeform 199">
                <a:extLst>
                  <a:ext uri="{FF2B5EF4-FFF2-40B4-BE49-F238E27FC236}">
                    <a16:creationId xmlns:a16="http://schemas.microsoft.com/office/drawing/2014/main" id="{615E88A4-977E-4FFA-90DE-629915817AEF}"/>
                  </a:ext>
                </a:extLst>
              </p:cNvPr>
              <p:cNvSpPr>
                <a:spLocks noEditPoints="1"/>
              </p:cNvSpPr>
              <p:nvPr/>
            </p:nvSpPr>
            <p:spPr bwMode="auto">
              <a:xfrm>
                <a:off x="4929189" y="2386014"/>
                <a:ext cx="55563" cy="55563"/>
              </a:xfrm>
              <a:custGeom>
                <a:avLst/>
                <a:gdLst>
                  <a:gd name="T0" fmla="*/ 40 w 80"/>
                  <a:gd name="T1" fmla="*/ 55 h 80"/>
                  <a:gd name="T2" fmla="*/ 25 w 80"/>
                  <a:gd name="T3" fmla="*/ 40 h 80"/>
                  <a:gd name="T4" fmla="*/ 40 w 80"/>
                  <a:gd name="T5" fmla="*/ 25 h 80"/>
                  <a:gd name="T6" fmla="*/ 55 w 80"/>
                  <a:gd name="T7" fmla="*/ 40 h 80"/>
                  <a:gd name="T8" fmla="*/ 40 w 80"/>
                  <a:gd name="T9" fmla="*/ 55 h 80"/>
                  <a:gd name="T10" fmla="*/ 40 w 80"/>
                  <a:gd name="T11" fmla="*/ 0 h 80"/>
                  <a:gd name="T12" fmla="*/ 0 w 80"/>
                  <a:gd name="T13" fmla="*/ 40 h 80"/>
                  <a:gd name="T14" fmla="*/ 40 w 80"/>
                  <a:gd name="T15" fmla="*/ 80 h 80"/>
                  <a:gd name="T16" fmla="*/ 80 w 80"/>
                  <a:gd name="T17" fmla="*/ 40 h 80"/>
                  <a:gd name="T18" fmla="*/ 40 w 80"/>
                  <a:gd name="T19"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0" h="80">
                    <a:moveTo>
                      <a:pt x="40" y="55"/>
                    </a:moveTo>
                    <a:cubicBezTo>
                      <a:pt x="32" y="55"/>
                      <a:pt x="25" y="48"/>
                      <a:pt x="25" y="40"/>
                    </a:cubicBezTo>
                    <a:cubicBezTo>
                      <a:pt x="25" y="32"/>
                      <a:pt x="32" y="25"/>
                      <a:pt x="40" y="25"/>
                    </a:cubicBezTo>
                    <a:cubicBezTo>
                      <a:pt x="48" y="25"/>
                      <a:pt x="55" y="32"/>
                      <a:pt x="55" y="40"/>
                    </a:cubicBezTo>
                    <a:cubicBezTo>
                      <a:pt x="55" y="48"/>
                      <a:pt x="48" y="55"/>
                      <a:pt x="40" y="55"/>
                    </a:cubicBezTo>
                    <a:close/>
                    <a:moveTo>
                      <a:pt x="40" y="0"/>
                    </a:moveTo>
                    <a:cubicBezTo>
                      <a:pt x="18" y="0"/>
                      <a:pt x="0" y="18"/>
                      <a:pt x="0" y="40"/>
                    </a:cubicBezTo>
                    <a:cubicBezTo>
                      <a:pt x="0" y="62"/>
                      <a:pt x="18" y="80"/>
                      <a:pt x="40" y="80"/>
                    </a:cubicBezTo>
                    <a:cubicBezTo>
                      <a:pt x="62" y="80"/>
                      <a:pt x="80" y="62"/>
                      <a:pt x="80" y="40"/>
                    </a:cubicBezTo>
                    <a:cubicBezTo>
                      <a:pt x="80" y="18"/>
                      <a:pt x="62" y="0"/>
                      <a:pt x="40"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4" name="Freeform 200">
                <a:extLst>
                  <a:ext uri="{FF2B5EF4-FFF2-40B4-BE49-F238E27FC236}">
                    <a16:creationId xmlns:a16="http://schemas.microsoft.com/office/drawing/2014/main" id="{2E5A1496-39B9-4091-B41C-5DB883D18753}"/>
                  </a:ext>
                </a:extLst>
              </p:cNvPr>
              <p:cNvSpPr>
                <a:spLocks noEditPoints="1"/>
              </p:cNvSpPr>
              <p:nvPr/>
            </p:nvSpPr>
            <p:spPr bwMode="auto">
              <a:xfrm>
                <a:off x="4646614" y="2062164"/>
                <a:ext cx="384175" cy="311150"/>
              </a:xfrm>
              <a:custGeom>
                <a:avLst/>
                <a:gdLst>
                  <a:gd name="T0" fmla="*/ 465 w 554"/>
                  <a:gd name="T1" fmla="*/ 168 h 450"/>
                  <a:gd name="T2" fmla="*/ 530 w 554"/>
                  <a:gd name="T3" fmla="*/ 88 h 450"/>
                  <a:gd name="T4" fmla="*/ 483 w 554"/>
                  <a:gd name="T5" fmla="*/ 257 h 450"/>
                  <a:gd name="T6" fmla="*/ 447 w 554"/>
                  <a:gd name="T7" fmla="*/ 273 h 450"/>
                  <a:gd name="T8" fmla="*/ 505 w 554"/>
                  <a:gd name="T9" fmla="*/ 177 h 450"/>
                  <a:gd name="T10" fmla="*/ 432 w 554"/>
                  <a:gd name="T11" fmla="*/ 273 h 450"/>
                  <a:gd name="T12" fmla="*/ 407 w 554"/>
                  <a:gd name="T13" fmla="*/ 177 h 450"/>
                  <a:gd name="T14" fmla="*/ 432 w 554"/>
                  <a:gd name="T15" fmla="*/ 273 h 450"/>
                  <a:gd name="T16" fmla="*/ 352 w 554"/>
                  <a:gd name="T17" fmla="*/ 88 h 450"/>
                  <a:gd name="T18" fmla="*/ 393 w 554"/>
                  <a:gd name="T19" fmla="*/ 168 h 450"/>
                  <a:gd name="T20" fmla="*/ 383 w 554"/>
                  <a:gd name="T21" fmla="*/ 273 h 450"/>
                  <a:gd name="T22" fmla="*/ 352 w 554"/>
                  <a:gd name="T23" fmla="*/ 177 h 450"/>
                  <a:gd name="T24" fmla="*/ 383 w 554"/>
                  <a:gd name="T25" fmla="*/ 273 h 450"/>
                  <a:gd name="T26" fmla="*/ 297 w 554"/>
                  <a:gd name="T27" fmla="*/ 168 h 450"/>
                  <a:gd name="T28" fmla="*/ 337 w 554"/>
                  <a:gd name="T29" fmla="*/ 88 h 450"/>
                  <a:gd name="T30" fmla="*/ 337 w 554"/>
                  <a:gd name="T31" fmla="*/ 273 h 450"/>
                  <a:gd name="T32" fmla="*/ 298 w 554"/>
                  <a:gd name="T33" fmla="*/ 177 h 450"/>
                  <a:gd name="T34" fmla="*/ 337 w 554"/>
                  <a:gd name="T35" fmla="*/ 273 h 450"/>
                  <a:gd name="T36" fmla="*/ 242 w 554"/>
                  <a:gd name="T37" fmla="*/ 177 h 450"/>
                  <a:gd name="T38" fmla="*/ 292 w 554"/>
                  <a:gd name="T39" fmla="*/ 273 h 450"/>
                  <a:gd name="T40" fmla="*/ 210 w 554"/>
                  <a:gd name="T41" fmla="*/ 273 h 450"/>
                  <a:gd name="T42" fmla="*/ 227 w 554"/>
                  <a:gd name="T43" fmla="*/ 177 h 450"/>
                  <a:gd name="T44" fmla="*/ 210 w 554"/>
                  <a:gd name="T45" fmla="*/ 273 h 450"/>
                  <a:gd name="T46" fmla="*/ 157 w 554"/>
                  <a:gd name="T47" fmla="*/ 268 h 450"/>
                  <a:gd name="T48" fmla="*/ 173 w 554"/>
                  <a:gd name="T49" fmla="*/ 177 h 450"/>
                  <a:gd name="T50" fmla="*/ 170 w 554"/>
                  <a:gd name="T51" fmla="*/ 273 h 450"/>
                  <a:gd name="T52" fmla="*/ 106 w 554"/>
                  <a:gd name="T53" fmla="*/ 88 h 450"/>
                  <a:gd name="T54" fmla="*/ 171 w 554"/>
                  <a:gd name="T55" fmla="*/ 168 h 450"/>
                  <a:gd name="T56" fmla="*/ 126 w 554"/>
                  <a:gd name="T57" fmla="*/ 156 h 450"/>
                  <a:gd name="T58" fmla="*/ 225 w 554"/>
                  <a:gd name="T59" fmla="*/ 168 h 450"/>
                  <a:gd name="T60" fmla="*/ 168 w 554"/>
                  <a:gd name="T61" fmla="*/ 88 h 450"/>
                  <a:gd name="T62" fmla="*/ 274 w 554"/>
                  <a:gd name="T63" fmla="*/ 88 h 450"/>
                  <a:gd name="T64" fmla="*/ 241 w 554"/>
                  <a:gd name="T65" fmla="*/ 168 h 450"/>
                  <a:gd name="T66" fmla="*/ 274 w 554"/>
                  <a:gd name="T67" fmla="*/ 88 h 450"/>
                  <a:gd name="T68" fmla="*/ 462 w 554"/>
                  <a:gd name="T69" fmla="*/ 88 h 450"/>
                  <a:gd name="T70" fmla="*/ 408 w 554"/>
                  <a:gd name="T71" fmla="*/ 168 h 450"/>
                  <a:gd name="T72" fmla="*/ 24 w 554"/>
                  <a:gd name="T73" fmla="*/ 29 h 450"/>
                  <a:gd name="T74" fmla="*/ 19 w 554"/>
                  <a:gd name="T75" fmla="*/ 13 h 450"/>
                  <a:gd name="T76" fmla="*/ 24 w 554"/>
                  <a:gd name="T77" fmla="*/ 29 h 450"/>
                  <a:gd name="T78" fmla="*/ 110 w 554"/>
                  <a:gd name="T79" fmla="*/ 63 h 450"/>
                  <a:gd name="T80" fmla="*/ 91 w 554"/>
                  <a:gd name="T81" fmla="*/ 34 h 450"/>
                  <a:gd name="T82" fmla="*/ 39 w 554"/>
                  <a:gd name="T83" fmla="*/ 12 h 450"/>
                  <a:gd name="T84" fmla="*/ 3 w 554"/>
                  <a:gd name="T85" fmla="*/ 27 h 450"/>
                  <a:gd name="T86" fmla="*/ 38 w 554"/>
                  <a:gd name="T87" fmla="*/ 31 h 450"/>
                  <a:gd name="T88" fmla="*/ 67 w 554"/>
                  <a:gd name="T89" fmla="*/ 40 h 450"/>
                  <a:gd name="T90" fmla="*/ 209 w 554"/>
                  <a:gd name="T91" fmla="*/ 450 h 450"/>
                  <a:gd name="T92" fmla="*/ 496 w 554"/>
                  <a:gd name="T93" fmla="*/ 437 h 450"/>
                  <a:gd name="T94" fmla="*/ 212 w 554"/>
                  <a:gd name="T95" fmla="*/ 420 h 450"/>
                  <a:gd name="T96" fmla="*/ 168 w 554"/>
                  <a:gd name="T97" fmla="*/ 309 h 450"/>
                  <a:gd name="T98" fmla="*/ 451 w 554"/>
                  <a:gd name="T99" fmla="*/ 314 h 450"/>
                  <a:gd name="T100" fmla="*/ 552 w 554"/>
                  <a:gd name="T101" fmla="*/ 88 h 4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54" h="450">
                    <a:moveTo>
                      <a:pt x="508" y="168"/>
                    </a:moveTo>
                    <a:lnTo>
                      <a:pt x="465" y="168"/>
                    </a:lnTo>
                    <a:lnTo>
                      <a:pt x="478" y="88"/>
                    </a:lnTo>
                    <a:lnTo>
                      <a:pt x="530" y="88"/>
                    </a:lnTo>
                    <a:lnTo>
                      <a:pt x="508" y="168"/>
                    </a:lnTo>
                    <a:close/>
                    <a:moveTo>
                      <a:pt x="483" y="257"/>
                    </a:moveTo>
                    <a:cubicBezTo>
                      <a:pt x="480" y="265"/>
                      <a:pt x="471" y="273"/>
                      <a:pt x="462" y="273"/>
                    </a:cubicBezTo>
                    <a:lnTo>
                      <a:pt x="447" y="273"/>
                    </a:lnTo>
                    <a:lnTo>
                      <a:pt x="463" y="177"/>
                    </a:lnTo>
                    <a:lnTo>
                      <a:pt x="505" y="177"/>
                    </a:lnTo>
                    <a:lnTo>
                      <a:pt x="483" y="257"/>
                    </a:lnTo>
                    <a:close/>
                    <a:moveTo>
                      <a:pt x="432" y="273"/>
                    </a:moveTo>
                    <a:lnTo>
                      <a:pt x="398" y="273"/>
                    </a:lnTo>
                    <a:lnTo>
                      <a:pt x="407" y="177"/>
                    </a:lnTo>
                    <a:lnTo>
                      <a:pt x="447" y="177"/>
                    </a:lnTo>
                    <a:lnTo>
                      <a:pt x="432" y="273"/>
                    </a:lnTo>
                    <a:close/>
                    <a:moveTo>
                      <a:pt x="352" y="168"/>
                    </a:moveTo>
                    <a:lnTo>
                      <a:pt x="352" y="88"/>
                    </a:lnTo>
                    <a:lnTo>
                      <a:pt x="401" y="88"/>
                    </a:lnTo>
                    <a:lnTo>
                      <a:pt x="393" y="168"/>
                    </a:lnTo>
                    <a:lnTo>
                      <a:pt x="352" y="168"/>
                    </a:lnTo>
                    <a:close/>
                    <a:moveTo>
                      <a:pt x="383" y="273"/>
                    </a:moveTo>
                    <a:lnTo>
                      <a:pt x="352" y="273"/>
                    </a:lnTo>
                    <a:lnTo>
                      <a:pt x="352" y="177"/>
                    </a:lnTo>
                    <a:lnTo>
                      <a:pt x="392" y="177"/>
                    </a:lnTo>
                    <a:lnTo>
                      <a:pt x="383" y="273"/>
                    </a:lnTo>
                    <a:close/>
                    <a:moveTo>
                      <a:pt x="337" y="168"/>
                    </a:moveTo>
                    <a:lnTo>
                      <a:pt x="297" y="168"/>
                    </a:lnTo>
                    <a:lnTo>
                      <a:pt x="289" y="88"/>
                    </a:lnTo>
                    <a:lnTo>
                      <a:pt x="337" y="88"/>
                    </a:lnTo>
                    <a:lnTo>
                      <a:pt x="337" y="168"/>
                    </a:lnTo>
                    <a:close/>
                    <a:moveTo>
                      <a:pt x="337" y="273"/>
                    </a:moveTo>
                    <a:lnTo>
                      <a:pt x="307" y="273"/>
                    </a:lnTo>
                    <a:lnTo>
                      <a:pt x="298" y="177"/>
                    </a:lnTo>
                    <a:lnTo>
                      <a:pt x="337" y="177"/>
                    </a:lnTo>
                    <a:lnTo>
                      <a:pt x="337" y="273"/>
                    </a:lnTo>
                    <a:close/>
                    <a:moveTo>
                      <a:pt x="258" y="273"/>
                    </a:moveTo>
                    <a:lnTo>
                      <a:pt x="242" y="177"/>
                    </a:lnTo>
                    <a:lnTo>
                      <a:pt x="282" y="177"/>
                    </a:lnTo>
                    <a:lnTo>
                      <a:pt x="292" y="273"/>
                    </a:lnTo>
                    <a:lnTo>
                      <a:pt x="258" y="273"/>
                    </a:lnTo>
                    <a:close/>
                    <a:moveTo>
                      <a:pt x="210" y="273"/>
                    </a:moveTo>
                    <a:lnTo>
                      <a:pt x="188" y="177"/>
                    </a:lnTo>
                    <a:lnTo>
                      <a:pt x="227" y="177"/>
                    </a:lnTo>
                    <a:lnTo>
                      <a:pt x="242" y="273"/>
                    </a:lnTo>
                    <a:lnTo>
                      <a:pt x="210" y="273"/>
                    </a:lnTo>
                    <a:close/>
                    <a:moveTo>
                      <a:pt x="170" y="273"/>
                    </a:moveTo>
                    <a:cubicBezTo>
                      <a:pt x="165" y="273"/>
                      <a:pt x="161" y="271"/>
                      <a:pt x="157" y="268"/>
                    </a:cubicBezTo>
                    <a:cubicBezTo>
                      <a:pt x="150" y="244"/>
                      <a:pt x="141" y="211"/>
                      <a:pt x="131" y="177"/>
                    </a:cubicBezTo>
                    <a:lnTo>
                      <a:pt x="173" y="177"/>
                    </a:lnTo>
                    <a:lnTo>
                      <a:pt x="194" y="273"/>
                    </a:lnTo>
                    <a:lnTo>
                      <a:pt x="170" y="273"/>
                    </a:lnTo>
                    <a:close/>
                    <a:moveTo>
                      <a:pt x="126" y="156"/>
                    </a:moveTo>
                    <a:cubicBezTo>
                      <a:pt x="119" y="133"/>
                      <a:pt x="112" y="109"/>
                      <a:pt x="106" y="88"/>
                    </a:cubicBezTo>
                    <a:lnTo>
                      <a:pt x="153" y="88"/>
                    </a:lnTo>
                    <a:lnTo>
                      <a:pt x="171" y="168"/>
                    </a:lnTo>
                    <a:lnTo>
                      <a:pt x="129" y="168"/>
                    </a:lnTo>
                    <a:cubicBezTo>
                      <a:pt x="128" y="164"/>
                      <a:pt x="127" y="160"/>
                      <a:pt x="126" y="156"/>
                    </a:cubicBezTo>
                    <a:close/>
                    <a:moveTo>
                      <a:pt x="212" y="88"/>
                    </a:moveTo>
                    <a:lnTo>
                      <a:pt x="225" y="168"/>
                    </a:lnTo>
                    <a:lnTo>
                      <a:pt x="186" y="168"/>
                    </a:lnTo>
                    <a:lnTo>
                      <a:pt x="168" y="88"/>
                    </a:lnTo>
                    <a:lnTo>
                      <a:pt x="212" y="88"/>
                    </a:lnTo>
                    <a:close/>
                    <a:moveTo>
                      <a:pt x="274" y="88"/>
                    </a:moveTo>
                    <a:lnTo>
                      <a:pt x="281" y="168"/>
                    </a:lnTo>
                    <a:lnTo>
                      <a:pt x="241" y="168"/>
                    </a:lnTo>
                    <a:lnTo>
                      <a:pt x="228" y="88"/>
                    </a:lnTo>
                    <a:lnTo>
                      <a:pt x="274" y="88"/>
                    </a:lnTo>
                    <a:close/>
                    <a:moveTo>
                      <a:pt x="416" y="88"/>
                    </a:moveTo>
                    <a:lnTo>
                      <a:pt x="462" y="88"/>
                    </a:lnTo>
                    <a:lnTo>
                      <a:pt x="449" y="168"/>
                    </a:lnTo>
                    <a:lnTo>
                      <a:pt x="408" y="168"/>
                    </a:lnTo>
                    <a:lnTo>
                      <a:pt x="416" y="88"/>
                    </a:lnTo>
                    <a:close/>
                    <a:moveTo>
                      <a:pt x="24" y="29"/>
                    </a:moveTo>
                    <a:cubicBezTo>
                      <a:pt x="19" y="31"/>
                      <a:pt x="15" y="28"/>
                      <a:pt x="13" y="24"/>
                    </a:cubicBezTo>
                    <a:cubicBezTo>
                      <a:pt x="12" y="19"/>
                      <a:pt x="14" y="14"/>
                      <a:pt x="19" y="13"/>
                    </a:cubicBezTo>
                    <a:cubicBezTo>
                      <a:pt x="24" y="12"/>
                      <a:pt x="28" y="14"/>
                      <a:pt x="30" y="19"/>
                    </a:cubicBezTo>
                    <a:cubicBezTo>
                      <a:pt x="31" y="23"/>
                      <a:pt x="29" y="28"/>
                      <a:pt x="24" y="29"/>
                    </a:cubicBezTo>
                    <a:close/>
                    <a:moveTo>
                      <a:pt x="533" y="63"/>
                    </a:moveTo>
                    <a:lnTo>
                      <a:pt x="110" y="63"/>
                    </a:lnTo>
                    <a:cubicBezTo>
                      <a:pt x="106" y="63"/>
                      <a:pt x="103" y="63"/>
                      <a:pt x="100" y="65"/>
                    </a:cubicBezTo>
                    <a:cubicBezTo>
                      <a:pt x="99" y="61"/>
                      <a:pt x="94" y="44"/>
                      <a:pt x="91" y="34"/>
                    </a:cubicBezTo>
                    <a:cubicBezTo>
                      <a:pt x="88" y="22"/>
                      <a:pt x="79" y="12"/>
                      <a:pt x="64" y="12"/>
                    </a:cubicBezTo>
                    <a:cubicBezTo>
                      <a:pt x="61" y="12"/>
                      <a:pt x="40" y="12"/>
                      <a:pt x="39" y="12"/>
                    </a:cubicBezTo>
                    <a:cubicBezTo>
                      <a:pt x="34" y="4"/>
                      <a:pt x="25" y="0"/>
                      <a:pt x="16" y="2"/>
                    </a:cubicBezTo>
                    <a:cubicBezTo>
                      <a:pt x="5" y="6"/>
                      <a:pt x="0" y="16"/>
                      <a:pt x="3" y="27"/>
                    </a:cubicBezTo>
                    <a:cubicBezTo>
                      <a:pt x="6" y="37"/>
                      <a:pt x="17" y="43"/>
                      <a:pt x="27" y="40"/>
                    </a:cubicBezTo>
                    <a:cubicBezTo>
                      <a:pt x="32" y="39"/>
                      <a:pt x="36" y="35"/>
                      <a:pt x="38" y="31"/>
                    </a:cubicBezTo>
                    <a:cubicBezTo>
                      <a:pt x="40" y="31"/>
                      <a:pt x="52" y="31"/>
                      <a:pt x="54" y="31"/>
                    </a:cubicBezTo>
                    <a:cubicBezTo>
                      <a:pt x="63" y="31"/>
                      <a:pt x="65" y="33"/>
                      <a:pt x="67" y="40"/>
                    </a:cubicBezTo>
                    <a:cubicBezTo>
                      <a:pt x="73" y="61"/>
                      <a:pt x="165" y="388"/>
                      <a:pt x="171" y="409"/>
                    </a:cubicBezTo>
                    <a:cubicBezTo>
                      <a:pt x="180" y="439"/>
                      <a:pt x="194" y="450"/>
                      <a:pt x="209" y="450"/>
                    </a:cubicBezTo>
                    <a:lnTo>
                      <a:pt x="483" y="450"/>
                    </a:lnTo>
                    <a:cubicBezTo>
                      <a:pt x="492" y="450"/>
                      <a:pt x="496" y="441"/>
                      <a:pt x="496" y="437"/>
                    </a:cubicBezTo>
                    <a:cubicBezTo>
                      <a:pt x="498" y="423"/>
                      <a:pt x="486" y="420"/>
                      <a:pt x="480" y="420"/>
                    </a:cubicBezTo>
                    <a:lnTo>
                      <a:pt x="212" y="420"/>
                    </a:lnTo>
                    <a:cubicBezTo>
                      <a:pt x="205" y="420"/>
                      <a:pt x="198" y="415"/>
                      <a:pt x="196" y="408"/>
                    </a:cubicBezTo>
                    <a:cubicBezTo>
                      <a:pt x="195" y="404"/>
                      <a:pt x="170" y="315"/>
                      <a:pt x="168" y="309"/>
                    </a:cubicBezTo>
                    <a:cubicBezTo>
                      <a:pt x="174" y="315"/>
                      <a:pt x="179" y="314"/>
                      <a:pt x="182" y="314"/>
                    </a:cubicBezTo>
                    <a:lnTo>
                      <a:pt x="451" y="314"/>
                    </a:lnTo>
                    <a:cubicBezTo>
                      <a:pt x="486" y="314"/>
                      <a:pt x="500" y="272"/>
                      <a:pt x="503" y="259"/>
                    </a:cubicBezTo>
                    <a:lnTo>
                      <a:pt x="552" y="88"/>
                    </a:lnTo>
                    <a:cubicBezTo>
                      <a:pt x="554" y="81"/>
                      <a:pt x="552" y="63"/>
                      <a:pt x="533" y="63"/>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grpSp>
        <p:nvGrpSpPr>
          <p:cNvPr id="215" name="Groep 214">
            <a:extLst>
              <a:ext uri="{FF2B5EF4-FFF2-40B4-BE49-F238E27FC236}">
                <a16:creationId xmlns:a16="http://schemas.microsoft.com/office/drawing/2014/main" id="{037D6320-1AAD-4C04-A762-FFE65A6A0B51}"/>
              </a:ext>
            </a:extLst>
          </p:cNvPr>
          <p:cNvGrpSpPr/>
          <p:nvPr/>
        </p:nvGrpSpPr>
        <p:grpSpPr>
          <a:xfrm>
            <a:off x="10118795" y="2461894"/>
            <a:ext cx="288000" cy="288000"/>
            <a:chOff x="9659317" y="2318319"/>
            <a:chExt cx="329184" cy="329184"/>
          </a:xfrm>
        </p:grpSpPr>
        <p:sp>
          <p:nvSpPr>
            <p:cNvPr id="216" name="Oval 165">
              <a:extLst>
                <a:ext uri="{FF2B5EF4-FFF2-40B4-BE49-F238E27FC236}">
                  <a16:creationId xmlns:a16="http://schemas.microsoft.com/office/drawing/2014/main" id="{353F005B-E283-42EC-B916-DEECDB3B715F}"/>
                </a:ext>
              </a:extLst>
            </p:cNvPr>
            <p:cNvSpPr/>
            <p:nvPr/>
          </p:nvSpPr>
          <p:spPr>
            <a:xfrm>
              <a:off x="9659317" y="2318319"/>
              <a:ext cx="329184" cy="329184"/>
            </a:xfrm>
            <a:prstGeom prst="ellipse">
              <a:avLst/>
            </a:prstGeom>
            <a:solidFill>
              <a:schemeClr val="accen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7" name="Fast_food2" descr="{&quot;Key&quot;:&quot;POWER_USER_SHAPE_ICON&quot;,&quot;Value&quot;:&quot;POWER_USER_SHAPE_ICON_STYLE_1&quot;}">
              <a:extLst>
                <a:ext uri="{FF2B5EF4-FFF2-40B4-BE49-F238E27FC236}">
                  <a16:creationId xmlns:a16="http://schemas.microsoft.com/office/drawing/2014/main" id="{68E4C6D3-6492-4EA2-9356-D8CCDCC2F491}"/>
                </a:ext>
              </a:extLst>
            </p:cNvPr>
            <p:cNvSpPr>
              <a:spLocks noChangeAspect="1" noEditPoints="1"/>
            </p:cNvSpPr>
            <p:nvPr/>
          </p:nvSpPr>
          <p:spPr bwMode="auto">
            <a:xfrm>
              <a:off x="9730597" y="2330158"/>
              <a:ext cx="180926" cy="251669"/>
            </a:xfrm>
            <a:custGeom>
              <a:avLst/>
              <a:gdLst>
                <a:gd name="T0" fmla="*/ 1247 w 1250"/>
                <a:gd name="T1" fmla="*/ 292 h 1099"/>
                <a:gd name="T2" fmla="*/ 1145 w 1250"/>
                <a:gd name="T3" fmla="*/ 1099 h 1099"/>
                <a:gd name="T4" fmla="*/ 799 w 1250"/>
                <a:gd name="T5" fmla="*/ 1099 h 1099"/>
                <a:gd name="T6" fmla="*/ 697 w 1250"/>
                <a:gd name="T7" fmla="*/ 292 h 1099"/>
                <a:gd name="T8" fmla="*/ 1119 w 1250"/>
                <a:gd name="T9" fmla="*/ 292 h 1099"/>
                <a:gd name="T10" fmla="*/ 1203 w 1250"/>
                <a:gd name="T11" fmla="*/ 0 h 1099"/>
                <a:gd name="T12" fmla="*/ 1250 w 1250"/>
                <a:gd name="T13" fmla="*/ 13 h 1099"/>
                <a:gd name="T14" fmla="*/ 1170 w 1250"/>
                <a:gd name="T15" fmla="*/ 292 h 1099"/>
                <a:gd name="T16" fmla="*/ 1247 w 1250"/>
                <a:gd name="T17" fmla="*/ 292 h 1099"/>
                <a:gd name="T18" fmla="*/ 648 w 1250"/>
                <a:gd name="T19" fmla="*/ 762 h 1099"/>
                <a:gd name="T20" fmla="*/ 481 w 1250"/>
                <a:gd name="T21" fmla="*/ 644 h 1099"/>
                <a:gd name="T22" fmla="*/ 195 w 1250"/>
                <a:gd name="T23" fmla="*/ 644 h 1099"/>
                <a:gd name="T24" fmla="*/ 29 w 1250"/>
                <a:gd name="T25" fmla="*/ 762 h 1099"/>
                <a:gd name="T26" fmla="*/ 648 w 1250"/>
                <a:gd name="T27" fmla="*/ 762 h 1099"/>
                <a:gd name="T28" fmla="*/ 29 w 1250"/>
                <a:gd name="T29" fmla="*/ 981 h 1099"/>
                <a:gd name="T30" fmla="*/ 195 w 1250"/>
                <a:gd name="T31" fmla="*/ 1099 h 1099"/>
                <a:gd name="T32" fmla="*/ 481 w 1250"/>
                <a:gd name="T33" fmla="*/ 1099 h 1099"/>
                <a:gd name="T34" fmla="*/ 648 w 1250"/>
                <a:gd name="T35" fmla="*/ 981 h 1099"/>
                <a:gd name="T36" fmla="*/ 29 w 1250"/>
                <a:gd name="T37" fmla="*/ 981 h 1099"/>
                <a:gd name="T38" fmla="*/ 621 w 1250"/>
                <a:gd name="T39" fmla="*/ 924 h 1099"/>
                <a:gd name="T40" fmla="*/ 674 w 1250"/>
                <a:gd name="T41" fmla="*/ 871 h 1099"/>
                <a:gd name="T42" fmla="*/ 621 w 1250"/>
                <a:gd name="T43" fmla="*/ 818 h 1099"/>
                <a:gd name="T44" fmla="*/ 53 w 1250"/>
                <a:gd name="T45" fmla="*/ 818 h 1099"/>
                <a:gd name="T46" fmla="*/ 0 w 1250"/>
                <a:gd name="T47" fmla="*/ 871 h 1099"/>
                <a:gd name="T48" fmla="*/ 53 w 1250"/>
                <a:gd name="T49" fmla="*/ 924 h 1099"/>
                <a:gd name="T50" fmla="*/ 621 w 1250"/>
                <a:gd name="T51" fmla="*/ 924 h 10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50" h="1099">
                  <a:moveTo>
                    <a:pt x="1247" y="292"/>
                  </a:moveTo>
                  <a:lnTo>
                    <a:pt x="1145" y="1099"/>
                  </a:lnTo>
                  <a:lnTo>
                    <a:pt x="799" y="1099"/>
                  </a:lnTo>
                  <a:lnTo>
                    <a:pt x="697" y="292"/>
                  </a:lnTo>
                  <a:lnTo>
                    <a:pt x="1119" y="292"/>
                  </a:lnTo>
                  <a:lnTo>
                    <a:pt x="1203" y="0"/>
                  </a:lnTo>
                  <a:lnTo>
                    <a:pt x="1250" y="13"/>
                  </a:lnTo>
                  <a:lnTo>
                    <a:pt x="1170" y="292"/>
                  </a:lnTo>
                  <a:lnTo>
                    <a:pt x="1247" y="292"/>
                  </a:lnTo>
                  <a:close/>
                  <a:moveTo>
                    <a:pt x="648" y="762"/>
                  </a:moveTo>
                  <a:cubicBezTo>
                    <a:pt x="648" y="762"/>
                    <a:pt x="661" y="644"/>
                    <a:pt x="481" y="644"/>
                  </a:cubicBezTo>
                  <a:lnTo>
                    <a:pt x="195" y="644"/>
                  </a:lnTo>
                  <a:cubicBezTo>
                    <a:pt x="16" y="644"/>
                    <a:pt x="29" y="762"/>
                    <a:pt x="29" y="762"/>
                  </a:cubicBezTo>
                  <a:lnTo>
                    <a:pt x="648" y="762"/>
                  </a:lnTo>
                  <a:close/>
                  <a:moveTo>
                    <a:pt x="29" y="981"/>
                  </a:moveTo>
                  <a:cubicBezTo>
                    <a:pt x="29" y="981"/>
                    <a:pt x="16" y="1099"/>
                    <a:pt x="195" y="1099"/>
                  </a:cubicBezTo>
                  <a:lnTo>
                    <a:pt x="481" y="1099"/>
                  </a:lnTo>
                  <a:cubicBezTo>
                    <a:pt x="661" y="1099"/>
                    <a:pt x="648" y="981"/>
                    <a:pt x="648" y="981"/>
                  </a:cubicBezTo>
                  <a:lnTo>
                    <a:pt x="29" y="981"/>
                  </a:lnTo>
                  <a:close/>
                  <a:moveTo>
                    <a:pt x="621" y="924"/>
                  </a:moveTo>
                  <a:cubicBezTo>
                    <a:pt x="650" y="924"/>
                    <a:pt x="674" y="900"/>
                    <a:pt x="674" y="871"/>
                  </a:cubicBezTo>
                  <a:cubicBezTo>
                    <a:pt x="674" y="842"/>
                    <a:pt x="650" y="818"/>
                    <a:pt x="621" y="818"/>
                  </a:cubicBezTo>
                  <a:lnTo>
                    <a:pt x="53" y="818"/>
                  </a:lnTo>
                  <a:cubicBezTo>
                    <a:pt x="24" y="818"/>
                    <a:pt x="0" y="842"/>
                    <a:pt x="0" y="871"/>
                  </a:cubicBezTo>
                  <a:cubicBezTo>
                    <a:pt x="0" y="900"/>
                    <a:pt x="24" y="924"/>
                    <a:pt x="53" y="924"/>
                  </a:cubicBezTo>
                  <a:lnTo>
                    <a:pt x="621" y="924"/>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218" name="Groep 217">
            <a:extLst>
              <a:ext uri="{FF2B5EF4-FFF2-40B4-BE49-F238E27FC236}">
                <a16:creationId xmlns:a16="http://schemas.microsoft.com/office/drawing/2014/main" id="{32AE50FC-38E6-4335-9626-59CA060CAE90}"/>
              </a:ext>
            </a:extLst>
          </p:cNvPr>
          <p:cNvGrpSpPr/>
          <p:nvPr/>
        </p:nvGrpSpPr>
        <p:grpSpPr>
          <a:xfrm>
            <a:off x="10246155" y="2033315"/>
            <a:ext cx="288000" cy="288000"/>
            <a:chOff x="2750554" y="409060"/>
            <a:chExt cx="329184" cy="329184"/>
          </a:xfrm>
        </p:grpSpPr>
        <p:sp>
          <p:nvSpPr>
            <p:cNvPr id="219" name="Oval 165">
              <a:extLst>
                <a:ext uri="{FF2B5EF4-FFF2-40B4-BE49-F238E27FC236}">
                  <a16:creationId xmlns:a16="http://schemas.microsoft.com/office/drawing/2014/main" id="{3A3E6A4A-BA51-41C9-9DA6-6FF10852AE41}"/>
                </a:ext>
              </a:extLst>
            </p:cNvPr>
            <p:cNvSpPr/>
            <p:nvPr/>
          </p:nvSpPr>
          <p:spPr>
            <a:xfrm>
              <a:off x="2750554" y="409060"/>
              <a:ext cx="329184" cy="329184"/>
            </a:xfrm>
            <a:prstGeom prst="ellipse">
              <a:avLst/>
            </a:prstGeom>
            <a:solidFill>
              <a:schemeClr val="accen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0" name="Tag2" descr="{&quot;Key&quot;:&quot;POWER_USER_SHAPE_ICON&quot;,&quot;Value&quot;:&quot;POWER_USER_SHAPE_ICON_STYLE_1&quot;}">
              <a:extLst>
                <a:ext uri="{FF2B5EF4-FFF2-40B4-BE49-F238E27FC236}">
                  <a16:creationId xmlns:a16="http://schemas.microsoft.com/office/drawing/2014/main" id="{CC9B8B0A-5867-4BE1-B08E-5054C07E2D97}"/>
                </a:ext>
              </a:extLst>
            </p:cNvPr>
            <p:cNvSpPr>
              <a:spLocks noChangeAspect="1" noEditPoints="1"/>
            </p:cNvSpPr>
            <p:nvPr>
              <p:custDataLst>
                <p:tags r:id="rId21"/>
              </p:custDataLst>
            </p:nvPr>
          </p:nvSpPr>
          <p:spPr bwMode="auto">
            <a:xfrm>
              <a:off x="2771278" y="477528"/>
              <a:ext cx="135298" cy="134693"/>
            </a:xfrm>
            <a:custGeom>
              <a:avLst/>
              <a:gdLst>
                <a:gd name="T0" fmla="*/ 537 w 621"/>
                <a:gd name="T1" fmla="*/ 117 h 617"/>
                <a:gd name="T2" fmla="*/ 504 w 621"/>
                <a:gd name="T3" fmla="*/ 83 h 617"/>
                <a:gd name="T4" fmla="*/ 537 w 621"/>
                <a:gd name="T5" fmla="*/ 50 h 617"/>
                <a:gd name="T6" fmla="*/ 571 w 621"/>
                <a:gd name="T7" fmla="*/ 83 h 617"/>
                <a:gd name="T8" fmla="*/ 537 w 621"/>
                <a:gd name="T9" fmla="*/ 117 h 617"/>
                <a:gd name="T10" fmla="*/ 601 w 621"/>
                <a:gd name="T11" fmla="*/ 0 h 617"/>
                <a:gd name="T12" fmla="*/ 600 w 621"/>
                <a:gd name="T13" fmla="*/ 0 h 617"/>
                <a:gd name="T14" fmla="*/ 599 w 621"/>
                <a:gd name="T15" fmla="*/ 0 h 617"/>
                <a:gd name="T16" fmla="*/ 341 w 621"/>
                <a:gd name="T17" fmla="*/ 0 h 617"/>
                <a:gd name="T18" fmla="*/ 318 w 621"/>
                <a:gd name="T19" fmla="*/ 12 h 617"/>
                <a:gd name="T20" fmla="*/ 16 w 621"/>
                <a:gd name="T21" fmla="*/ 314 h 617"/>
                <a:gd name="T22" fmla="*/ 16 w 621"/>
                <a:gd name="T23" fmla="*/ 372 h 617"/>
                <a:gd name="T24" fmla="*/ 248 w 621"/>
                <a:gd name="T25" fmla="*/ 605 h 617"/>
                <a:gd name="T26" fmla="*/ 277 w 621"/>
                <a:gd name="T27" fmla="*/ 617 h 617"/>
                <a:gd name="T28" fmla="*/ 306 w 621"/>
                <a:gd name="T29" fmla="*/ 605 h 617"/>
                <a:gd name="T30" fmla="*/ 608 w 621"/>
                <a:gd name="T31" fmla="*/ 302 h 617"/>
                <a:gd name="T32" fmla="*/ 621 w 621"/>
                <a:gd name="T33" fmla="*/ 280 h 617"/>
                <a:gd name="T34" fmla="*/ 621 w 621"/>
                <a:gd name="T35" fmla="*/ 20 h 617"/>
                <a:gd name="T36" fmla="*/ 601 w 621"/>
                <a:gd name="T37" fmla="*/ 0 h 6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21" h="617">
                  <a:moveTo>
                    <a:pt x="537" y="117"/>
                  </a:moveTo>
                  <a:cubicBezTo>
                    <a:pt x="519" y="117"/>
                    <a:pt x="504" y="102"/>
                    <a:pt x="504" y="83"/>
                  </a:cubicBezTo>
                  <a:cubicBezTo>
                    <a:pt x="504" y="65"/>
                    <a:pt x="519" y="50"/>
                    <a:pt x="537" y="50"/>
                  </a:cubicBezTo>
                  <a:cubicBezTo>
                    <a:pt x="556" y="50"/>
                    <a:pt x="571" y="65"/>
                    <a:pt x="571" y="83"/>
                  </a:cubicBezTo>
                  <a:cubicBezTo>
                    <a:pt x="571" y="102"/>
                    <a:pt x="556" y="117"/>
                    <a:pt x="537" y="117"/>
                  </a:cubicBezTo>
                  <a:close/>
                  <a:moveTo>
                    <a:pt x="601" y="0"/>
                  </a:moveTo>
                  <a:lnTo>
                    <a:pt x="600" y="0"/>
                  </a:lnTo>
                  <a:cubicBezTo>
                    <a:pt x="600" y="0"/>
                    <a:pt x="600" y="0"/>
                    <a:pt x="599" y="0"/>
                  </a:cubicBezTo>
                  <a:lnTo>
                    <a:pt x="341" y="0"/>
                  </a:lnTo>
                  <a:cubicBezTo>
                    <a:pt x="334" y="0"/>
                    <a:pt x="320" y="10"/>
                    <a:pt x="318" y="12"/>
                  </a:cubicBezTo>
                  <a:lnTo>
                    <a:pt x="16" y="314"/>
                  </a:lnTo>
                  <a:cubicBezTo>
                    <a:pt x="0" y="330"/>
                    <a:pt x="0" y="356"/>
                    <a:pt x="16" y="372"/>
                  </a:cubicBezTo>
                  <a:lnTo>
                    <a:pt x="248" y="605"/>
                  </a:lnTo>
                  <a:cubicBezTo>
                    <a:pt x="256" y="613"/>
                    <a:pt x="267" y="617"/>
                    <a:pt x="277" y="617"/>
                  </a:cubicBezTo>
                  <a:cubicBezTo>
                    <a:pt x="288" y="617"/>
                    <a:pt x="298" y="613"/>
                    <a:pt x="306" y="605"/>
                  </a:cubicBezTo>
                  <a:lnTo>
                    <a:pt x="608" y="302"/>
                  </a:lnTo>
                  <a:cubicBezTo>
                    <a:pt x="610" y="300"/>
                    <a:pt x="621" y="288"/>
                    <a:pt x="621" y="280"/>
                  </a:cubicBezTo>
                  <a:lnTo>
                    <a:pt x="621" y="20"/>
                  </a:lnTo>
                  <a:cubicBezTo>
                    <a:pt x="621" y="9"/>
                    <a:pt x="613" y="0"/>
                    <a:pt x="601"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1" name="Shopping_Basket2" descr="{&quot;Key&quot;:&quot;POWER_USER_SHAPE_ICON&quot;,&quot;Value&quot;:&quot;POWER_USER_SHAPE_ICON_STYLE_1&quot;}">
              <a:extLst>
                <a:ext uri="{FF2B5EF4-FFF2-40B4-BE49-F238E27FC236}">
                  <a16:creationId xmlns:a16="http://schemas.microsoft.com/office/drawing/2014/main" id="{0B5B34B0-C530-4FCC-9065-5A075F9D5595}"/>
                </a:ext>
              </a:extLst>
            </p:cNvPr>
            <p:cNvSpPr>
              <a:spLocks noChangeAspect="1" noChangeArrowheads="1"/>
            </p:cNvSpPr>
            <p:nvPr>
              <p:custDataLst>
                <p:tags r:id="rId22"/>
              </p:custDataLst>
            </p:nvPr>
          </p:nvSpPr>
          <p:spPr bwMode="auto">
            <a:xfrm>
              <a:off x="2889956" y="506183"/>
              <a:ext cx="146089" cy="128381"/>
            </a:xfrm>
            <a:custGeom>
              <a:avLst/>
              <a:gdLst>
                <a:gd name="T0" fmla="*/ 429 w 583"/>
                <a:gd name="T1" fmla="*/ 183 h 512"/>
                <a:gd name="T2" fmla="*/ 312 w 583"/>
                <a:gd name="T3" fmla="*/ 10 h 512"/>
                <a:gd name="T4" fmla="*/ 291 w 583"/>
                <a:gd name="T5" fmla="*/ 0 h 512"/>
                <a:gd name="T6" fmla="*/ 271 w 583"/>
                <a:gd name="T7" fmla="*/ 10 h 512"/>
                <a:gd name="T8" fmla="*/ 153 w 583"/>
                <a:gd name="T9" fmla="*/ 183 h 512"/>
                <a:gd name="T10" fmla="*/ 26 w 583"/>
                <a:gd name="T11" fmla="*/ 183 h 512"/>
                <a:gd name="T12" fmla="*/ 0 w 583"/>
                <a:gd name="T13" fmla="*/ 214 h 512"/>
                <a:gd name="T14" fmla="*/ 0 w 583"/>
                <a:gd name="T15" fmla="*/ 219 h 512"/>
                <a:gd name="T16" fmla="*/ 66 w 583"/>
                <a:gd name="T17" fmla="*/ 470 h 512"/>
                <a:gd name="T18" fmla="*/ 117 w 583"/>
                <a:gd name="T19" fmla="*/ 511 h 512"/>
                <a:gd name="T20" fmla="*/ 465 w 583"/>
                <a:gd name="T21" fmla="*/ 511 h 512"/>
                <a:gd name="T22" fmla="*/ 516 w 583"/>
                <a:gd name="T23" fmla="*/ 470 h 512"/>
                <a:gd name="T24" fmla="*/ 582 w 583"/>
                <a:gd name="T25" fmla="*/ 219 h 512"/>
                <a:gd name="T26" fmla="*/ 582 w 583"/>
                <a:gd name="T27" fmla="*/ 214 h 512"/>
                <a:gd name="T28" fmla="*/ 552 w 583"/>
                <a:gd name="T29" fmla="*/ 183 h 512"/>
                <a:gd name="T30" fmla="*/ 429 w 583"/>
                <a:gd name="T31" fmla="*/ 183 h 512"/>
                <a:gd name="T32" fmla="*/ 209 w 583"/>
                <a:gd name="T33" fmla="*/ 183 h 512"/>
                <a:gd name="T34" fmla="*/ 291 w 583"/>
                <a:gd name="T35" fmla="*/ 66 h 512"/>
                <a:gd name="T36" fmla="*/ 373 w 583"/>
                <a:gd name="T37" fmla="*/ 183 h 512"/>
                <a:gd name="T38" fmla="*/ 209 w 583"/>
                <a:gd name="T39" fmla="*/ 183 h 512"/>
                <a:gd name="T40" fmla="*/ 291 w 583"/>
                <a:gd name="T41" fmla="*/ 398 h 512"/>
                <a:gd name="T42" fmla="*/ 240 w 583"/>
                <a:gd name="T43" fmla="*/ 347 h 512"/>
                <a:gd name="T44" fmla="*/ 291 w 583"/>
                <a:gd name="T45" fmla="*/ 291 h 512"/>
                <a:gd name="T46" fmla="*/ 347 w 583"/>
                <a:gd name="T47" fmla="*/ 347 h 512"/>
                <a:gd name="T48" fmla="*/ 291 w 583"/>
                <a:gd name="T49" fmla="*/ 39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83" h="512">
                  <a:moveTo>
                    <a:pt x="429" y="183"/>
                  </a:moveTo>
                  <a:lnTo>
                    <a:pt x="312" y="10"/>
                  </a:lnTo>
                  <a:cubicBezTo>
                    <a:pt x="307" y="5"/>
                    <a:pt x="299" y="0"/>
                    <a:pt x="291" y="0"/>
                  </a:cubicBezTo>
                  <a:cubicBezTo>
                    <a:pt x="284" y="0"/>
                    <a:pt x="276" y="0"/>
                    <a:pt x="271" y="10"/>
                  </a:cubicBezTo>
                  <a:lnTo>
                    <a:pt x="153" y="183"/>
                  </a:lnTo>
                  <a:lnTo>
                    <a:pt x="26" y="183"/>
                  </a:lnTo>
                  <a:cubicBezTo>
                    <a:pt x="10" y="183"/>
                    <a:pt x="0" y="194"/>
                    <a:pt x="0" y="214"/>
                  </a:cubicBezTo>
                  <a:lnTo>
                    <a:pt x="0" y="219"/>
                  </a:lnTo>
                  <a:lnTo>
                    <a:pt x="66" y="470"/>
                  </a:lnTo>
                  <a:cubicBezTo>
                    <a:pt x="72" y="490"/>
                    <a:pt x="92" y="511"/>
                    <a:pt x="117" y="511"/>
                  </a:cubicBezTo>
                  <a:lnTo>
                    <a:pt x="465" y="511"/>
                  </a:lnTo>
                  <a:cubicBezTo>
                    <a:pt x="485" y="511"/>
                    <a:pt x="506" y="490"/>
                    <a:pt x="516" y="470"/>
                  </a:cubicBezTo>
                  <a:lnTo>
                    <a:pt x="582" y="219"/>
                  </a:lnTo>
                  <a:lnTo>
                    <a:pt x="582" y="214"/>
                  </a:lnTo>
                  <a:cubicBezTo>
                    <a:pt x="582" y="194"/>
                    <a:pt x="572" y="183"/>
                    <a:pt x="552" y="183"/>
                  </a:cubicBezTo>
                  <a:lnTo>
                    <a:pt x="429" y="183"/>
                  </a:lnTo>
                  <a:close/>
                  <a:moveTo>
                    <a:pt x="209" y="183"/>
                  </a:moveTo>
                  <a:lnTo>
                    <a:pt x="291" y="66"/>
                  </a:lnTo>
                  <a:lnTo>
                    <a:pt x="373" y="183"/>
                  </a:lnTo>
                  <a:lnTo>
                    <a:pt x="209" y="183"/>
                  </a:lnTo>
                  <a:close/>
                  <a:moveTo>
                    <a:pt x="291" y="398"/>
                  </a:moveTo>
                  <a:cubicBezTo>
                    <a:pt x="261" y="398"/>
                    <a:pt x="240" y="375"/>
                    <a:pt x="240" y="347"/>
                  </a:cubicBezTo>
                  <a:cubicBezTo>
                    <a:pt x="240" y="319"/>
                    <a:pt x="261" y="291"/>
                    <a:pt x="291" y="291"/>
                  </a:cubicBezTo>
                  <a:cubicBezTo>
                    <a:pt x="322" y="291"/>
                    <a:pt x="347" y="319"/>
                    <a:pt x="347" y="347"/>
                  </a:cubicBezTo>
                  <a:cubicBezTo>
                    <a:pt x="347" y="375"/>
                    <a:pt x="322" y="398"/>
                    <a:pt x="291" y="398"/>
                  </a:cubicBezTo>
                  <a:close/>
                </a:path>
              </a:pathLst>
            </a:custGeom>
            <a:solidFill>
              <a:schemeClr val="bg1"/>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225" name="Oval 165">
            <a:extLst>
              <a:ext uri="{FF2B5EF4-FFF2-40B4-BE49-F238E27FC236}">
                <a16:creationId xmlns:a16="http://schemas.microsoft.com/office/drawing/2014/main" id="{00754E1D-35BE-432C-B12A-524BC56A522F}"/>
              </a:ext>
            </a:extLst>
          </p:cNvPr>
          <p:cNvSpPr/>
          <p:nvPr/>
        </p:nvSpPr>
        <p:spPr>
          <a:xfrm>
            <a:off x="8618210" y="5139931"/>
            <a:ext cx="329184" cy="329184"/>
          </a:xfrm>
          <a:prstGeom prst="ellipse">
            <a:avLst/>
          </a:prstGeom>
          <a:solidFill>
            <a:schemeClr val="accen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6" name="Fast_food2" descr="{&quot;Key&quot;:&quot;POWER_USER_SHAPE_ICON&quot;,&quot;Value&quot;:&quot;POWER_USER_SHAPE_ICON_STYLE_1&quot;}">
            <a:extLst>
              <a:ext uri="{FF2B5EF4-FFF2-40B4-BE49-F238E27FC236}">
                <a16:creationId xmlns:a16="http://schemas.microsoft.com/office/drawing/2014/main" id="{A93E6DE1-F07C-48BA-A814-D1499634E707}"/>
              </a:ext>
            </a:extLst>
          </p:cNvPr>
          <p:cNvSpPr>
            <a:spLocks noChangeAspect="1" noEditPoints="1"/>
          </p:cNvSpPr>
          <p:nvPr/>
        </p:nvSpPr>
        <p:spPr bwMode="auto">
          <a:xfrm>
            <a:off x="8689490" y="5151770"/>
            <a:ext cx="180926" cy="251669"/>
          </a:xfrm>
          <a:custGeom>
            <a:avLst/>
            <a:gdLst>
              <a:gd name="T0" fmla="*/ 1247 w 1250"/>
              <a:gd name="T1" fmla="*/ 292 h 1099"/>
              <a:gd name="T2" fmla="*/ 1145 w 1250"/>
              <a:gd name="T3" fmla="*/ 1099 h 1099"/>
              <a:gd name="T4" fmla="*/ 799 w 1250"/>
              <a:gd name="T5" fmla="*/ 1099 h 1099"/>
              <a:gd name="T6" fmla="*/ 697 w 1250"/>
              <a:gd name="T7" fmla="*/ 292 h 1099"/>
              <a:gd name="T8" fmla="*/ 1119 w 1250"/>
              <a:gd name="T9" fmla="*/ 292 h 1099"/>
              <a:gd name="T10" fmla="*/ 1203 w 1250"/>
              <a:gd name="T11" fmla="*/ 0 h 1099"/>
              <a:gd name="T12" fmla="*/ 1250 w 1250"/>
              <a:gd name="T13" fmla="*/ 13 h 1099"/>
              <a:gd name="T14" fmla="*/ 1170 w 1250"/>
              <a:gd name="T15" fmla="*/ 292 h 1099"/>
              <a:gd name="T16" fmla="*/ 1247 w 1250"/>
              <a:gd name="T17" fmla="*/ 292 h 1099"/>
              <a:gd name="T18" fmla="*/ 648 w 1250"/>
              <a:gd name="T19" fmla="*/ 762 h 1099"/>
              <a:gd name="T20" fmla="*/ 481 w 1250"/>
              <a:gd name="T21" fmla="*/ 644 h 1099"/>
              <a:gd name="T22" fmla="*/ 195 w 1250"/>
              <a:gd name="T23" fmla="*/ 644 h 1099"/>
              <a:gd name="T24" fmla="*/ 29 w 1250"/>
              <a:gd name="T25" fmla="*/ 762 h 1099"/>
              <a:gd name="T26" fmla="*/ 648 w 1250"/>
              <a:gd name="T27" fmla="*/ 762 h 1099"/>
              <a:gd name="T28" fmla="*/ 29 w 1250"/>
              <a:gd name="T29" fmla="*/ 981 h 1099"/>
              <a:gd name="T30" fmla="*/ 195 w 1250"/>
              <a:gd name="T31" fmla="*/ 1099 h 1099"/>
              <a:gd name="T32" fmla="*/ 481 w 1250"/>
              <a:gd name="T33" fmla="*/ 1099 h 1099"/>
              <a:gd name="T34" fmla="*/ 648 w 1250"/>
              <a:gd name="T35" fmla="*/ 981 h 1099"/>
              <a:gd name="T36" fmla="*/ 29 w 1250"/>
              <a:gd name="T37" fmla="*/ 981 h 1099"/>
              <a:gd name="T38" fmla="*/ 621 w 1250"/>
              <a:gd name="T39" fmla="*/ 924 h 1099"/>
              <a:gd name="T40" fmla="*/ 674 w 1250"/>
              <a:gd name="T41" fmla="*/ 871 h 1099"/>
              <a:gd name="T42" fmla="*/ 621 w 1250"/>
              <a:gd name="T43" fmla="*/ 818 h 1099"/>
              <a:gd name="T44" fmla="*/ 53 w 1250"/>
              <a:gd name="T45" fmla="*/ 818 h 1099"/>
              <a:gd name="T46" fmla="*/ 0 w 1250"/>
              <a:gd name="T47" fmla="*/ 871 h 1099"/>
              <a:gd name="T48" fmla="*/ 53 w 1250"/>
              <a:gd name="T49" fmla="*/ 924 h 1099"/>
              <a:gd name="T50" fmla="*/ 621 w 1250"/>
              <a:gd name="T51" fmla="*/ 924 h 10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50" h="1099">
                <a:moveTo>
                  <a:pt x="1247" y="292"/>
                </a:moveTo>
                <a:lnTo>
                  <a:pt x="1145" y="1099"/>
                </a:lnTo>
                <a:lnTo>
                  <a:pt x="799" y="1099"/>
                </a:lnTo>
                <a:lnTo>
                  <a:pt x="697" y="292"/>
                </a:lnTo>
                <a:lnTo>
                  <a:pt x="1119" y="292"/>
                </a:lnTo>
                <a:lnTo>
                  <a:pt x="1203" y="0"/>
                </a:lnTo>
                <a:lnTo>
                  <a:pt x="1250" y="13"/>
                </a:lnTo>
                <a:lnTo>
                  <a:pt x="1170" y="292"/>
                </a:lnTo>
                <a:lnTo>
                  <a:pt x="1247" y="292"/>
                </a:lnTo>
                <a:close/>
                <a:moveTo>
                  <a:pt x="648" y="762"/>
                </a:moveTo>
                <a:cubicBezTo>
                  <a:pt x="648" y="762"/>
                  <a:pt x="661" y="644"/>
                  <a:pt x="481" y="644"/>
                </a:cubicBezTo>
                <a:lnTo>
                  <a:pt x="195" y="644"/>
                </a:lnTo>
                <a:cubicBezTo>
                  <a:pt x="16" y="644"/>
                  <a:pt x="29" y="762"/>
                  <a:pt x="29" y="762"/>
                </a:cubicBezTo>
                <a:lnTo>
                  <a:pt x="648" y="762"/>
                </a:lnTo>
                <a:close/>
                <a:moveTo>
                  <a:pt x="29" y="981"/>
                </a:moveTo>
                <a:cubicBezTo>
                  <a:pt x="29" y="981"/>
                  <a:pt x="16" y="1099"/>
                  <a:pt x="195" y="1099"/>
                </a:cubicBezTo>
                <a:lnTo>
                  <a:pt x="481" y="1099"/>
                </a:lnTo>
                <a:cubicBezTo>
                  <a:pt x="661" y="1099"/>
                  <a:pt x="648" y="981"/>
                  <a:pt x="648" y="981"/>
                </a:cubicBezTo>
                <a:lnTo>
                  <a:pt x="29" y="981"/>
                </a:lnTo>
                <a:close/>
                <a:moveTo>
                  <a:pt x="621" y="924"/>
                </a:moveTo>
                <a:cubicBezTo>
                  <a:pt x="650" y="924"/>
                  <a:pt x="674" y="900"/>
                  <a:pt x="674" y="871"/>
                </a:cubicBezTo>
                <a:cubicBezTo>
                  <a:pt x="674" y="842"/>
                  <a:pt x="650" y="818"/>
                  <a:pt x="621" y="818"/>
                </a:cubicBezTo>
                <a:lnTo>
                  <a:pt x="53" y="818"/>
                </a:lnTo>
                <a:cubicBezTo>
                  <a:pt x="24" y="818"/>
                  <a:pt x="0" y="842"/>
                  <a:pt x="0" y="871"/>
                </a:cubicBezTo>
                <a:cubicBezTo>
                  <a:pt x="0" y="900"/>
                  <a:pt x="24" y="924"/>
                  <a:pt x="53" y="924"/>
                </a:cubicBezTo>
                <a:lnTo>
                  <a:pt x="621" y="924"/>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nvGrpSpPr>
          <p:cNvPr id="227" name="Groep 226">
            <a:extLst>
              <a:ext uri="{FF2B5EF4-FFF2-40B4-BE49-F238E27FC236}">
                <a16:creationId xmlns:a16="http://schemas.microsoft.com/office/drawing/2014/main" id="{3627FE8C-F85F-411F-8C52-08F0907656F2}"/>
              </a:ext>
            </a:extLst>
          </p:cNvPr>
          <p:cNvGrpSpPr/>
          <p:nvPr/>
        </p:nvGrpSpPr>
        <p:grpSpPr>
          <a:xfrm>
            <a:off x="8129213" y="5274137"/>
            <a:ext cx="329184" cy="329184"/>
            <a:chOff x="2750554" y="409060"/>
            <a:chExt cx="329184" cy="329184"/>
          </a:xfrm>
        </p:grpSpPr>
        <p:sp>
          <p:nvSpPr>
            <p:cNvPr id="228" name="Oval 165">
              <a:extLst>
                <a:ext uri="{FF2B5EF4-FFF2-40B4-BE49-F238E27FC236}">
                  <a16:creationId xmlns:a16="http://schemas.microsoft.com/office/drawing/2014/main" id="{20EFDB00-C9B6-4C52-AB91-D315B54B7BB6}"/>
                </a:ext>
              </a:extLst>
            </p:cNvPr>
            <p:cNvSpPr/>
            <p:nvPr/>
          </p:nvSpPr>
          <p:spPr>
            <a:xfrm>
              <a:off x="2750554" y="409060"/>
              <a:ext cx="329184" cy="329184"/>
            </a:xfrm>
            <a:prstGeom prst="ellipse">
              <a:avLst/>
            </a:prstGeom>
            <a:solidFill>
              <a:schemeClr val="accen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9" name="Tag2" descr="{&quot;Key&quot;:&quot;POWER_USER_SHAPE_ICON&quot;,&quot;Value&quot;:&quot;POWER_USER_SHAPE_ICON_STYLE_1&quot;}">
              <a:extLst>
                <a:ext uri="{FF2B5EF4-FFF2-40B4-BE49-F238E27FC236}">
                  <a16:creationId xmlns:a16="http://schemas.microsoft.com/office/drawing/2014/main" id="{094EC72E-CDAF-413F-BFCA-69DD1105DA78}"/>
                </a:ext>
              </a:extLst>
            </p:cNvPr>
            <p:cNvSpPr>
              <a:spLocks noChangeAspect="1" noEditPoints="1"/>
            </p:cNvSpPr>
            <p:nvPr>
              <p:custDataLst>
                <p:tags r:id="rId19"/>
              </p:custDataLst>
            </p:nvPr>
          </p:nvSpPr>
          <p:spPr bwMode="auto">
            <a:xfrm>
              <a:off x="2771278" y="477528"/>
              <a:ext cx="135298" cy="134693"/>
            </a:xfrm>
            <a:custGeom>
              <a:avLst/>
              <a:gdLst>
                <a:gd name="T0" fmla="*/ 537 w 621"/>
                <a:gd name="T1" fmla="*/ 117 h 617"/>
                <a:gd name="T2" fmla="*/ 504 w 621"/>
                <a:gd name="T3" fmla="*/ 83 h 617"/>
                <a:gd name="T4" fmla="*/ 537 w 621"/>
                <a:gd name="T5" fmla="*/ 50 h 617"/>
                <a:gd name="T6" fmla="*/ 571 w 621"/>
                <a:gd name="T7" fmla="*/ 83 h 617"/>
                <a:gd name="T8" fmla="*/ 537 w 621"/>
                <a:gd name="T9" fmla="*/ 117 h 617"/>
                <a:gd name="T10" fmla="*/ 601 w 621"/>
                <a:gd name="T11" fmla="*/ 0 h 617"/>
                <a:gd name="T12" fmla="*/ 600 w 621"/>
                <a:gd name="T13" fmla="*/ 0 h 617"/>
                <a:gd name="T14" fmla="*/ 599 w 621"/>
                <a:gd name="T15" fmla="*/ 0 h 617"/>
                <a:gd name="T16" fmla="*/ 341 w 621"/>
                <a:gd name="T17" fmla="*/ 0 h 617"/>
                <a:gd name="T18" fmla="*/ 318 w 621"/>
                <a:gd name="T19" fmla="*/ 12 h 617"/>
                <a:gd name="T20" fmla="*/ 16 w 621"/>
                <a:gd name="T21" fmla="*/ 314 h 617"/>
                <a:gd name="T22" fmla="*/ 16 w 621"/>
                <a:gd name="T23" fmla="*/ 372 h 617"/>
                <a:gd name="T24" fmla="*/ 248 w 621"/>
                <a:gd name="T25" fmla="*/ 605 h 617"/>
                <a:gd name="T26" fmla="*/ 277 w 621"/>
                <a:gd name="T27" fmla="*/ 617 h 617"/>
                <a:gd name="T28" fmla="*/ 306 w 621"/>
                <a:gd name="T29" fmla="*/ 605 h 617"/>
                <a:gd name="T30" fmla="*/ 608 w 621"/>
                <a:gd name="T31" fmla="*/ 302 h 617"/>
                <a:gd name="T32" fmla="*/ 621 w 621"/>
                <a:gd name="T33" fmla="*/ 280 h 617"/>
                <a:gd name="T34" fmla="*/ 621 w 621"/>
                <a:gd name="T35" fmla="*/ 20 h 617"/>
                <a:gd name="T36" fmla="*/ 601 w 621"/>
                <a:gd name="T37" fmla="*/ 0 h 6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21" h="617">
                  <a:moveTo>
                    <a:pt x="537" y="117"/>
                  </a:moveTo>
                  <a:cubicBezTo>
                    <a:pt x="519" y="117"/>
                    <a:pt x="504" y="102"/>
                    <a:pt x="504" y="83"/>
                  </a:cubicBezTo>
                  <a:cubicBezTo>
                    <a:pt x="504" y="65"/>
                    <a:pt x="519" y="50"/>
                    <a:pt x="537" y="50"/>
                  </a:cubicBezTo>
                  <a:cubicBezTo>
                    <a:pt x="556" y="50"/>
                    <a:pt x="571" y="65"/>
                    <a:pt x="571" y="83"/>
                  </a:cubicBezTo>
                  <a:cubicBezTo>
                    <a:pt x="571" y="102"/>
                    <a:pt x="556" y="117"/>
                    <a:pt x="537" y="117"/>
                  </a:cubicBezTo>
                  <a:close/>
                  <a:moveTo>
                    <a:pt x="601" y="0"/>
                  </a:moveTo>
                  <a:lnTo>
                    <a:pt x="600" y="0"/>
                  </a:lnTo>
                  <a:cubicBezTo>
                    <a:pt x="600" y="0"/>
                    <a:pt x="600" y="0"/>
                    <a:pt x="599" y="0"/>
                  </a:cubicBezTo>
                  <a:lnTo>
                    <a:pt x="341" y="0"/>
                  </a:lnTo>
                  <a:cubicBezTo>
                    <a:pt x="334" y="0"/>
                    <a:pt x="320" y="10"/>
                    <a:pt x="318" y="12"/>
                  </a:cubicBezTo>
                  <a:lnTo>
                    <a:pt x="16" y="314"/>
                  </a:lnTo>
                  <a:cubicBezTo>
                    <a:pt x="0" y="330"/>
                    <a:pt x="0" y="356"/>
                    <a:pt x="16" y="372"/>
                  </a:cubicBezTo>
                  <a:lnTo>
                    <a:pt x="248" y="605"/>
                  </a:lnTo>
                  <a:cubicBezTo>
                    <a:pt x="256" y="613"/>
                    <a:pt x="267" y="617"/>
                    <a:pt x="277" y="617"/>
                  </a:cubicBezTo>
                  <a:cubicBezTo>
                    <a:pt x="288" y="617"/>
                    <a:pt x="298" y="613"/>
                    <a:pt x="306" y="605"/>
                  </a:cubicBezTo>
                  <a:lnTo>
                    <a:pt x="608" y="302"/>
                  </a:lnTo>
                  <a:cubicBezTo>
                    <a:pt x="610" y="300"/>
                    <a:pt x="621" y="288"/>
                    <a:pt x="621" y="280"/>
                  </a:cubicBezTo>
                  <a:lnTo>
                    <a:pt x="621" y="20"/>
                  </a:lnTo>
                  <a:cubicBezTo>
                    <a:pt x="621" y="9"/>
                    <a:pt x="613" y="0"/>
                    <a:pt x="601"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0" name="Shopping_Basket2" descr="{&quot;Key&quot;:&quot;POWER_USER_SHAPE_ICON&quot;,&quot;Value&quot;:&quot;POWER_USER_SHAPE_ICON_STYLE_1&quot;}">
              <a:extLst>
                <a:ext uri="{FF2B5EF4-FFF2-40B4-BE49-F238E27FC236}">
                  <a16:creationId xmlns:a16="http://schemas.microsoft.com/office/drawing/2014/main" id="{C93FDAA1-B576-42CA-AEB9-3E4D8AE6C292}"/>
                </a:ext>
              </a:extLst>
            </p:cNvPr>
            <p:cNvSpPr>
              <a:spLocks noChangeAspect="1" noChangeArrowheads="1"/>
            </p:cNvSpPr>
            <p:nvPr>
              <p:custDataLst>
                <p:tags r:id="rId20"/>
              </p:custDataLst>
            </p:nvPr>
          </p:nvSpPr>
          <p:spPr bwMode="auto">
            <a:xfrm>
              <a:off x="2889956" y="506183"/>
              <a:ext cx="146089" cy="128381"/>
            </a:xfrm>
            <a:custGeom>
              <a:avLst/>
              <a:gdLst>
                <a:gd name="T0" fmla="*/ 429 w 583"/>
                <a:gd name="T1" fmla="*/ 183 h 512"/>
                <a:gd name="T2" fmla="*/ 312 w 583"/>
                <a:gd name="T3" fmla="*/ 10 h 512"/>
                <a:gd name="T4" fmla="*/ 291 w 583"/>
                <a:gd name="T5" fmla="*/ 0 h 512"/>
                <a:gd name="T6" fmla="*/ 271 w 583"/>
                <a:gd name="T7" fmla="*/ 10 h 512"/>
                <a:gd name="T8" fmla="*/ 153 w 583"/>
                <a:gd name="T9" fmla="*/ 183 h 512"/>
                <a:gd name="T10" fmla="*/ 26 w 583"/>
                <a:gd name="T11" fmla="*/ 183 h 512"/>
                <a:gd name="T12" fmla="*/ 0 w 583"/>
                <a:gd name="T13" fmla="*/ 214 h 512"/>
                <a:gd name="T14" fmla="*/ 0 w 583"/>
                <a:gd name="T15" fmla="*/ 219 h 512"/>
                <a:gd name="T16" fmla="*/ 66 w 583"/>
                <a:gd name="T17" fmla="*/ 470 h 512"/>
                <a:gd name="T18" fmla="*/ 117 w 583"/>
                <a:gd name="T19" fmla="*/ 511 h 512"/>
                <a:gd name="T20" fmla="*/ 465 w 583"/>
                <a:gd name="T21" fmla="*/ 511 h 512"/>
                <a:gd name="T22" fmla="*/ 516 w 583"/>
                <a:gd name="T23" fmla="*/ 470 h 512"/>
                <a:gd name="T24" fmla="*/ 582 w 583"/>
                <a:gd name="T25" fmla="*/ 219 h 512"/>
                <a:gd name="T26" fmla="*/ 582 w 583"/>
                <a:gd name="T27" fmla="*/ 214 h 512"/>
                <a:gd name="T28" fmla="*/ 552 w 583"/>
                <a:gd name="T29" fmla="*/ 183 h 512"/>
                <a:gd name="T30" fmla="*/ 429 w 583"/>
                <a:gd name="T31" fmla="*/ 183 h 512"/>
                <a:gd name="T32" fmla="*/ 209 w 583"/>
                <a:gd name="T33" fmla="*/ 183 h 512"/>
                <a:gd name="T34" fmla="*/ 291 w 583"/>
                <a:gd name="T35" fmla="*/ 66 h 512"/>
                <a:gd name="T36" fmla="*/ 373 w 583"/>
                <a:gd name="T37" fmla="*/ 183 h 512"/>
                <a:gd name="T38" fmla="*/ 209 w 583"/>
                <a:gd name="T39" fmla="*/ 183 h 512"/>
                <a:gd name="T40" fmla="*/ 291 w 583"/>
                <a:gd name="T41" fmla="*/ 398 h 512"/>
                <a:gd name="T42" fmla="*/ 240 w 583"/>
                <a:gd name="T43" fmla="*/ 347 h 512"/>
                <a:gd name="T44" fmla="*/ 291 w 583"/>
                <a:gd name="T45" fmla="*/ 291 h 512"/>
                <a:gd name="T46" fmla="*/ 347 w 583"/>
                <a:gd name="T47" fmla="*/ 347 h 512"/>
                <a:gd name="T48" fmla="*/ 291 w 583"/>
                <a:gd name="T49" fmla="*/ 39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83" h="512">
                  <a:moveTo>
                    <a:pt x="429" y="183"/>
                  </a:moveTo>
                  <a:lnTo>
                    <a:pt x="312" y="10"/>
                  </a:lnTo>
                  <a:cubicBezTo>
                    <a:pt x="307" y="5"/>
                    <a:pt x="299" y="0"/>
                    <a:pt x="291" y="0"/>
                  </a:cubicBezTo>
                  <a:cubicBezTo>
                    <a:pt x="284" y="0"/>
                    <a:pt x="276" y="0"/>
                    <a:pt x="271" y="10"/>
                  </a:cubicBezTo>
                  <a:lnTo>
                    <a:pt x="153" y="183"/>
                  </a:lnTo>
                  <a:lnTo>
                    <a:pt x="26" y="183"/>
                  </a:lnTo>
                  <a:cubicBezTo>
                    <a:pt x="10" y="183"/>
                    <a:pt x="0" y="194"/>
                    <a:pt x="0" y="214"/>
                  </a:cubicBezTo>
                  <a:lnTo>
                    <a:pt x="0" y="219"/>
                  </a:lnTo>
                  <a:lnTo>
                    <a:pt x="66" y="470"/>
                  </a:lnTo>
                  <a:cubicBezTo>
                    <a:pt x="72" y="490"/>
                    <a:pt x="92" y="511"/>
                    <a:pt x="117" y="511"/>
                  </a:cubicBezTo>
                  <a:lnTo>
                    <a:pt x="465" y="511"/>
                  </a:lnTo>
                  <a:cubicBezTo>
                    <a:pt x="485" y="511"/>
                    <a:pt x="506" y="490"/>
                    <a:pt x="516" y="470"/>
                  </a:cubicBezTo>
                  <a:lnTo>
                    <a:pt x="582" y="219"/>
                  </a:lnTo>
                  <a:lnTo>
                    <a:pt x="582" y="214"/>
                  </a:lnTo>
                  <a:cubicBezTo>
                    <a:pt x="582" y="194"/>
                    <a:pt x="572" y="183"/>
                    <a:pt x="552" y="183"/>
                  </a:cubicBezTo>
                  <a:lnTo>
                    <a:pt x="429" y="183"/>
                  </a:lnTo>
                  <a:close/>
                  <a:moveTo>
                    <a:pt x="209" y="183"/>
                  </a:moveTo>
                  <a:lnTo>
                    <a:pt x="291" y="66"/>
                  </a:lnTo>
                  <a:lnTo>
                    <a:pt x="373" y="183"/>
                  </a:lnTo>
                  <a:lnTo>
                    <a:pt x="209" y="183"/>
                  </a:lnTo>
                  <a:close/>
                  <a:moveTo>
                    <a:pt x="291" y="398"/>
                  </a:moveTo>
                  <a:cubicBezTo>
                    <a:pt x="261" y="398"/>
                    <a:pt x="240" y="375"/>
                    <a:pt x="240" y="347"/>
                  </a:cubicBezTo>
                  <a:cubicBezTo>
                    <a:pt x="240" y="319"/>
                    <a:pt x="261" y="291"/>
                    <a:pt x="291" y="291"/>
                  </a:cubicBezTo>
                  <a:cubicBezTo>
                    <a:pt x="322" y="291"/>
                    <a:pt x="347" y="319"/>
                    <a:pt x="347" y="347"/>
                  </a:cubicBezTo>
                  <a:cubicBezTo>
                    <a:pt x="347" y="375"/>
                    <a:pt x="322" y="398"/>
                    <a:pt x="291" y="398"/>
                  </a:cubicBezTo>
                  <a:close/>
                </a:path>
              </a:pathLst>
            </a:custGeom>
            <a:solidFill>
              <a:schemeClr val="bg1"/>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231" name="Rechthoek 63">
            <a:extLst>
              <a:ext uri="{FF2B5EF4-FFF2-40B4-BE49-F238E27FC236}">
                <a16:creationId xmlns:a16="http://schemas.microsoft.com/office/drawing/2014/main" id="{345FB1DB-D799-4F1A-A3D7-D4EE3B072660}"/>
              </a:ext>
            </a:extLst>
          </p:cNvPr>
          <p:cNvSpPr/>
          <p:nvPr/>
        </p:nvSpPr>
        <p:spPr>
          <a:xfrm>
            <a:off x="7051793" y="1870082"/>
            <a:ext cx="137160" cy="182880"/>
          </a:xfrm>
          <a:prstGeom prst="rect">
            <a:avLst/>
          </a:prstGeom>
          <a:ln/>
        </p:spPr>
        <p:style>
          <a:lnRef idx="0">
            <a:schemeClr val="accent2"/>
          </a:lnRef>
          <a:fillRef idx="3">
            <a:schemeClr val="accent2"/>
          </a:fillRef>
          <a:effectRef idx="3">
            <a:schemeClr val="accent2"/>
          </a:effectRef>
          <a:fontRef idx="minor">
            <a:schemeClr val="lt1"/>
          </a:fontRef>
        </p:style>
        <p:txBody>
          <a:bodyPr rtlCol="0" anchor="ctr"/>
          <a:lstStyle/>
          <a:p>
            <a:pPr algn="ctr"/>
            <a:r>
              <a:rPr lang="nl-NL" sz="1200" b="1"/>
              <a:t>P</a:t>
            </a:r>
          </a:p>
        </p:txBody>
      </p:sp>
      <p:sp>
        <p:nvSpPr>
          <p:cNvPr id="232" name="Rechthoek 63">
            <a:extLst>
              <a:ext uri="{FF2B5EF4-FFF2-40B4-BE49-F238E27FC236}">
                <a16:creationId xmlns:a16="http://schemas.microsoft.com/office/drawing/2014/main" id="{B4BA76BA-CACA-443A-9C2F-1D57EA572E2A}"/>
              </a:ext>
            </a:extLst>
          </p:cNvPr>
          <p:cNvSpPr/>
          <p:nvPr/>
        </p:nvSpPr>
        <p:spPr>
          <a:xfrm>
            <a:off x="9031933" y="822275"/>
            <a:ext cx="137160" cy="182880"/>
          </a:xfrm>
          <a:prstGeom prst="rect">
            <a:avLst/>
          </a:prstGeom>
          <a:ln/>
        </p:spPr>
        <p:style>
          <a:lnRef idx="0">
            <a:schemeClr val="accent2"/>
          </a:lnRef>
          <a:fillRef idx="3">
            <a:schemeClr val="accent2"/>
          </a:fillRef>
          <a:effectRef idx="3">
            <a:schemeClr val="accent2"/>
          </a:effectRef>
          <a:fontRef idx="minor">
            <a:schemeClr val="lt1"/>
          </a:fontRef>
        </p:style>
        <p:txBody>
          <a:bodyPr rtlCol="0" anchor="ctr"/>
          <a:lstStyle/>
          <a:p>
            <a:pPr algn="ctr"/>
            <a:r>
              <a:rPr lang="nl-NL" sz="1200" b="1"/>
              <a:t>P</a:t>
            </a:r>
          </a:p>
        </p:txBody>
      </p:sp>
      <p:sp>
        <p:nvSpPr>
          <p:cNvPr id="233" name="Rechthoek 63">
            <a:extLst>
              <a:ext uri="{FF2B5EF4-FFF2-40B4-BE49-F238E27FC236}">
                <a16:creationId xmlns:a16="http://schemas.microsoft.com/office/drawing/2014/main" id="{EEA6EA7A-7C7F-4246-B00A-2BE7688B78F1}"/>
              </a:ext>
            </a:extLst>
          </p:cNvPr>
          <p:cNvSpPr/>
          <p:nvPr/>
        </p:nvSpPr>
        <p:spPr>
          <a:xfrm>
            <a:off x="8143560" y="2757227"/>
            <a:ext cx="137160" cy="182880"/>
          </a:xfrm>
          <a:prstGeom prst="rect">
            <a:avLst/>
          </a:prstGeom>
          <a:ln/>
        </p:spPr>
        <p:style>
          <a:lnRef idx="0">
            <a:schemeClr val="accent2"/>
          </a:lnRef>
          <a:fillRef idx="3">
            <a:schemeClr val="accent2"/>
          </a:fillRef>
          <a:effectRef idx="3">
            <a:schemeClr val="accent2"/>
          </a:effectRef>
          <a:fontRef idx="minor">
            <a:schemeClr val="lt1"/>
          </a:fontRef>
        </p:style>
        <p:txBody>
          <a:bodyPr rtlCol="0" anchor="ctr"/>
          <a:lstStyle/>
          <a:p>
            <a:pPr algn="ctr"/>
            <a:r>
              <a:rPr lang="nl-NL" sz="1200" b="1"/>
              <a:t>P</a:t>
            </a:r>
          </a:p>
        </p:txBody>
      </p:sp>
      <p:sp>
        <p:nvSpPr>
          <p:cNvPr id="234" name="Rechthoek 63">
            <a:extLst>
              <a:ext uri="{FF2B5EF4-FFF2-40B4-BE49-F238E27FC236}">
                <a16:creationId xmlns:a16="http://schemas.microsoft.com/office/drawing/2014/main" id="{28602F47-5B68-4ED9-9EED-3B96F4A32D2F}"/>
              </a:ext>
            </a:extLst>
          </p:cNvPr>
          <p:cNvSpPr/>
          <p:nvPr/>
        </p:nvSpPr>
        <p:spPr>
          <a:xfrm>
            <a:off x="7840057" y="3802657"/>
            <a:ext cx="137160" cy="182880"/>
          </a:xfrm>
          <a:prstGeom prst="rect">
            <a:avLst/>
          </a:prstGeom>
          <a:ln/>
        </p:spPr>
        <p:style>
          <a:lnRef idx="0">
            <a:schemeClr val="accent2"/>
          </a:lnRef>
          <a:fillRef idx="3">
            <a:schemeClr val="accent2"/>
          </a:fillRef>
          <a:effectRef idx="3">
            <a:schemeClr val="accent2"/>
          </a:effectRef>
          <a:fontRef idx="minor">
            <a:schemeClr val="lt1"/>
          </a:fontRef>
        </p:style>
        <p:txBody>
          <a:bodyPr rtlCol="0" anchor="ctr"/>
          <a:lstStyle/>
          <a:p>
            <a:pPr algn="ctr"/>
            <a:r>
              <a:rPr lang="nl-NL" sz="1200" b="1"/>
              <a:t>P</a:t>
            </a:r>
          </a:p>
        </p:txBody>
      </p:sp>
      <p:sp>
        <p:nvSpPr>
          <p:cNvPr id="235" name="Rechthoek 63">
            <a:extLst>
              <a:ext uri="{FF2B5EF4-FFF2-40B4-BE49-F238E27FC236}">
                <a16:creationId xmlns:a16="http://schemas.microsoft.com/office/drawing/2014/main" id="{F53B0759-A181-40B3-9B74-FD2EE01A4DA8}"/>
              </a:ext>
            </a:extLst>
          </p:cNvPr>
          <p:cNvSpPr/>
          <p:nvPr/>
        </p:nvSpPr>
        <p:spPr>
          <a:xfrm>
            <a:off x="9446275" y="3022596"/>
            <a:ext cx="137160" cy="182880"/>
          </a:xfrm>
          <a:prstGeom prst="rect">
            <a:avLst/>
          </a:prstGeom>
          <a:ln/>
        </p:spPr>
        <p:style>
          <a:lnRef idx="0">
            <a:schemeClr val="accent2"/>
          </a:lnRef>
          <a:fillRef idx="3">
            <a:schemeClr val="accent2"/>
          </a:fillRef>
          <a:effectRef idx="3">
            <a:schemeClr val="accent2"/>
          </a:effectRef>
          <a:fontRef idx="minor">
            <a:schemeClr val="lt1"/>
          </a:fontRef>
        </p:style>
        <p:txBody>
          <a:bodyPr rtlCol="0" anchor="ctr"/>
          <a:lstStyle/>
          <a:p>
            <a:pPr algn="ctr"/>
            <a:r>
              <a:rPr lang="nl-NL" sz="1200" b="1"/>
              <a:t>P</a:t>
            </a:r>
          </a:p>
        </p:txBody>
      </p:sp>
      <p:sp>
        <p:nvSpPr>
          <p:cNvPr id="236" name="Rechthoek 63">
            <a:extLst>
              <a:ext uri="{FF2B5EF4-FFF2-40B4-BE49-F238E27FC236}">
                <a16:creationId xmlns:a16="http://schemas.microsoft.com/office/drawing/2014/main" id="{DF8449D4-CE6A-421D-9FF8-8AF7E95EE323}"/>
              </a:ext>
            </a:extLst>
          </p:cNvPr>
          <p:cNvSpPr/>
          <p:nvPr/>
        </p:nvSpPr>
        <p:spPr>
          <a:xfrm>
            <a:off x="9147791" y="4267983"/>
            <a:ext cx="137160" cy="182880"/>
          </a:xfrm>
          <a:prstGeom prst="rect">
            <a:avLst/>
          </a:prstGeom>
          <a:ln/>
        </p:spPr>
        <p:style>
          <a:lnRef idx="0">
            <a:schemeClr val="accent2"/>
          </a:lnRef>
          <a:fillRef idx="3">
            <a:schemeClr val="accent2"/>
          </a:fillRef>
          <a:effectRef idx="3">
            <a:schemeClr val="accent2"/>
          </a:effectRef>
          <a:fontRef idx="minor">
            <a:schemeClr val="lt1"/>
          </a:fontRef>
        </p:style>
        <p:txBody>
          <a:bodyPr rtlCol="0" anchor="ctr"/>
          <a:lstStyle/>
          <a:p>
            <a:pPr algn="ctr"/>
            <a:r>
              <a:rPr lang="nl-NL" sz="1200" b="1"/>
              <a:t>P</a:t>
            </a:r>
          </a:p>
        </p:txBody>
      </p:sp>
      <p:sp>
        <p:nvSpPr>
          <p:cNvPr id="237" name="Rechthoek 63">
            <a:extLst>
              <a:ext uri="{FF2B5EF4-FFF2-40B4-BE49-F238E27FC236}">
                <a16:creationId xmlns:a16="http://schemas.microsoft.com/office/drawing/2014/main" id="{7D627C7C-94BD-4635-9F7C-FF755E3DFCCE}"/>
              </a:ext>
            </a:extLst>
          </p:cNvPr>
          <p:cNvSpPr/>
          <p:nvPr/>
        </p:nvSpPr>
        <p:spPr>
          <a:xfrm>
            <a:off x="9833367" y="5365890"/>
            <a:ext cx="137160" cy="182880"/>
          </a:xfrm>
          <a:prstGeom prst="rect">
            <a:avLst/>
          </a:prstGeom>
          <a:ln/>
        </p:spPr>
        <p:style>
          <a:lnRef idx="0">
            <a:schemeClr val="accent2"/>
          </a:lnRef>
          <a:fillRef idx="3">
            <a:schemeClr val="accent2"/>
          </a:fillRef>
          <a:effectRef idx="3">
            <a:schemeClr val="accent2"/>
          </a:effectRef>
          <a:fontRef idx="minor">
            <a:schemeClr val="lt1"/>
          </a:fontRef>
        </p:style>
        <p:txBody>
          <a:bodyPr rtlCol="0" anchor="ctr"/>
          <a:lstStyle/>
          <a:p>
            <a:pPr algn="ctr"/>
            <a:r>
              <a:rPr lang="nl-NL" sz="1200" b="1"/>
              <a:t>P</a:t>
            </a:r>
          </a:p>
        </p:txBody>
      </p:sp>
      <p:sp>
        <p:nvSpPr>
          <p:cNvPr id="238" name="Rechthoek 63">
            <a:extLst>
              <a:ext uri="{FF2B5EF4-FFF2-40B4-BE49-F238E27FC236}">
                <a16:creationId xmlns:a16="http://schemas.microsoft.com/office/drawing/2014/main" id="{A5DCD158-FA06-4974-A40F-183784E12346}"/>
              </a:ext>
            </a:extLst>
          </p:cNvPr>
          <p:cNvSpPr/>
          <p:nvPr/>
        </p:nvSpPr>
        <p:spPr>
          <a:xfrm>
            <a:off x="7440039" y="5084614"/>
            <a:ext cx="137160" cy="182880"/>
          </a:xfrm>
          <a:prstGeom prst="rect">
            <a:avLst/>
          </a:prstGeom>
          <a:ln/>
        </p:spPr>
        <p:style>
          <a:lnRef idx="0">
            <a:schemeClr val="accent2"/>
          </a:lnRef>
          <a:fillRef idx="3">
            <a:schemeClr val="accent2"/>
          </a:fillRef>
          <a:effectRef idx="3">
            <a:schemeClr val="accent2"/>
          </a:effectRef>
          <a:fontRef idx="minor">
            <a:schemeClr val="lt1"/>
          </a:fontRef>
        </p:style>
        <p:txBody>
          <a:bodyPr rtlCol="0" anchor="ctr"/>
          <a:lstStyle/>
          <a:p>
            <a:pPr algn="ctr"/>
            <a:r>
              <a:rPr lang="nl-NL" sz="1200" b="1"/>
              <a:t>P</a:t>
            </a:r>
          </a:p>
        </p:txBody>
      </p:sp>
      <p:sp>
        <p:nvSpPr>
          <p:cNvPr id="239" name="Rechthoek 63">
            <a:extLst>
              <a:ext uri="{FF2B5EF4-FFF2-40B4-BE49-F238E27FC236}">
                <a16:creationId xmlns:a16="http://schemas.microsoft.com/office/drawing/2014/main" id="{D3DD3912-752F-4067-9DB0-B2F7BF73F401}"/>
              </a:ext>
            </a:extLst>
          </p:cNvPr>
          <p:cNvSpPr/>
          <p:nvPr/>
        </p:nvSpPr>
        <p:spPr>
          <a:xfrm>
            <a:off x="7979493" y="6321626"/>
            <a:ext cx="137160" cy="182880"/>
          </a:xfrm>
          <a:prstGeom prst="rect">
            <a:avLst/>
          </a:prstGeom>
          <a:ln/>
        </p:spPr>
        <p:style>
          <a:lnRef idx="0">
            <a:schemeClr val="accent2"/>
          </a:lnRef>
          <a:fillRef idx="3">
            <a:schemeClr val="accent2"/>
          </a:fillRef>
          <a:effectRef idx="3">
            <a:schemeClr val="accent2"/>
          </a:effectRef>
          <a:fontRef idx="minor">
            <a:schemeClr val="lt1"/>
          </a:fontRef>
        </p:style>
        <p:txBody>
          <a:bodyPr rtlCol="0" anchor="ctr"/>
          <a:lstStyle/>
          <a:p>
            <a:pPr algn="ctr"/>
            <a:r>
              <a:rPr lang="nl-NL" sz="1200" b="1"/>
              <a:t>P</a:t>
            </a:r>
          </a:p>
        </p:txBody>
      </p:sp>
      <p:sp>
        <p:nvSpPr>
          <p:cNvPr id="240" name="Rechthoek 63">
            <a:extLst>
              <a:ext uri="{FF2B5EF4-FFF2-40B4-BE49-F238E27FC236}">
                <a16:creationId xmlns:a16="http://schemas.microsoft.com/office/drawing/2014/main" id="{1DCD6CD4-7FD6-4A7D-BD3F-802032C817A9}"/>
              </a:ext>
            </a:extLst>
          </p:cNvPr>
          <p:cNvSpPr/>
          <p:nvPr/>
        </p:nvSpPr>
        <p:spPr>
          <a:xfrm>
            <a:off x="10658119" y="1097712"/>
            <a:ext cx="137160" cy="182880"/>
          </a:xfrm>
          <a:prstGeom prst="rect">
            <a:avLst/>
          </a:prstGeom>
          <a:ln/>
        </p:spPr>
        <p:style>
          <a:lnRef idx="0">
            <a:schemeClr val="accent2"/>
          </a:lnRef>
          <a:fillRef idx="3">
            <a:schemeClr val="accent2"/>
          </a:fillRef>
          <a:effectRef idx="3">
            <a:schemeClr val="accent2"/>
          </a:effectRef>
          <a:fontRef idx="minor">
            <a:schemeClr val="lt1"/>
          </a:fontRef>
        </p:style>
        <p:txBody>
          <a:bodyPr rtlCol="0" anchor="ctr"/>
          <a:lstStyle/>
          <a:p>
            <a:pPr algn="ctr"/>
            <a:r>
              <a:rPr lang="nl-NL" sz="1200" b="1"/>
              <a:t>P</a:t>
            </a:r>
          </a:p>
        </p:txBody>
      </p:sp>
      <p:sp>
        <p:nvSpPr>
          <p:cNvPr id="241" name="Rechthoek 63">
            <a:extLst>
              <a:ext uri="{FF2B5EF4-FFF2-40B4-BE49-F238E27FC236}">
                <a16:creationId xmlns:a16="http://schemas.microsoft.com/office/drawing/2014/main" id="{D8B390B3-9F00-42F3-A15A-B653CD4221F0}"/>
              </a:ext>
            </a:extLst>
          </p:cNvPr>
          <p:cNvSpPr/>
          <p:nvPr/>
        </p:nvSpPr>
        <p:spPr>
          <a:xfrm>
            <a:off x="6694074" y="1294503"/>
            <a:ext cx="137160" cy="182880"/>
          </a:xfrm>
          <a:prstGeom prst="rect">
            <a:avLst/>
          </a:prstGeom>
          <a:ln/>
        </p:spPr>
        <p:style>
          <a:lnRef idx="0">
            <a:schemeClr val="accent2"/>
          </a:lnRef>
          <a:fillRef idx="3">
            <a:schemeClr val="accent2"/>
          </a:fillRef>
          <a:effectRef idx="3">
            <a:schemeClr val="accent2"/>
          </a:effectRef>
          <a:fontRef idx="minor">
            <a:schemeClr val="lt1"/>
          </a:fontRef>
        </p:style>
        <p:txBody>
          <a:bodyPr rtlCol="0" anchor="ctr"/>
          <a:lstStyle/>
          <a:p>
            <a:pPr algn="ctr"/>
            <a:r>
              <a:rPr lang="nl-NL" sz="1200" b="1">
                <a:latin typeface="+mj-lt"/>
              </a:rPr>
              <a:t>P</a:t>
            </a:r>
          </a:p>
        </p:txBody>
      </p:sp>
      <p:sp>
        <p:nvSpPr>
          <p:cNvPr id="242" name="Ovaal 241">
            <a:extLst>
              <a:ext uri="{FF2B5EF4-FFF2-40B4-BE49-F238E27FC236}">
                <a16:creationId xmlns:a16="http://schemas.microsoft.com/office/drawing/2014/main" id="{6E728955-94B7-45CB-A77D-11BABE087A31}"/>
              </a:ext>
            </a:extLst>
          </p:cNvPr>
          <p:cNvSpPr/>
          <p:nvPr/>
        </p:nvSpPr>
        <p:spPr>
          <a:xfrm rot="6335418">
            <a:off x="7396082" y="4200009"/>
            <a:ext cx="404813" cy="747905"/>
          </a:xfrm>
          <a:custGeom>
            <a:avLst/>
            <a:gdLst>
              <a:gd name="connsiteX0" fmla="*/ 0 w 404813"/>
              <a:gd name="connsiteY0" fmla="*/ 373953 h 747905"/>
              <a:gd name="connsiteX1" fmla="*/ 202407 w 404813"/>
              <a:gd name="connsiteY1" fmla="*/ 0 h 747905"/>
              <a:gd name="connsiteX2" fmla="*/ 404814 w 404813"/>
              <a:gd name="connsiteY2" fmla="*/ 373953 h 747905"/>
              <a:gd name="connsiteX3" fmla="*/ 202407 w 404813"/>
              <a:gd name="connsiteY3" fmla="*/ 747906 h 747905"/>
              <a:gd name="connsiteX4" fmla="*/ 0 w 404813"/>
              <a:gd name="connsiteY4" fmla="*/ 373953 h 7479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4813" h="747905" fill="none" extrusionOk="0">
                <a:moveTo>
                  <a:pt x="0" y="373953"/>
                </a:moveTo>
                <a:cubicBezTo>
                  <a:pt x="-16879" y="183643"/>
                  <a:pt x="73338" y="2740"/>
                  <a:pt x="202407" y="0"/>
                </a:cubicBezTo>
                <a:cubicBezTo>
                  <a:pt x="349533" y="20451"/>
                  <a:pt x="381757" y="168422"/>
                  <a:pt x="404814" y="373953"/>
                </a:cubicBezTo>
                <a:cubicBezTo>
                  <a:pt x="393256" y="571113"/>
                  <a:pt x="340063" y="741369"/>
                  <a:pt x="202407" y="747906"/>
                </a:cubicBezTo>
                <a:cubicBezTo>
                  <a:pt x="83669" y="725352"/>
                  <a:pt x="-18715" y="599346"/>
                  <a:pt x="0" y="373953"/>
                </a:cubicBezTo>
                <a:close/>
              </a:path>
              <a:path w="404813" h="747905" stroke="0" extrusionOk="0">
                <a:moveTo>
                  <a:pt x="0" y="373953"/>
                </a:moveTo>
                <a:cubicBezTo>
                  <a:pt x="-9239" y="177625"/>
                  <a:pt x="96735" y="-10661"/>
                  <a:pt x="202407" y="0"/>
                </a:cubicBezTo>
                <a:cubicBezTo>
                  <a:pt x="321878" y="-20245"/>
                  <a:pt x="429541" y="171822"/>
                  <a:pt x="404814" y="373953"/>
                </a:cubicBezTo>
                <a:cubicBezTo>
                  <a:pt x="415907" y="584813"/>
                  <a:pt x="307494" y="746999"/>
                  <a:pt x="202407" y="747906"/>
                </a:cubicBezTo>
                <a:cubicBezTo>
                  <a:pt x="92027" y="739344"/>
                  <a:pt x="-12920" y="619683"/>
                  <a:pt x="0" y="373953"/>
                </a:cubicBezTo>
                <a:close/>
              </a:path>
            </a:pathLst>
          </a:custGeom>
          <a:solidFill>
            <a:srgbClr val="62366E">
              <a:alpha val="50196"/>
            </a:srgbClr>
          </a:solidFill>
          <a:ln w="19050">
            <a:solidFill>
              <a:schemeClr val="accent1"/>
            </a:solidFill>
            <a:prstDash val="lgDash"/>
            <a:extLst>
              <a:ext uri="{C807C97D-BFC1-408E-A445-0C87EB9F89A2}">
                <ask:lineSketchStyleProps xmlns:ask="http://schemas.microsoft.com/office/drawing/2018/sketchyshapes" sd="3066130187">
                  <a:prstGeom prst="ellipse">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43" name="Rechthoek: afgeronde hoeken 14">
            <a:extLst>
              <a:ext uri="{FF2B5EF4-FFF2-40B4-BE49-F238E27FC236}">
                <a16:creationId xmlns:a16="http://schemas.microsoft.com/office/drawing/2014/main" id="{58AA9117-2B11-47B1-9C0F-75C9DC145F49}"/>
              </a:ext>
            </a:extLst>
          </p:cNvPr>
          <p:cNvSpPr/>
          <p:nvPr/>
        </p:nvSpPr>
        <p:spPr>
          <a:xfrm rot="11571750">
            <a:off x="9727952" y="2940066"/>
            <a:ext cx="323158" cy="514818"/>
          </a:xfrm>
          <a:custGeom>
            <a:avLst/>
            <a:gdLst>
              <a:gd name="connsiteX0" fmla="*/ 40776 w 323158"/>
              <a:gd name="connsiteY0" fmla="*/ 30288 h 514818"/>
              <a:gd name="connsiteX1" fmla="*/ 82281 w 323158"/>
              <a:gd name="connsiteY1" fmla="*/ 224 h 514818"/>
              <a:gd name="connsiteX2" fmla="*/ 261764 w 323158"/>
              <a:gd name="connsiteY2" fmla="*/ 0 h 514818"/>
              <a:gd name="connsiteX3" fmla="*/ 289802 w 323158"/>
              <a:gd name="connsiteY3" fmla="*/ 30288 h 514818"/>
              <a:gd name="connsiteX4" fmla="*/ 323158 w 323158"/>
              <a:gd name="connsiteY4" fmla="*/ 491582 h 514818"/>
              <a:gd name="connsiteX5" fmla="*/ 248297 w 323158"/>
              <a:gd name="connsiteY5" fmla="*/ 514818 h 514818"/>
              <a:gd name="connsiteX6" fmla="*/ 82281 w 323158"/>
              <a:gd name="connsiteY6" fmla="*/ 514818 h 514818"/>
              <a:gd name="connsiteX7" fmla="*/ 40776 w 323158"/>
              <a:gd name="connsiteY7" fmla="*/ 484753 h 514818"/>
              <a:gd name="connsiteX8" fmla="*/ 0 w 323158"/>
              <a:gd name="connsiteY8" fmla="*/ 215007 h 514818"/>
              <a:gd name="connsiteX9" fmla="*/ 40776 w 323158"/>
              <a:gd name="connsiteY9" fmla="*/ 30288 h 5148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23158" h="514818" fill="none" extrusionOk="0">
                <a:moveTo>
                  <a:pt x="40776" y="30288"/>
                </a:moveTo>
                <a:cubicBezTo>
                  <a:pt x="44624" y="14247"/>
                  <a:pt x="55795" y="-3581"/>
                  <a:pt x="82281" y="224"/>
                </a:cubicBezTo>
                <a:cubicBezTo>
                  <a:pt x="154278" y="-3240"/>
                  <a:pt x="215732" y="4002"/>
                  <a:pt x="261764" y="0"/>
                </a:cubicBezTo>
                <a:cubicBezTo>
                  <a:pt x="284715" y="2503"/>
                  <a:pt x="287743" y="13314"/>
                  <a:pt x="289802" y="30288"/>
                </a:cubicBezTo>
                <a:cubicBezTo>
                  <a:pt x="305051" y="204569"/>
                  <a:pt x="270208" y="325113"/>
                  <a:pt x="323158" y="491582"/>
                </a:cubicBezTo>
                <a:cubicBezTo>
                  <a:pt x="324548" y="509561"/>
                  <a:pt x="269711" y="514722"/>
                  <a:pt x="248297" y="514818"/>
                </a:cubicBezTo>
                <a:cubicBezTo>
                  <a:pt x="183875" y="511448"/>
                  <a:pt x="119895" y="518917"/>
                  <a:pt x="82281" y="514818"/>
                </a:cubicBezTo>
                <a:cubicBezTo>
                  <a:pt x="59456" y="515751"/>
                  <a:pt x="43539" y="502872"/>
                  <a:pt x="40776" y="484753"/>
                </a:cubicBezTo>
                <a:cubicBezTo>
                  <a:pt x="33147" y="382997"/>
                  <a:pt x="7267" y="293834"/>
                  <a:pt x="0" y="215007"/>
                </a:cubicBezTo>
                <a:cubicBezTo>
                  <a:pt x="10833" y="158541"/>
                  <a:pt x="36909" y="68731"/>
                  <a:pt x="40776" y="30288"/>
                </a:cubicBezTo>
                <a:close/>
              </a:path>
              <a:path w="323158" h="514818" stroke="0" extrusionOk="0">
                <a:moveTo>
                  <a:pt x="40776" y="30288"/>
                </a:moveTo>
                <a:cubicBezTo>
                  <a:pt x="41739" y="9402"/>
                  <a:pt x="56236" y="1547"/>
                  <a:pt x="82281" y="224"/>
                </a:cubicBezTo>
                <a:cubicBezTo>
                  <a:pt x="165898" y="4042"/>
                  <a:pt x="221788" y="-4024"/>
                  <a:pt x="261764" y="0"/>
                </a:cubicBezTo>
                <a:cubicBezTo>
                  <a:pt x="287383" y="2251"/>
                  <a:pt x="288722" y="15956"/>
                  <a:pt x="289802" y="30288"/>
                </a:cubicBezTo>
                <a:cubicBezTo>
                  <a:pt x="308338" y="184057"/>
                  <a:pt x="267691" y="333246"/>
                  <a:pt x="323158" y="491582"/>
                </a:cubicBezTo>
                <a:cubicBezTo>
                  <a:pt x="325791" y="504355"/>
                  <a:pt x="269823" y="511389"/>
                  <a:pt x="248297" y="514818"/>
                </a:cubicBezTo>
                <a:cubicBezTo>
                  <a:pt x="203882" y="511690"/>
                  <a:pt x="140254" y="510809"/>
                  <a:pt x="82281" y="514818"/>
                </a:cubicBezTo>
                <a:cubicBezTo>
                  <a:pt x="58785" y="516884"/>
                  <a:pt x="40310" y="500480"/>
                  <a:pt x="40776" y="484753"/>
                </a:cubicBezTo>
                <a:cubicBezTo>
                  <a:pt x="28695" y="378145"/>
                  <a:pt x="-16779" y="302039"/>
                  <a:pt x="0" y="215007"/>
                </a:cubicBezTo>
                <a:cubicBezTo>
                  <a:pt x="23437" y="130323"/>
                  <a:pt x="18112" y="113292"/>
                  <a:pt x="40776" y="30288"/>
                </a:cubicBezTo>
                <a:close/>
              </a:path>
            </a:pathLst>
          </a:custGeom>
          <a:solidFill>
            <a:schemeClr val="accent3">
              <a:lumMod val="75000"/>
              <a:alpha val="50196"/>
            </a:schemeClr>
          </a:solidFill>
          <a:ln w="19050">
            <a:solidFill>
              <a:schemeClr val="accent3">
                <a:lumMod val="50000"/>
              </a:schemeClr>
            </a:solidFill>
            <a:prstDash val="lgDash"/>
            <a:extLst>
              <a:ext uri="{C807C97D-BFC1-408E-A445-0C87EB9F89A2}">
                <ask:lineSketchStyleProps xmlns:ask="http://schemas.microsoft.com/office/drawing/2018/sketchyshapes" sd="1343802768">
                  <a:custGeom>
                    <a:avLst/>
                    <a:gdLst>
                      <a:gd name="connsiteX0" fmla="*/ 0 w 303332"/>
                      <a:gd name="connsiteY0" fmla="*/ 50556 h 865339"/>
                      <a:gd name="connsiteX1" fmla="*/ 50556 w 303332"/>
                      <a:gd name="connsiteY1" fmla="*/ 0 h 865339"/>
                      <a:gd name="connsiteX2" fmla="*/ 252776 w 303332"/>
                      <a:gd name="connsiteY2" fmla="*/ 0 h 865339"/>
                      <a:gd name="connsiteX3" fmla="*/ 303332 w 303332"/>
                      <a:gd name="connsiteY3" fmla="*/ 50556 h 865339"/>
                      <a:gd name="connsiteX4" fmla="*/ 303332 w 303332"/>
                      <a:gd name="connsiteY4" fmla="*/ 814783 h 865339"/>
                      <a:gd name="connsiteX5" fmla="*/ 252776 w 303332"/>
                      <a:gd name="connsiteY5" fmla="*/ 865339 h 865339"/>
                      <a:gd name="connsiteX6" fmla="*/ 50556 w 303332"/>
                      <a:gd name="connsiteY6" fmla="*/ 865339 h 865339"/>
                      <a:gd name="connsiteX7" fmla="*/ 0 w 303332"/>
                      <a:gd name="connsiteY7" fmla="*/ 814783 h 865339"/>
                      <a:gd name="connsiteX8" fmla="*/ 0 w 303332"/>
                      <a:gd name="connsiteY8" fmla="*/ 50556 h 865339"/>
                      <a:gd name="connsiteX0" fmla="*/ 0 w 303332"/>
                      <a:gd name="connsiteY0" fmla="*/ 50933 h 865716"/>
                      <a:gd name="connsiteX1" fmla="*/ 50556 w 303332"/>
                      <a:gd name="connsiteY1" fmla="*/ 377 h 865716"/>
                      <a:gd name="connsiteX2" fmla="*/ 269179 w 303332"/>
                      <a:gd name="connsiteY2" fmla="*/ 0 h 865716"/>
                      <a:gd name="connsiteX3" fmla="*/ 303332 w 303332"/>
                      <a:gd name="connsiteY3" fmla="*/ 50933 h 865716"/>
                      <a:gd name="connsiteX4" fmla="*/ 303332 w 303332"/>
                      <a:gd name="connsiteY4" fmla="*/ 815160 h 865716"/>
                      <a:gd name="connsiteX5" fmla="*/ 252776 w 303332"/>
                      <a:gd name="connsiteY5" fmla="*/ 865716 h 865716"/>
                      <a:gd name="connsiteX6" fmla="*/ 50556 w 303332"/>
                      <a:gd name="connsiteY6" fmla="*/ 865716 h 865716"/>
                      <a:gd name="connsiteX7" fmla="*/ 0 w 303332"/>
                      <a:gd name="connsiteY7" fmla="*/ 815160 h 865716"/>
                      <a:gd name="connsiteX8" fmla="*/ 0 w 303332"/>
                      <a:gd name="connsiteY8" fmla="*/ 50933 h 865716"/>
                      <a:gd name="connsiteX0" fmla="*/ 49669 w 353001"/>
                      <a:gd name="connsiteY0" fmla="*/ 50933 h 865716"/>
                      <a:gd name="connsiteX1" fmla="*/ 100225 w 353001"/>
                      <a:gd name="connsiteY1" fmla="*/ 377 h 865716"/>
                      <a:gd name="connsiteX2" fmla="*/ 318848 w 353001"/>
                      <a:gd name="connsiteY2" fmla="*/ 0 h 865716"/>
                      <a:gd name="connsiteX3" fmla="*/ 353001 w 353001"/>
                      <a:gd name="connsiteY3" fmla="*/ 50933 h 865716"/>
                      <a:gd name="connsiteX4" fmla="*/ 353001 w 353001"/>
                      <a:gd name="connsiteY4" fmla="*/ 815160 h 865716"/>
                      <a:gd name="connsiteX5" fmla="*/ 302445 w 353001"/>
                      <a:gd name="connsiteY5" fmla="*/ 865716 h 865716"/>
                      <a:gd name="connsiteX6" fmla="*/ 100225 w 353001"/>
                      <a:gd name="connsiteY6" fmla="*/ 865716 h 865716"/>
                      <a:gd name="connsiteX7" fmla="*/ 49669 w 353001"/>
                      <a:gd name="connsiteY7" fmla="*/ 815160 h 865716"/>
                      <a:gd name="connsiteX8" fmla="*/ 0 w 353001"/>
                      <a:gd name="connsiteY8" fmla="*/ 361556 h 865716"/>
                      <a:gd name="connsiteX9" fmla="*/ 49669 w 353001"/>
                      <a:gd name="connsiteY9" fmla="*/ 50933 h 865716"/>
                      <a:gd name="connsiteX0" fmla="*/ 49669 w 393630"/>
                      <a:gd name="connsiteY0" fmla="*/ 50933 h 865716"/>
                      <a:gd name="connsiteX1" fmla="*/ 100225 w 393630"/>
                      <a:gd name="connsiteY1" fmla="*/ 377 h 865716"/>
                      <a:gd name="connsiteX2" fmla="*/ 318848 w 393630"/>
                      <a:gd name="connsiteY2" fmla="*/ 0 h 865716"/>
                      <a:gd name="connsiteX3" fmla="*/ 353001 w 393630"/>
                      <a:gd name="connsiteY3" fmla="*/ 50933 h 865716"/>
                      <a:gd name="connsiteX4" fmla="*/ 393630 w 393630"/>
                      <a:gd name="connsiteY4" fmla="*/ 826644 h 865716"/>
                      <a:gd name="connsiteX5" fmla="*/ 302445 w 393630"/>
                      <a:gd name="connsiteY5" fmla="*/ 865716 h 865716"/>
                      <a:gd name="connsiteX6" fmla="*/ 100225 w 393630"/>
                      <a:gd name="connsiteY6" fmla="*/ 865716 h 865716"/>
                      <a:gd name="connsiteX7" fmla="*/ 49669 w 393630"/>
                      <a:gd name="connsiteY7" fmla="*/ 815160 h 865716"/>
                      <a:gd name="connsiteX8" fmla="*/ 0 w 393630"/>
                      <a:gd name="connsiteY8" fmla="*/ 361556 h 865716"/>
                      <a:gd name="connsiteX9" fmla="*/ 49669 w 393630"/>
                      <a:gd name="connsiteY9" fmla="*/ 50933 h 865716"/>
                      <a:gd name="connsiteX0" fmla="*/ 49669 w 393630"/>
                      <a:gd name="connsiteY0" fmla="*/ 50933 h 865716"/>
                      <a:gd name="connsiteX1" fmla="*/ 100225 w 393630"/>
                      <a:gd name="connsiteY1" fmla="*/ 377 h 865716"/>
                      <a:gd name="connsiteX2" fmla="*/ 318848 w 393630"/>
                      <a:gd name="connsiteY2" fmla="*/ 0 h 865716"/>
                      <a:gd name="connsiteX3" fmla="*/ 353001 w 393630"/>
                      <a:gd name="connsiteY3" fmla="*/ 50933 h 865716"/>
                      <a:gd name="connsiteX4" fmla="*/ 393630 w 393630"/>
                      <a:gd name="connsiteY4" fmla="*/ 826644 h 865716"/>
                      <a:gd name="connsiteX5" fmla="*/ 302445 w 393630"/>
                      <a:gd name="connsiteY5" fmla="*/ 865716 h 865716"/>
                      <a:gd name="connsiteX6" fmla="*/ 100225 w 393630"/>
                      <a:gd name="connsiteY6" fmla="*/ 865716 h 865716"/>
                      <a:gd name="connsiteX7" fmla="*/ 49669 w 393630"/>
                      <a:gd name="connsiteY7" fmla="*/ 815160 h 865716"/>
                      <a:gd name="connsiteX8" fmla="*/ 0 w 393630"/>
                      <a:gd name="connsiteY8" fmla="*/ 361556 h 865716"/>
                      <a:gd name="connsiteX9" fmla="*/ 49669 w 393630"/>
                      <a:gd name="connsiteY9" fmla="*/ 50933 h 8657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93630" h="865716">
                        <a:moveTo>
                          <a:pt x="49669" y="50933"/>
                        </a:moveTo>
                        <a:cubicBezTo>
                          <a:pt x="49669" y="23012"/>
                          <a:pt x="72304" y="377"/>
                          <a:pt x="100225" y="377"/>
                        </a:cubicBezTo>
                        <a:lnTo>
                          <a:pt x="318848" y="0"/>
                        </a:lnTo>
                        <a:cubicBezTo>
                          <a:pt x="346769" y="0"/>
                          <a:pt x="353001" y="23012"/>
                          <a:pt x="353001" y="50933"/>
                        </a:cubicBezTo>
                        <a:cubicBezTo>
                          <a:pt x="366544" y="309503"/>
                          <a:pt x="337945" y="548640"/>
                          <a:pt x="393630" y="826644"/>
                        </a:cubicBezTo>
                        <a:cubicBezTo>
                          <a:pt x="393630" y="854565"/>
                          <a:pt x="330366" y="865716"/>
                          <a:pt x="302445" y="865716"/>
                        </a:cubicBezTo>
                        <a:lnTo>
                          <a:pt x="100225" y="865716"/>
                        </a:lnTo>
                        <a:cubicBezTo>
                          <a:pt x="72304" y="865716"/>
                          <a:pt x="49669" y="843081"/>
                          <a:pt x="49669" y="815160"/>
                        </a:cubicBezTo>
                        <a:cubicBezTo>
                          <a:pt x="47076" y="660384"/>
                          <a:pt x="2593" y="516332"/>
                          <a:pt x="0" y="361556"/>
                        </a:cubicBezTo>
                        <a:lnTo>
                          <a:pt x="49669" y="50933"/>
                        </a:lnTo>
                        <a:close/>
                      </a:path>
                    </a:pathLst>
                  </a:cu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grpSp>
        <p:nvGrpSpPr>
          <p:cNvPr id="244" name="Group 125">
            <a:extLst>
              <a:ext uri="{FF2B5EF4-FFF2-40B4-BE49-F238E27FC236}">
                <a16:creationId xmlns:a16="http://schemas.microsoft.com/office/drawing/2014/main" id="{8BF46CD4-C47C-47E8-872D-7E18E3F3BC36}"/>
              </a:ext>
            </a:extLst>
          </p:cNvPr>
          <p:cNvGrpSpPr/>
          <p:nvPr/>
        </p:nvGrpSpPr>
        <p:grpSpPr>
          <a:xfrm>
            <a:off x="9808037" y="2852510"/>
            <a:ext cx="288000" cy="288000"/>
            <a:chOff x="7095592" y="742073"/>
            <a:chExt cx="329184" cy="329184"/>
          </a:xfrm>
        </p:grpSpPr>
        <p:sp>
          <p:nvSpPr>
            <p:cNvPr id="245" name="Oval 137">
              <a:extLst>
                <a:ext uri="{FF2B5EF4-FFF2-40B4-BE49-F238E27FC236}">
                  <a16:creationId xmlns:a16="http://schemas.microsoft.com/office/drawing/2014/main" id="{BE47A047-7A56-4BA1-98EC-3FA933DC2F3D}"/>
                </a:ext>
              </a:extLst>
            </p:cNvPr>
            <p:cNvSpPr/>
            <p:nvPr/>
          </p:nvSpPr>
          <p:spPr>
            <a:xfrm>
              <a:off x="7095592" y="742073"/>
              <a:ext cx="329184" cy="329184"/>
            </a:xfrm>
            <a:prstGeom prst="ellipse">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46" name="Group 127">
              <a:extLst>
                <a:ext uri="{FF2B5EF4-FFF2-40B4-BE49-F238E27FC236}">
                  <a16:creationId xmlns:a16="http://schemas.microsoft.com/office/drawing/2014/main" id="{A9A62D73-4F5B-464A-8590-496D8F50CF31}"/>
                </a:ext>
              </a:extLst>
            </p:cNvPr>
            <p:cNvGrpSpPr/>
            <p:nvPr/>
          </p:nvGrpSpPr>
          <p:grpSpPr>
            <a:xfrm>
              <a:off x="7176816" y="778521"/>
              <a:ext cx="179310" cy="244447"/>
              <a:chOff x="7176816" y="778521"/>
              <a:chExt cx="179310" cy="244447"/>
            </a:xfrm>
          </p:grpSpPr>
          <p:sp>
            <p:nvSpPr>
              <p:cNvPr id="247" name="Seed" descr="{&quot;Key&quot;:&quot;POWER_USER_SHAPE_ICON&quot;,&quot;Value&quot;:&quot;POWER_USER_SHAPE_ICON_STYLE_1&quot;}">
                <a:extLst>
                  <a:ext uri="{FF2B5EF4-FFF2-40B4-BE49-F238E27FC236}">
                    <a16:creationId xmlns:a16="http://schemas.microsoft.com/office/drawing/2014/main" id="{48E2F9DF-2906-49C1-A479-9F73DA06AFC4}"/>
                  </a:ext>
                </a:extLst>
              </p:cNvPr>
              <p:cNvSpPr>
                <a:spLocks noChangeAspect="1" noEditPoints="1"/>
              </p:cNvSpPr>
              <p:nvPr>
                <p:custDataLst>
                  <p:tags r:id="rId11"/>
                </p:custDataLst>
              </p:nvPr>
            </p:nvSpPr>
            <p:spPr bwMode="auto">
              <a:xfrm>
                <a:off x="7176816" y="878690"/>
                <a:ext cx="162838" cy="144278"/>
              </a:xfrm>
              <a:custGeom>
                <a:avLst/>
                <a:gdLst>
                  <a:gd name="T0" fmla="*/ 6744 w 11364"/>
                  <a:gd name="T1" fmla="*/ 3564 h 10067"/>
                  <a:gd name="T2" fmla="*/ 7042 w 11364"/>
                  <a:gd name="T3" fmla="*/ 3354 h 10067"/>
                  <a:gd name="T4" fmla="*/ 4139 w 11364"/>
                  <a:gd name="T5" fmla="*/ 214 h 10067"/>
                  <a:gd name="T6" fmla="*/ 5282 w 11364"/>
                  <a:gd name="T7" fmla="*/ 2733 h 10067"/>
                  <a:gd name="T8" fmla="*/ 10245 w 11364"/>
                  <a:gd name="T9" fmla="*/ 7311 h 10067"/>
                  <a:gd name="T10" fmla="*/ 7950 w 11364"/>
                  <a:gd name="T11" fmla="*/ 5369 h 10067"/>
                  <a:gd name="T12" fmla="*/ 7665 w 11364"/>
                  <a:gd name="T13" fmla="*/ 5315 h 10067"/>
                  <a:gd name="T14" fmla="*/ 7626 w 11364"/>
                  <a:gd name="T15" fmla="*/ 5310 h 10067"/>
                  <a:gd name="T16" fmla="*/ 7637 w 11364"/>
                  <a:gd name="T17" fmla="*/ 4576 h 10067"/>
                  <a:gd name="T18" fmla="*/ 7646 w 11364"/>
                  <a:gd name="T19" fmla="*/ 4476 h 10067"/>
                  <a:gd name="T20" fmla="*/ 7673 w 11364"/>
                  <a:gd name="T21" fmla="*/ 4234 h 10067"/>
                  <a:gd name="T22" fmla="*/ 8068 w 11364"/>
                  <a:gd name="T23" fmla="*/ 4029 h 10067"/>
                  <a:gd name="T24" fmla="*/ 11244 w 11364"/>
                  <a:gd name="T25" fmla="*/ 0 h 10067"/>
                  <a:gd name="T26" fmla="*/ 7516 w 11364"/>
                  <a:gd name="T27" fmla="*/ 2618 h 10067"/>
                  <a:gd name="T28" fmla="*/ 7233 w 11364"/>
                  <a:gd name="T29" fmla="*/ 4214 h 10067"/>
                  <a:gd name="T30" fmla="*/ 7224 w 11364"/>
                  <a:gd name="T31" fmla="*/ 5280 h 10067"/>
                  <a:gd name="T32" fmla="*/ 7082 w 11364"/>
                  <a:gd name="T33" fmla="*/ 5277 h 10067"/>
                  <a:gd name="T34" fmla="*/ 5070 w 11364"/>
                  <a:gd name="T35" fmla="*/ 6113 h 10067"/>
                  <a:gd name="T36" fmla="*/ 2454 w 11364"/>
                  <a:gd name="T37" fmla="*/ 5748 h 10067"/>
                  <a:gd name="T38" fmla="*/ 1979 w 11364"/>
                  <a:gd name="T39" fmla="*/ 5775 h 10067"/>
                  <a:gd name="T40" fmla="*/ 2514 w 11364"/>
                  <a:gd name="T41" fmla="*/ 6100 h 10067"/>
                  <a:gd name="T42" fmla="*/ 4816 w 11364"/>
                  <a:gd name="T43" fmla="*/ 6387 h 10067"/>
                  <a:gd name="T44" fmla="*/ 6145 w 11364"/>
                  <a:gd name="T45" fmla="*/ 6987 h 10067"/>
                  <a:gd name="T46" fmla="*/ 8301 w 11364"/>
                  <a:gd name="T47" fmla="*/ 7145 h 10067"/>
                  <a:gd name="T48" fmla="*/ 8758 w 11364"/>
                  <a:gd name="T49" fmla="*/ 7918 h 10067"/>
                  <a:gd name="T50" fmla="*/ 8461 w 11364"/>
                  <a:gd name="T51" fmla="*/ 8153 h 10067"/>
                  <a:gd name="T52" fmla="*/ 7099 w 11364"/>
                  <a:gd name="T53" fmla="*/ 8176 h 10067"/>
                  <a:gd name="T54" fmla="*/ 6945 w 11364"/>
                  <a:gd name="T55" fmla="*/ 8155 h 10067"/>
                  <a:gd name="T56" fmla="*/ 6316 w 11364"/>
                  <a:gd name="T57" fmla="*/ 8035 h 10067"/>
                  <a:gd name="T58" fmla="*/ 6020 w 11364"/>
                  <a:gd name="T59" fmla="*/ 7984 h 10067"/>
                  <a:gd name="T60" fmla="*/ 4994 w 11364"/>
                  <a:gd name="T61" fmla="*/ 8127 h 10067"/>
                  <a:gd name="T62" fmla="*/ 4903 w 11364"/>
                  <a:gd name="T63" fmla="*/ 8363 h 10067"/>
                  <a:gd name="T64" fmla="*/ 6233 w 11364"/>
                  <a:gd name="T65" fmla="*/ 8382 h 10067"/>
                  <a:gd name="T66" fmla="*/ 8735 w 11364"/>
                  <a:gd name="T67" fmla="*/ 8429 h 10067"/>
                  <a:gd name="T68" fmla="*/ 9563 w 11364"/>
                  <a:gd name="T69" fmla="*/ 8061 h 10067"/>
                  <a:gd name="T70" fmla="*/ 10404 w 11364"/>
                  <a:gd name="T71" fmla="*/ 7630 h 10067"/>
                  <a:gd name="T72" fmla="*/ 10935 w 11364"/>
                  <a:gd name="T73" fmla="*/ 7937 h 10067"/>
                  <a:gd name="T74" fmla="*/ 10018 w 11364"/>
                  <a:gd name="T75" fmla="*/ 8647 h 10067"/>
                  <a:gd name="T76" fmla="*/ 9086 w 11364"/>
                  <a:gd name="T77" fmla="*/ 9020 h 10067"/>
                  <a:gd name="T78" fmla="*/ 6547 w 11364"/>
                  <a:gd name="T79" fmla="*/ 9626 h 10067"/>
                  <a:gd name="T80" fmla="*/ 2148 w 11364"/>
                  <a:gd name="T81" fmla="*/ 8613 h 10067"/>
                  <a:gd name="T82" fmla="*/ 1979 w 11364"/>
                  <a:gd name="T83" fmla="*/ 8970 h 10067"/>
                  <a:gd name="T84" fmla="*/ 5139 w 11364"/>
                  <a:gd name="T85" fmla="*/ 9875 h 10067"/>
                  <a:gd name="T86" fmla="*/ 6619 w 11364"/>
                  <a:gd name="T87" fmla="*/ 9976 h 10067"/>
                  <a:gd name="T88" fmla="*/ 9235 w 11364"/>
                  <a:gd name="T89" fmla="*/ 9344 h 10067"/>
                  <a:gd name="T90" fmla="*/ 10176 w 11364"/>
                  <a:gd name="T91" fmla="*/ 8967 h 10067"/>
                  <a:gd name="T92" fmla="*/ 11194 w 11364"/>
                  <a:gd name="T93" fmla="*/ 8190 h 10067"/>
                  <a:gd name="T94" fmla="*/ 0 w 11364"/>
                  <a:gd name="T95" fmla="*/ 9309 h 10067"/>
                  <a:gd name="T96" fmla="*/ 1630 w 11364"/>
                  <a:gd name="T97" fmla="*/ 5351 h 10067"/>
                  <a:gd name="T98" fmla="*/ 0 w 11364"/>
                  <a:gd name="T99" fmla="*/ 9309 h 100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1364" h="10067">
                    <a:moveTo>
                      <a:pt x="5282" y="2733"/>
                    </a:moveTo>
                    <a:cubicBezTo>
                      <a:pt x="5856" y="3288"/>
                      <a:pt x="6390" y="3439"/>
                      <a:pt x="6744" y="3564"/>
                    </a:cubicBezTo>
                    <a:cubicBezTo>
                      <a:pt x="6525" y="2306"/>
                      <a:pt x="5827" y="1150"/>
                      <a:pt x="4589" y="609"/>
                    </a:cubicBezTo>
                    <a:cubicBezTo>
                      <a:pt x="5820" y="997"/>
                      <a:pt x="6676" y="2123"/>
                      <a:pt x="7042" y="3354"/>
                    </a:cubicBezTo>
                    <a:cubicBezTo>
                      <a:pt x="7112" y="2949"/>
                      <a:pt x="7216" y="2574"/>
                      <a:pt x="7358" y="2233"/>
                    </a:cubicBezTo>
                    <a:cubicBezTo>
                      <a:pt x="7006" y="1054"/>
                      <a:pt x="5918" y="214"/>
                      <a:pt x="4139" y="214"/>
                    </a:cubicBezTo>
                    <a:cubicBezTo>
                      <a:pt x="3920" y="214"/>
                      <a:pt x="3690" y="227"/>
                      <a:pt x="3450" y="253"/>
                    </a:cubicBezTo>
                    <a:cubicBezTo>
                      <a:pt x="4708" y="954"/>
                      <a:pt x="4033" y="1529"/>
                      <a:pt x="5282" y="2733"/>
                    </a:cubicBezTo>
                    <a:close/>
                    <a:moveTo>
                      <a:pt x="11174" y="7560"/>
                    </a:moveTo>
                    <a:cubicBezTo>
                      <a:pt x="11020" y="7299"/>
                      <a:pt x="10696" y="7094"/>
                      <a:pt x="10245" y="7311"/>
                    </a:cubicBezTo>
                    <a:lnTo>
                      <a:pt x="10145" y="7362"/>
                    </a:lnTo>
                    <a:cubicBezTo>
                      <a:pt x="9750" y="6361"/>
                      <a:pt x="9011" y="5620"/>
                      <a:pt x="7950" y="5369"/>
                    </a:cubicBezTo>
                    <a:cubicBezTo>
                      <a:pt x="7904" y="5358"/>
                      <a:pt x="7855" y="5350"/>
                      <a:pt x="7807" y="5341"/>
                    </a:cubicBezTo>
                    <a:cubicBezTo>
                      <a:pt x="7760" y="5332"/>
                      <a:pt x="7713" y="5323"/>
                      <a:pt x="7665" y="5315"/>
                    </a:cubicBezTo>
                    <a:lnTo>
                      <a:pt x="7665" y="5310"/>
                    </a:lnTo>
                    <a:lnTo>
                      <a:pt x="7626" y="5310"/>
                    </a:lnTo>
                    <a:cubicBezTo>
                      <a:pt x="7615" y="5095"/>
                      <a:pt x="7617" y="4877"/>
                      <a:pt x="7630" y="4658"/>
                    </a:cubicBezTo>
                    <a:cubicBezTo>
                      <a:pt x="7632" y="4631"/>
                      <a:pt x="7635" y="4603"/>
                      <a:pt x="7637" y="4576"/>
                    </a:cubicBezTo>
                    <a:cubicBezTo>
                      <a:pt x="7639" y="4548"/>
                      <a:pt x="7642" y="4521"/>
                      <a:pt x="7645" y="4493"/>
                    </a:cubicBezTo>
                    <a:cubicBezTo>
                      <a:pt x="7645" y="4487"/>
                      <a:pt x="7646" y="4482"/>
                      <a:pt x="7646" y="4476"/>
                    </a:cubicBezTo>
                    <a:cubicBezTo>
                      <a:pt x="7650" y="4440"/>
                      <a:pt x="7653" y="4405"/>
                      <a:pt x="7657" y="4369"/>
                    </a:cubicBezTo>
                    <a:cubicBezTo>
                      <a:pt x="7662" y="4324"/>
                      <a:pt x="7667" y="4279"/>
                      <a:pt x="7673" y="4234"/>
                    </a:cubicBezTo>
                    <a:cubicBezTo>
                      <a:pt x="7872" y="2771"/>
                      <a:pt x="8628" y="1348"/>
                      <a:pt x="9939" y="657"/>
                    </a:cubicBezTo>
                    <a:cubicBezTo>
                      <a:pt x="8766" y="1446"/>
                      <a:pt x="8183" y="2704"/>
                      <a:pt x="8068" y="4029"/>
                    </a:cubicBezTo>
                    <a:cubicBezTo>
                      <a:pt x="8412" y="3957"/>
                      <a:pt x="8947" y="3834"/>
                      <a:pt x="9555" y="3096"/>
                    </a:cubicBezTo>
                    <a:cubicBezTo>
                      <a:pt x="10606" y="1820"/>
                      <a:pt x="10037" y="1108"/>
                      <a:pt x="11244" y="0"/>
                    </a:cubicBezTo>
                    <a:cubicBezTo>
                      <a:pt x="9086" y="152"/>
                      <a:pt x="8041" y="1219"/>
                      <a:pt x="7569" y="2470"/>
                    </a:cubicBezTo>
                    <a:cubicBezTo>
                      <a:pt x="7551" y="2519"/>
                      <a:pt x="7533" y="2568"/>
                      <a:pt x="7516" y="2618"/>
                    </a:cubicBezTo>
                    <a:cubicBezTo>
                      <a:pt x="7499" y="2670"/>
                      <a:pt x="7482" y="2723"/>
                      <a:pt x="7466" y="2776"/>
                    </a:cubicBezTo>
                    <a:cubicBezTo>
                      <a:pt x="7324" y="3251"/>
                      <a:pt x="7255" y="3743"/>
                      <a:pt x="7233" y="4214"/>
                    </a:cubicBezTo>
                    <a:cubicBezTo>
                      <a:pt x="7227" y="4337"/>
                      <a:pt x="7224" y="4458"/>
                      <a:pt x="7224" y="4577"/>
                    </a:cubicBezTo>
                    <a:lnTo>
                      <a:pt x="7224" y="5280"/>
                    </a:lnTo>
                    <a:cubicBezTo>
                      <a:pt x="7190" y="5279"/>
                      <a:pt x="7156" y="5276"/>
                      <a:pt x="7121" y="5276"/>
                    </a:cubicBezTo>
                    <a:cubicBezTo>
                      <a:pt x="7107" y="5276"/>
                      <a:pt x="7095" y="5277"/>
                      <a:pt x="7082" y="5277"/>
                    </a:cubicBezTo>
                    <a:cubicBezTo>
                      <a:pt x="7033" y="5278"/>
                      <a:pt x="6986" y="5280"/>
                      <a:pt x="6939" y="5283"/>
                    </a:cubicBezTo>
                    <a:cubicBezTo>
                      <a:pt x="6217" y="5326"/>
                      <a:pt x="5581" y="5623"/>
                      <a:pt x="5070" y="6113"/>
                    </a:cubicBezTo>
                    <a:cubicBezTo>
                      <a:pt x="4740" y="5948"/>
                      <a:pt x="4382" y="5797"/>
                      <a:pt x="4006" y="5741"/>
                    </a:cubicBezTo>
                    <a:cubicBezTo>
                      <a:pt x="3196" y="5621"/>
                      <a:pt x="2767" y="5694"/>
                      <a:pt x="2454" y="5748"/>
                    </a:cubicBezTo>
                    <a:cubicBezTo>
                      <a:pt x="2277" y="5778"/>
                      <a:pt x="2149" y="5801"/>
                      <a:pt x="2006" y="5779"/>
                    </a:cubicBezTo>
                    <a:lnTo>
                      <a:pt x="1979" y="5775"/>
                    </a:lnTo>
                    <a:lnTo>
                      <a:pt x="1979" y="6135"/>
                    </a:lnTo>
                    <a:cubicBezTo>
                      <a:pt x="2167" y="6158"/>
                      <a:pt x="2329" y="6132"/>
                      <a:pt x="2514" y="6100"/>
                    </a:cubicBezTo>
                    <a:cubicBezTo>
                      <a:pt x="2820" y="6048"/>
                      <a:pt x="3200" y="5983"/>
                      <a:pt x="3953" y="6094"/>
                    </a:cubicBezTo>
                    <a:cubicBezTo>
                      <a:pt x="4247" y="6138"/>
                      <a:pt x="4539" y="6254"/>
                      <a:pt x="4816" y="6387"/>
                    </a:cubicBezTo>
                    <a:cubicBezTo>
                      <a:pt x="4964" y="6458"/>
                      <a:pt x="5108" y="6534"/>
                      <a:pt x="5246" y="6607"/>
                    </a:cubicBezTo>
                    <a:cubicBezTo>
                      <a:pt x="5584" y="6786"/>
                      <a:pt x="5875" y="6940"/>
                      <a:pt x="6145" y="6987"/>
                    </a:cubicBezTo>
                    <a:cubicBezTo>
                      <a:pt x="6374" y="7027"/>
                      <a:pt x="6617" y="7019"/>
                      <a:pt x="6873" y="7011"/>
                    </a:cubicBezTo>
                    <a:cubicBezTo>
                      <a:pt x="7279" y="6999"/>
                      <a:pt x="7740" y="6985"/>
                      <a:pt x="8301" y="7145"/>
                    </a:cubicBezTo>
                    <a:cubicBezTo>
                      <a:pt x="8622" y="7237"/>
                      <a:pt x="8803" y="7401"/>
                      <a:pt x="8825" y="7618"/>
                    </a:cubicBezTo>
                    <a:cubicBezTo>
                      <a:pt x="8835" y="7725"/>
                      <a:pt x="8806" y="7830"/>
                      <a:pt x="8758" y="7918"/>
                    </a:cubicBezTo>
                    <a:cubicBezTo>
                      <a:pt x="8709" y="8005"/>
                      <a:pt x="8640" y="8076"/>
                      <a:pt x="8571" y="8111"/>
                    </a:cubicBezTo>
                    <a:cubicBezTo>
                      <a:pt x="8540" y="8127"/>
                      <a:pt x="8502" y="8141"/>
                      <a:pt x="8461" y="8153"/>
                    </a:cubicBezTo>
                    <a:cubicBezTo>
                      <a:pt x="8371" y="8180"/>
                      <a:pt x="8259" y="8200"/>
                      <a:pt x="8128" y="8211"/>
                    </a:cubicBezTo>
                    <a:cubicBezTo>
                      <a:pt x="7846" y="8235"/>
                      <a:pt x="7483" y="8223"/>
                      <a:pt x="7099" y="8176"/>
                    </a:cubicBezTo>
                    <a:cubicBezTo>
                      <a:pt x="7067" y="8172"/>
                      <a:pt x="7035" y="8168"/>
                      <a:pt x="7003" y="8164"/>
                    </a:cubicBezTo>
                    <a:cubicBezTo>
                      <a:pt x="6984" y="8161"/>
                      <a:pt x="6965" y="8158"/>
                      <a:pt x="6945" y="8155"/>
                    </a:cubicBezTo>
                    <a:cubicBezTo>
                      <a:pt x="6790" y="8133"/>
                      <a:pt x="6633" y="8105"/>
                      <a:pt x="6477" y="8071"/>
                    </a:cubicBezTo>
                    <a:cubicBezTo>
                      <a:pt x="6423" y="8060"/>
                      <a:pt x="6370" y="8048"/>
                      <a:pt x="6316" y="8035"/>
                    </a:cubicBezTo>
                    <a:cubicBezTo>
                      <a:pt x="6270" y="8024"/>
                      <a:pt x="6226" y="8017"/>
                      <a:pt x="6181" y="8008"/>
                    </a:cubicBezTo>
                    <a:cubicBezTo>
                      <a:pt x="6126" y="7998"/>
                      <a:pt x="6072" y="7990"/>
                      <a:pt x="6020" y="7984"/>
                    </a:cubicBezTo>
                    <a:cubicBezTo>
                      <a:pt x="5990" y="7981"/>
                      <a:pt x="5960" y="7977"/>
                      <a:pt x="5931" y="7975"/>
                    </a:cubicBezTo>
                    <a:cubicBezTo>
                      <a:pt x="5524" y="7946"/>
                      <a:pt x="5206" y="8034"/>
                      <a:pt x="4994" y="8127"/>
                    </a:cubicBezTo>
                    <a:cubicBezTo>
                      <a:pt x="4960" y="8142"/>
                      <a:pt x="4936" y="8168"/>
                      <a:pt x="4918" y="8197"/>
                    </a:cubicBezTo>
                    <a:cubicBezTo>
                      <a:pt x="4888" y="8246"/>
                      <a:pt x="4878" y="8306"/>
                      <a:pt x="4903" y="8363"/>
                    </a:cubicBezTo>
                    <a:cubicBezTo>
                      <a:pt x="4943" y="8452"/>
                      <a:pt x="5048" y="8493"/>
                      <a:pt x="5138" y="8454"/>
                    </a:cubicBezTo>
                    <a:cubicBezTo>
                      <a:pt x="5465" y="8310"/>
                      <a:pt x="5833" y="8286"/>
                      <a:pt x="6233" y="8382"/>
                    </a:cubicBezTo>
                    <a:cubicBezTo>
                      <a:pt x="6732" y="8503"/>
                      <a:pt x="7317" y="8582"/>
                      <a:pt x="7817" y="8582"/>
                    </a:cubicBezTo>
                    <a:cubicBezTo>
                      <a:pt x="8196" y="8582"/>
                      <a:pt x="8527" y="8536"/>
                      <a:pt x="8735" y="8429"/>
                    </a:cubicBezTo>
                    <a:cubicBezTo>
                      <a:pt x="8828" y="8381"/>
                      <a:pt x="8910" y="8308"/>
                      <a:pt x="8978" y="8223"/>
                    </a:cubicBezTo>
                    <a:cubicBezTo>
                      <a:pt x="9279" y="8130"/>
                      <a:pt x="9558" y="8062"/>
                      <a:pt x="9563" y="8061"/>
                    </a:cubicBezTo>
                    <a:cubicBezTo>
                      <a:pt x="9577" y="8057"/>
                      <a:pt x="9590" y="8052"/>
                      <a:pt x="9603" y="8045"/>
                    </a:cubicBezTo>
                    <a:lnTo>
                      <a:pt x="10404" y="7630"/>
                    </a:lnTo>
                    <a:cubicBezTo>
                      <a:pt x="10627" y="7523"/>
                      <a:pt x="10731" y="7601"/>
                      <a:pt x="10766" y="7626"/>
                    </a:cubicBezTo>
                    <a:cubicBezTo>
                      <a:pt x="10877" y="7708"/>
                      <a:pt x="10927" y="7862"/>
                      <a:pt x="10935" y="7937"/>
                    </a:cubicBezTo>
                    <a:cubicBezTo>
                      <a:pt x="10867" y="7990"/>
                      <a:pt x="10749" y="8081"/>
                      <a:pt x="10619" y="8183"/>
                    </a:cubicBezTo>
                    <a:cubicBezTo>
                      <a:pt x="10396" y="8357"/>
                      <a:pt x="10058" y="8621"/>
                      <a:pt x="10018" y="8647"/>
                    </a:cubicBezTo>
                    <a:cubicBezTo>
                      <a:pt x="9989" y="8661"/>
                      <a:pt x="9867" y="8708"/>
                      <a:pt x="9720" y="8765"/>
                    </a:cubicBezTo>
                    <a:cubicBezTo>
                      <a:pt x="9489" y="8855"/>
                      <a:pt x="9201" y="8966"/>
                      <a:pt x="9086" y="9020"/>
                    </a:cubicBezTo>
                    <a:cubicBezTo>
                      <a:pt x="8816" y="9144"/>
                      <a:pt x="8300" y="9346"/>
                      <a:pt x="8196" y="9349"/>
                    </a:cubicBezTo>
                    <a:cubicBezTo>
                      <a:pt x="8024" y="9349"/>
                      <a:pt x="7346" y="9463"/>
                      <a:pt x="6547" y="9626"/>
                    </a:cubicBezTo>
                    <a:cubicBezTo>
                      <a:pt x="5919" y="9754"/>
                      <a:pt x="5696" y="9741"/>
                      <a:pt x="5291" y="9552"/>
                    </a:cubicBezTo>
                    <a:cubicBezTo>
                      <a:pt x="4872" y="9356"/>
                      <a:pt x="2441" y="8613"/>
                      <a:pt x="2148" y="8613"/>
                    </a:cubicBezTo>
                    <a:lnTo>
                      <a:pt x="1979" y="8613"/>
                    </a:lnTo>
                    <a:lnTo>
                      <a:pt x="1979" y="8970"/>
                    </a:lnTo>
                    <a:lnTo>
                      <a:pt x="2146" y="8970"/>
                    </a:lnTo>
                    <a:cubicBezTo>
                      <a:pt x="2378" y="8981"/>
                      <a:pt x="4685" y="9662"/>
                      <a:pt x="5139" y="9875"/>
                    </a:cubicBezTo>
                    <a:cubicBezTo>
                      <a:pt x="5427" y="10010"/>
                      <a:pt x="5655" y="10067"/>
                      <a:pt x="5917" y="10067"/>
                    </a:cubicBezTo>
                    <a:cubicBezTo>
                      <a:pt x="6117" y="10067"/>
                      <a:pt x="6337" y="10034"/>
                      <a:pt x="6619" y="9976"/>
                    </a:cubicBezTo>
                    <a:cubicBezTo>
                      <a:pt x="7530" y="9790"/>
                      <a:pt x="8089" y="9706"/>
                      <a:pt x="8196" y="9706"/>
                    </a:cubicBezTo>
                    <a:cubicBezTo>
                      <a:pt x="8437" y="9706"/>
                      <a:pt x="9228" y="9348"/>
                      <a:pt x="9235" y="9344"/>
                    </a:cubicBezTo>
                    <a:cubicBezTo>
                      <a:pt x="9341" y="9296"/>
                      <a:pt x="9635" y="9181"/>
                      <a:pt x="9849" y="9098"/>
                    </a:cubicBezTo>
                    <a:cubicBezTo>
                      <a:pt x="10069" y="9013"/>
                      <a:pt x="10148" y="8982"/>
                      <a:pt x="10176" y="8967"/>
                    </a:cubicBezTo>
                    <a:cubicBezTo>
                      <a:pt x="10216" y="8947"/>
                      <a:pt x="10303" y="8883"/>
                      <a:pt x="10839" y="8464"/>
                    </a:cubicBezTo>
                    <a:cubicBezTo>
                      <a:pt x="11008" y="8332"/>
                      <a:pt x="11155" y="8217"/>
                      <a:pt x="11194" y="8190"/>
                    </a:cubicBezTo>
                    <a:cubicBezTo>
                      <a:pt x="11364" y="8068"/>
                      <a:pt x="11285" y="7748"/>
                      <a:pt x="11174" y="7560"/>
                    </a:cubicBezTo>
                    <a:close/>
                    <a:moveTo>
                      <a:pt x="0" y="9309"/>
                    </a:moveTo>
                    <a:lnTo>
                      <a:pt x="1630" y="9309"/>
                    </a:lnTo>
                    <a:lnTo>
                      <a:pt x="1630" y="5351"/>
                    </a:lnTo>
                    <a:lnTo>
                      <a:pt x="0" y="5351"/>
                    </a:lnTo>
                    <a:lnTo>
                      <a:pt x="0" y="9309"/>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nvGrpSpPr>
              <p:cNvPr id="248" name="Problem_Based_Learning" descr="{&quot;Key&quot;:&quot;POWER_USER_SHAPE_ICON&quot;,&quot;Value&quot;:&quot;POWER_USER_SHAPE_ICON_STYLE_1&quot;}">
                <a:extLst>
                  <a:ext uri="{FF2B5EF4-FFF2-40B4-BE49-F238E27FC236}">
                    <a16:creationId xmlns:a16="http://schemas.microsoft.com/office/drawing/2014/main" id="{B5674B03-6B30-4944-9B78-6E2373184A15}"/>
                  </a:ext>
                </a:extLst>
              </p:cNvPr>
              <p:cNvGrpSpPr>
                <a:grpSpLocks noChangeAspect="1"/>
              </p:cNvGrpSpPr>
              <p:nvPr>
                <p:custDataLst>
                  <p:tags r:id="rId12"/>
                </p:custDataLst>
              </p:nvPr>
            </p:nvGrpSpPr>
            <p:grpSpPr bwMode="auto">
              <a:xfrm>
                <a:off x="7183815" y="778521"/>
                <a:ext cx="172311" cy="185669"/>
                <a:chOff x="7" y="8"/>
                <a:chExt cx="424" cy="471"/>
              </a:xfrm>
              <a:solidFill>
                <a:schemeClr val="bg1"/>
              </a:solidFill>
            </p:grpSpPr>
            <p:sp>
              <p:nvSpPr>
                <p:cNvPr id="249" name="Problem_Based_Learning">
                  <a:extLst>
                    <a:ext uri="{FF2B5EF4-FFF2-40B4-BE49-F238E27FC236}">
                      <a16:creationId xmlns:a16="http://schemas.microsoft.com/office/drawing/2014/main" id="{8A1049D8-0993-45A7-B314-C5F51A2D1FC1}"/>
                    </a:ext>
                  </a:extLst>
                </p:cNvPr>
                <p:cNvSpPr>
                  <a:spLocks/>
                </p:cNvSpPr>
                <p:nvPr>
                  <p:custDataLst>
                    <p:tags r:id="rId13"/>
                  </p:custDataLst>
                </p:nvPr>
              </p:nvSpPr>
              <p:spPr bwMode="auto">
                <a:xfrm>
                  <a:off x="214" y="8"/>
                  <a:ext cx="20" cy="69"/>
                </a:xfrm>
                <a:custGeom>
                  <a:avLst/>
                  <a:gdLst>
                    <a:gd name="T0" fmla="*/ 26 w 52"/>
                    <a:gd name="T1" fmla="*/ 183 h 183"/>
                    <a:gd name="T2" fmla="*/ 0 w 52"/>
                    <a:gd name="T3" fmla="*/ 156 h 183"/>
                    <a:gd name="T4" fmla="*/ 0 w 52"/>
                    <a:gd name="T5" fmla="*/ 26 h 183"/>
                    <a:gd name="T6" fmla="*/ 26 w 52"/>
                    <a:gd name="T7" fmla="*/ 0 h 183"/>
                    <a:gd name="T8" fmla="*/ 52 w 52"/>
                    <a:gd name="T9" fmla="*/ 26 h 183"/>
                    <a:gd name="T10" fmla="*/ 52 w 52"/>
                    <a:gd name="T11" fmla="*/ 156 h 183"/>
                    <a:gd name="T12" fmla="*/ 26 w 52"/>
                    <a:gd name="T13" fmla="*/ 183 h 183"/>
                  </a:gdLst>
                  <a:ahLst/>
                  <a:cxnLst>
                    <a:cxn ang="0">
                      <a:pos x="T0" y="T1"/>
                    </a:cxn>
                    <a:cxn ang="0">
                      <a:pos x="T2" y="T3"/>
                    </a:cxn>
                    <a:cxn ang="0">
                      <a:pos x="T4" y="T5"/>
                    </a:cxn>
                    <a:cxn ang="0">
                      <a:pos x="T6" y="T7"/>
                    </a:cxn>
                    <a:cxn ang="0">
                      <a:pos x="T8" y="T9"/>
                    </a:cxn>
                    <a:cxn ang="0">
                      <a:pos x="T10" y="T11"/>
                    </a:cxn>
                    <a:cxn ang="0">
                      <a:pos x="T12" y="T13"/>
                    </a:cxn>
                  </a:cxnLst>
                  <a:rect l="0" t="0" r="r" b="b"/>
                  <a:pathLst>
                    <a:path w="52" h="183">
                      <a:moveTo>
                        <a:pt x="26" y="183"/>
                      </a:moveTo>
                      <a:cubicBezTo>
                        <a:pt x="11" y="183"/>
                        <a:pt x="0" y="171"/>
                        <a:pt x="0" y="156"/>
                      </a:cubicBezTo>
                      <a:lnTo>
                        <a:pt x="0" y="26"/>
                      </a:lnTo>
                      <a:cubicBezTo>
                        <a:pt x="0" y="12"/>
                        <a:pt x="11" y="0"/>
                        <a:pt x="26" y="0"/>
                      </a:cubicBezTo>
                      <a:cubicBezTo>
                        <a:pt x="40" y="0"/>
                        <a:pt x="52" y="12"/>
                        <a:pt x="52" y="26"/>
                      </a:cubicBezTo>
                      <a:lnTo>
                        <a:pt x="52" y="156"/>
                      </a:lnTo>
                      <a:cubicBezTo>
                        <a:pt x="52" y="171"/>
                        <a:pt x="40" y="183"/>
                        <a:pt x="26" y="183"/>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noProof="0">
                    <a:ln>
                      <a:noFill/>
                    </a:ln>
                    <a:solidFill>
                      <a:prstClr val="black"/>
                    </a:solidFill>
                    <a:effectLst/>
                    <a:uLnTx/>
                    <a:uFillTx/>
                    <a:latin typeface="Calibri" panose="020F0502020204030204"/>
                    <a:ea typeface="+mn-ea"/>
                    <a:cs typeface="+mn-cs"/>
                  </a:endParaRPr>
                </a:p>
              </p:txBody>
            </p:sp>
            <p:sp>
              <p:nvSpPr>
                <p:cNvPr id="250" name="Problem_Based_Learning">
                  <a:extLst>
                    <a:ext uri="{FF2B5EF4-FFF2-40B4-BE49-F238E27FC236}">
                      <a16:creationId xmlns:a16="http://schemas.microsoft.com/office/drawing/2014/main" id="{45E27EC0-90F9-4A9A-BF2E-7D29A449E0B8}"/>
                    </a:ext>
                  </a:extLst>
                </p:cNvPr>
                <p:cNvSpPr>
                  <a:spLocks/>
                </p:cNvSpPr>
                <p:nvPr>
                  <p:custDataLst>
                    <p:tags r:id="rId14"/>
                  </p:custDataLst>
                </p:nvPr>
              </p:nvSpPr>
              <p:spPr bwMode="auto">
                <a:xfrm>
                  <a:off x="301" y="46"/>
                  <a:ext cx="51" cy="60"/>
                </a:xfrm>
                <a:custGeom>
                  <a:avLst/>
                  <a:gdLst>
                    <a:gd name="T0" fmla="*/ 29 w 137"/>
                    <a:gd name="T1" fmla="*/ 160 h 160"/>
                    <a:gd name="T2" fmla="*/ 14 w 137"/>
                    <a:gd name="T3" fmla="*/ 155 h 160"/>
                    <a:gd name="T4" fmla="*/ 9 w 137"/>
                    <a:gd name="T5" fmla="*/ 118 h 160"/>
                    <a:gd name="T6" fmla="*/ 87 w 137"/>
                    <a:gd name="T7" fmla="*/ 14 h 160"/>
                    <a:gd name="T8" fmla="*/ 123 w 137"/>
                    <a:gd name="T9" fmla="*/ 9 h 160"/>
                    <a:gd name="T10" fmla="*/ 128 w 137"/>
                    <a:gd name="T11" fmla="*/ 45 h 160"/>
                    <a:gd name="T12" fmla="*/ 50 w 137"/>
                    <a:gd name="T13" fmla="*/ 149 h 160"/>
                    <a:gd name="T14" fmla="*/ 29 w 137"/>
                    <a:gd name="T15" fmla="*/ 160 h 16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7" h="160">
                      <a:moveTo>
                        <a:pt x="29" y="160"/>
                      </a:moveTo>
                      <a:cubicBezTo>
                        <a:pt x="24" y="160"/>
                        <a:pt x="18" y="158"/>
                        <a:pt x="14" y="155"/>
                      </a:cubicBezTo>
                      <a:cubicBezTo>
                        <a:pt x="2" y="146"/>
                        <a:pt x="0" y="130"/>
                        <a:pt x="9" y="118"/>
                      </a:cubicBezTo>
                      <a:lnTo>
                        <a:pt x="87" y="14"/>
                      </a:lnTo>
                      <a:cubicBezTo>
                        <a:pt x="95" y="2"/>
                        <a:pt x="112" y="0"/>
                        <a:pt x="123" y="9"/>
                      </a:cubicBezTo>
                      <a:cubicBezTo>
                        <a:pt x="135" y="17"/>
                        <a:pt x="137" y="34"/>
                        <a:pt x="128" y="45"/>
                      </a:cubicBezTo>
                      <a:lnTo>
                        <a:pt x="50" y="149"/>
                      </a:lnTo>
                      <a:cubicBezTo>
                        <a:pt x="45" y="156"/>
                        <a:pt x="37" y="160"/>
                        <a:pt x="29" y="16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noProof="0">
                    <a:ln>
                      <a:noFill/>
                    </a:ln>
                    <a:solidFill>
                      <a:prstClr val="black"/>
                    </a:solidFill>
                    <a:effectLst/>
                    <a:uLnTx/>
                    <a:uFillTx/>
                    <a:latin typeface="Calibri" panose="020F0502020204030204"/>
                    <a:ea typeface="+mn-ea"/>
                    <a:cs typeface="+mn-cs"/>
                  </a:endParaRPr>
                </a:p>
              </p:txBody>
            </p:sp>
            <p:sp>
              <p:nvSpPr>
                <p:cNvPr id="251" name="Problem_Based_Learning">
                  <a:extLst>
                    <a:ext uri="{FF2B5EF4-FFF2-40B4-BE49-F238E27FC236}">
                      <a16:creationId xmlns:a16="http://schemas.microsoft.com/office/drawing/2014/main" id="{D10BF6BC-5016-4655-82E4-7B78C0304D4A}"/>
                    </a:ext>
                  </a:extLst>
                </p:cNvPr>
                <p:cNvSpPr>
                  <a:spLocks/>
                </p:cNvSpPr>
                <p:nvPr>
                  <p:custDataLst>
                    <p:tags r:id="rId15"/>
                  </p:custDataLst>
                </p:nvPr>
              </p:nvSpPr>
              <p:spPr bwMode="auto">
                <a:xfrm>
                  <a:off x="85" y="46"/>
                  <a:ext cx="52" cy="60"/>
                </a:xfrm>
                <a:custGeom>
                  <a:avLst/>
                  <a:gdLst>
                    <a:gd name="T0" fmla="*/ 108 w 137"/>
                    <a:gd name="T1" fmla="*/ 160 h 160"/>
                    <a:gd name="T2" fmla="*/ 87 w 137"/>
                    <a:gd name="T3" fmla="*/ 149 h 160"/>
                    <a:gd name="T4" fmla="*/ 9 w 137"/>
                    <a:gd name="T5" fmla="*/ 45 h 160"/>
                    <a:gd name="T6" fmla="*/ 14 w 137"/>
                    <a:gd name="T7" fmla="*/ 9 h 160"/>
                    <a:gd name="T8" fmla="*/ 51 w 137"/>
                    <a:gd name="T9" fmla="*/ 14 h 160"/>
                    <a:gd name="T10" fmla="*/ 129 w 137"/>
                    <a:gd name="T11" fmla="*/ 118 h 160"/>
                    <a:gd name="T12" fmla="*/ 124 w 137"/>
                    <a:gd name="T13" fmla="*/ 155 h 160"/>
                    <a:gd name="T14" fmla="*/ 108 w 137"/>
                    <a:gd name="T15" fmla="*/ 160 h 16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7" h="160">
                      <a:moveTo>
                        <a:pt x="108" y="160"/>
                      </a:moveTo>
                      <a:cubicBezTo>
                        <a:pt x="100" y="160"/>
                        <a:pt x="92" y="156"/>
                        <a:pt x="87" y="149"/>
                      </a:cubicBezTo>
                      <a:lnTo>
                        <a:pt x="9" y="45"/>
                      </a:lnTo>
                      <a:cubicBezTo>
                        <a:pt x="0" y="34"/>
                        <a:pt x="3" y="17"/>
                        <a:pt x="14" y="9"/>
                      </a:cubicBezTo>
                      <a:cubicBezTo>
                        <a:pt x="26" y="0"/>
                        <a:pt x="42" y="2"/>
                        <a:pt x="51" y="14"/>
                      </a:cubicBezTo>
                      <a:lnTo>
                        <a:pt x="129" y="118"/>
                      </a:lnTo>
                      <a:cubicBezTo>
                        <a:pt x="137" y="130"/>
                        <a:pt x="135" y="146"/>
                        <a:pt x="124" y="155"/>
                      </a:cubicBezTo>
                      <a:cubicBezTo>
                        <a:pt x="119" y="158"/>
                        <a:pt x="113" y="160"/>
                        <a:pt x="108" y="16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noProof="0">
                    <a:ln>
                      <a:noFill/>
                    </a:ln>
                    <a:solidFill>
                      <a:prstClr val="black"/>
                    </a:solidFill>
                    <a:effectLst/>
                    <a:uLnTx/>
                    <a:uFillTx/>
                    <a:latin typeface="Calibri" panose="020F0502020204030204"/>
                    <a:ea typeface="+mn-ea"/>
                    <a:cs typeface="+mn-cs"/>
                  </a:endParaRPr>
                </a:p>
              </p:txBody>
            </p:sp>
            <p:sp>
              <p:nvSpPr>
                <p:cNvPr id="252" name="Problem_Based_Learning">
                  <a:extLst>
                    <a:ext uri="{FF2B5EF4-FFF2-40B4-BE49-F238E27FC236}">
                      <a16:creationId xmlns:a16="http://schemas.microsoft.com/office/drawing/2014/main" id="{8A8A69BA-B5CF-4EE9-B31F-4FBCD30F8D91}"/>
                    </a:ext>
                  </a:extLst>
                </p:cNvPr>
                <p:cNvSpPr>
                  <a:spLocks/>
                </p:cNvSpPr>
                <p:nvPr>
                  <p:custDataLst>
                    <p:tags r:id="rId16"/>
                  </p:custDataLst>
                </p:nvPr>
              </p:nvSpPr>
              <p:spPr bwMode="auto">
                <a:xfrm>
                  <a:off x="7" y="134"/>
                  <a:ext cx="61" cy="41"/>
                </a:xfrm>
                <a:custGeom>
                  <a:avLst/>
                  <a:gdLst>
                    <a:gd name="T0" fmla="*/ 134 w 164"/>
                    <a:gd name="T1" fmla="*/ 108 h 108"/>
                    <a:gd name="T2" fmla="*/ 123 w 164"/>
                    <a:gd name="T3" fmla="*/ 106 h 108"/>
                    <a:gd name="T4" fmla="*/ 18 w 164"/>
                    <a:gd name="T5" fmla="*/ 53 h 108"/>
                    <a:gd name="T6" fmla="*/ 7 w 164"/>
                    <a:gd name="T7" fmla="*/ 18 h 108"/>
                    <a:gd name="T8" fmla="*/ 42 w 164"/>
                    <a:gd name="T9" fmla="*/ 7 h 108"/>
                    <a:gd name="T10" fmla="*/ 146 w 164"/>
                    <a:gd name="T11" fmla="*/ 59 h 108"/>
                    <a:gd name="T12" fmla="*/ 158 w 164"/>
                    <a:gd name="T13" fmla="*/ 94 h 108"/>
                    <a:gd name="T14" fmla="*/ 134 w 164"/>
                    <a:gd name="T15" fmla="*/ 108 h 1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4" h="108">
                      <a:moveTo>
                        <a:pt x="134" y="108"/>
                      </a:moveTo>
                      <a:cubicBezTo>
                        <a:pt x="130" y="108"/>
                        <a:pt x="126" y="107"/>
                        <a:pt x="123" y="106"/>
                      </a:cubicBezTo>
                      <a:lnTo>
                        <a:pt x="18" y="53"/>
                      </a:lnTo>
                      <a:cubicBezTo>
                        <a:pt x="6" y="47"/>
                        <a:pt x="0" y="31"/>
                        <a:pt x="7" y="18"/>
                      </a:cubicBezTo>
                      <a:cubicBezTo>
                        <a:pt x="13" y="6"/>
                        <a:pt x="29" y="0"/>
                        <a:pt x="42" y="7"/>
                      </a:cubicBezTo>
                      <a:lnTo>
                        <a:pt x="146" y="59"/>
                      </a:lnTo>
                      <a:cubicBezTo>
                        <a:pt x="159" y="65"/>
                        <a:pt x="164" y="81"/>
                        <a:pt x="158" y="94"/>
                      </a:cubicBezTo>
                      <a:cubicBezTo>
                        <a:pt x="153" y="103"/>
                        <a:pt x="144" y="108"/>
                        <a:pt x="134" y="108"/>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noProof="0">
                    <a:ln>
                      <a:noFill/>
                    </a:ln>
                    <a:solidFill>
                      <a:prstClr val="black"/>
                    </a:solidFill>
                    <a:effectLst/>
                    <a:uLnTx/>
                    <a:uFillTx/>
                    <a:latin typeface="Calibri" panose="020F0502020204030204"/>
                    <a:ea typeface="+mn-ea"/>
                    <a:cs typeface="+mn-cs"/>
                  </a:endParaRPr>
                </a:p>
              </p:txBody>
            </p:sp>
            <p:sp>
              <p:nvSpPr>
                <p:cNvPr id="253" name="Problem_Based_Learning">
                  <a:extLst>
                    <a:ext uri="{FF2B5EF4-FFF2-40B4-BE49-F238E27FC236}">
                      <a16:creationId xmlns:a16="http://schemas.microsoft.com/office/drawing/2014/main" id="{370FE056-567B-4C70-B43E-737AD0F9B880}"/>
                    </a:ext>
                  </a:extLst>
                </p:cNvPr>
                <p:cNvSpPr>
                  <a:spLocks/>
                </p:cNvSpPr>
                <p:nvPr>
                  <p:custDataLst>
                    <p:tags r:id="rId17"/>
                  </p:custDataLst>
                </p:nvPr>
              </p:nvSpPr>
              <p:spPr bwMode="auto">
                <a:xfrm>
                  <a:off x="369" y="134"/>
                  <a:ext cx="62" cy="41"/>
                </a:xfrm>
                <a:custGeom>
                  <a:avLst/>
                  <a:gdLst>
                    <a:gd name="T0" fmla="*/ 30 w 164"/>
                    <a:gd name="T1" fmla="*/ 108 h 108"/>
                    <a:gd name="T2" fmla="*/ 7 w 164"/>
                    <a:gd name="T3" fmla="*/ 94 h 108"/>
                    <a:gd name="T4" fmla="*/ 18 w 164"/>
                    <a:gd name="T5" fmla="*/ 59 h 108"/>
                    <a:gd name="T6" fmla="*/ 123 w 164"/>
                    <a:gd name="T7" fmla="*/ 7 h 108"/>
                    <a:gd name="T8" fmla="*/ 158 w 164"/>
                    <a:gd name="T9" fmla="*/ 18 h 108"/>
                    <a:gd name="T10" fmla="*/ 146 w 164"/>
                    <a:gd name="T11" fmla="*/ 53 h 108"/>
                    <a:gd name="T12" fmla="*/ 42 w 164"/>
                    <a:gd name="T13" fmla="*/ 106 h 108"/>
                    <a:gd name="T14" fmla="*/ 30 w 164"/>
                    <a:gd name="T15" fmla="*/ 108 h 1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4" h="108">
                      <a:moveTo>
                        <a:pt x="30" y="108"/>
                      </a:moveTo>
                      <a:cubicBezTo>
                        <a:pt x="20" y="108"/>
                        <a:pt x="11" y="103"/>
                        <a:pt x="7" y="94"/>
                      </a:cubicBezTo>
                      <a:cubicBezTo>
                        <a:pt x="0" y="81"/>
                        <a:pt x="5" y="65"/>
                        <a:pt x="18" y="59"/>
                      </a:cubicBezTo>
                      <a:lnTo>
                        <a:pt x="123" y="7"/>
                      </a:lnTo>
                      <a:cubicBezTo>
                        <a:pt x="135" y="0"/>
                        <a:pt x="151" y="6"/>
                        <a:pt x="158" y="18"/>
                      </a:cubicBezTo>
                      <a:cubicBezTo>
                        <a:pt x="164" y="31"/>
                        <a:pt x="159" y="47"/>
                        <a:pt x="146" y="53"/>
                      </a:cubicBezTo>
                      <a:lnTo>
                        <a:pt x="42" y="106"/>
                      </a:lnTo>
                      <a:cubicBezTo>
                        <a:pt x="38" y="107"/>
                        <a:pt x="34" y="108"/>
                        <a:pt x="30" y="108"/>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noProof="0">
                    <a:ln>
                      <a:noFill/>
                    </a:ln>
                    <a:solidFill>
                      <a:prstClr val="black"/>
                    </a:solidFill>
                    <a:effectLst/>
                    <a:uLnTx/>
                    <a:uFillTx/>
                    <a:latin typeface="Calibri" panose="020F0502020204030204"/>
                    <a:ea typeface="+mn-ea"/>
                    <a:cs typeface="+mn-cs"/>
                  </a:endParaRPr>
                </a:p>
              </p:txBody>
            </p:sp>
            <p:sp>
              <p:nvSpPr>
                <p:cNvPr id="254" name="Problem_Based_Learning">
                  <a:extLst>
                    <a:ext uri="{FF2B5EF4-FFF2-40B4-BE49-F238E27FC236}">
                      <a16:creationId xmlns:a16="http://schemas.microsoft.com/office/drawing/2014/main" id="{8825E2DF-2D00-401B-9225-0E6A44E757EF}"/>
                    </a:ext>
                  </a:extLst>
                </p:cNvPr>
                <p:cNvSpPr>
                  <a:spLocks noEditPoints="1"/>
                </p:cNvSpPr>
                <p:nvPr>
                  <p:custDataLst>
                    <p:tags r:id="rId18"/>
                  </p:custDataLst>
                </p:nvPr>
              </p:nvSpPr>
              <p:spPr bwMode="auto">
                <a:xfrm>
                  <a:off x="87" y="106"/>
                  <a:ext cx="303" cy="373"/>
                </a:xfrm>
                <a:custGeom>
                  <a:avLst/>
                  <a:gdLst>
                    <a:gd name="T0" fmla="*/ 730 w 808"/>
                    <a:gd name="T1" fmla="*/ 391 h 989"/>
                    <a:gd name="T2" fmla="*/ 730 w 808"/>
                    <a:gd name="T3" fmla="*/ 365 h 989"/>
                    <a:gd name="T4" fmla="*/ 365 w 808"/>
                    <a:gd name="T5" fmla="*/ 0 h 989"/>
                    <a:gd name="T6" fmla="*/ 0 w 808"/>
                    <a:gd name="T7" fmla="*/ 365 h 989"/>
                    <a:gd name="T8" fmla="*/ 78 w 808"/>
                    <a:gd name="T9" fmla="*/ 590 h 989"/>
                    <a:gd name="T10" fmla="*/ 78 w 808"/>
                    <a:gd name="T11" fmla="*/ 989 h 989"/>
                    <a:gd name="T12" fmla="*/ 547 w 808"/>
                    <a:gd name="T13" fmla="*/ 989 h 989"/>
                    <a:gd name="T14" fmla="*/ 547 w 808"/>
                    <a:gd name="T15" fmla="*/ 860 h 989"/>
                    <a:gd name="T16" fmla="*/ 704 w 808"/>
                    <a:gd name="T17" fmla="*/ 704 h 989"/>
                    <a:gd name="T18" fmla="*/ 704 w 808"/>
                    <a:gd name="T19" fmla="*/ 626 h 989"/>
                    <a:gd name="T20" fmla="*/ 782 w 808"/>
                    <a:gd name="T21" fmla="*/ 626 h 989"/>
                    <a:gd name="T22" fmla="*/ 808 w 808"/>
                    <a:gd name="T23" fmla="*/ 600 h 989"/>
                    <a:gd name="T24" fmla="*/ 730 w 808"/>
                    <a:gd name="T25" fmla="*/ 391 h 989"/>
                    <a:gd name="T26" fmla="*/ 587 w 808"/>
                    <a:gd name="T27" fmla="*/ 387 h 989"/>
                    <a:gd name="T28" fmla="*/ 547 w 808"/>
                    <a:gd name="T29" fmla="*/ 365 h 989"/>
                    <a:gd name="T30" fmla="*/ 522 w 808"/>
                    <a:gd name="T31" fmla="*/ 385 h 989"/>
                    <a:gd name="T32" fmla="*/ 520 w 808"/>
                    <a:gd name="T33" fmla="*/ 474 h 989"/>
                    <a:gd name="T34" fmla="*/ 410 w 808"/>
                    <a:gd name="T35" fmla="*/ 473 h 989"/>
                    <a:gd name="T36" fmla="*/ 390 w 808"/>
                    <a:gd name="T37" fmla="*/ 449 h 989"/>
                    <a:gd name="T38" fmla="*/ 412 w 808"/>
                    <a:gd name="T39" fmla="*/ 409 h 989"/>
                    <a:gd name="T40" fmla="*/ 368 w 808"/>
                    <a:gd name="T41" fmla="*/ 364 h 989"/>
                    <a:gd name="T42" fmla="*/ 325 w 808"/>
                    <a:gd name="T43" fmla="*/ 409 h 989"/>
                    <a:gd name="T44" fmla="*/ 347 w 808"/>
                    <a:gd name="T45" fmla="*/ 449 h 989"/>
                    <a:gd name="T46" fmla="*/ 326 w 808"/>
                    <a:gd name="T47" fmla="*/ 473 h 989"/>
                    <a:gd name="T48" fmla="*/ 214 w 808"/>
                    <a:gd name="T49" fmla="*/ 474 h 989"/>
                    <a:gd name="T50" fmla="*/ 213 w 808"/>
                    <a:gd name="T51" fmla="*/ 385 h 989"/>
                    <a:gd name="T52" fmla="*/ 188 w 808"/>
                    <a:gd name="T53" fmla="*/ 365 h 989"/>
                    <a:gd name="T54" fmla="*/ 148 w 808"/>
                    <a:gd name="T55" fmla="*/ 387 h 989"/>
                    <a:gd name="T56" fmla="*/ 104 w 808"/>
                    <a:gd name="T57" fmla="*/ 344 h 989"/>
                    <a:gd name="T58" fmla="*/ 148 w 808"/>
                    <a:gd name="T59" fmla="*/ 300 h 989"/>
                    <a:gd name="T60" fmla="*/ 188 w 808"/>
                    <a:gd name="T61" fmla="*/ 322 h 989"/>
                    <a:gd name="T62" fmla="*/ 213 w 808"/>
                    <a:gd name="T63" fmla="*/ 302 h 989"/>
                    <a:gd name="T64" fmla="*/ 216 w 808"/>
                    <a:gd name="T65" fmla="*/ 213 h 989"/>
                    <a:gd name="T66" fmla="*/ 326 w 808"/>
                    <a:gd name="T67" fmla="*/ 203 h 989"/>
                    <a:gd name="T68" fmla="*/ 347 w 808"/>
                    <a:gd name="T69" fmla="*/ 227 h 989"/>
                    <a:gd name="T70" fmla="*/ 325 w 808"/>
                    <a:gd name="T71" fmla="*/ 267 h 989"/>
                    <a:gd name="T72" fmla="*/ 368 w 808"/>
                    <a:gd name="T73" fmla="*/ 312 h 989"/>
                    <a:gd name="T74" fmla="*/ 412 w 808"/>
                    <a:gd name="T75" fmla="*/ 267 h 989"/>
                    <a:gd name="T76" fmla="*/ 390 w 808"/>
                    <a:gd name="T77" fmla="*/ 227 h 989"/>
                    <a:gd name="T78" fmla="*/ 410 w 808"/>
                    <a:gd name="T79" fmla="*/ 203 h 989"/>
                    <a:gd name="T80" fmla="*/ 521 w 808"/>
                    <a:gd name="T81" fmla="*/ 213 h 989"/>
                    <a:gd name="T82" fmla="*/ 522 w 808"/>
                    <a:gd name="T83" fmla="*/ 302 h 989"/>
                    <a:gd name="T84" fmla="*/ 547 w 808"/>
                    <a:gd name="T85" fmla="*/ 322 h 989"/>
                    <a:gd name="T86" fmla="*/ 587 w 808"/>
                    <a:gd name="T87" fmla="*/ 300 h 989"/>
                    <a:gd name="T88" fmla="*/ 631 w 808"/>
                    <a:gd name="T89" fmla="*/ 344 h 989"/>
                    <a:gd name="T90" fmla="*/ 587 w 808"/>
                    <a:gd name="T91" fmla="*/ 387 h 9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8" h="989">
                      <a:moveTo>
                        <a:pt x="730" y="391"/>
                      </a:moveTo>
                      <a:lnTo>
                        <a:pt x="730" y="365"/>
                      </a:lnTo>
                      <a:cubicBezTo>
                        <a:pt x="730" y="163"/>
                        <a:pt x="566" y="0"/>
                        <a:pt x="365" y="0"/>
                      </a:cubicBezTo>
                      <a:cubicBezTo>
                        <a:pt x="163" y="0"/>
                        <a:pt x="0" y="163"/>
                        <a:pt x="0" y="365"/>
                      </a:cubicBezTo>
                      <a:cubicBezTo>
                        <a:pt x="0" y="450"/>
                        <a:pt x="29" y="528"/>
                        <a:pt x="78" y="590"/>
                      </a:cubicBezTo>
                      <a:lnTo>
                        <a:pt x="78" y="989"/>
                      </a:lnTo>
                      <a:lnTo>
                        <a:pt x="547" y="989"/>
                      </a:lnTo>
                      <a:lnTo>
                        <a:pt x="547" y="860"/>
                      </a:lnTo>
                      <a:cubicBezTo>
                        <a:pt x="634" y="860"/>
                        <a:pt x="704" y="790"/>
                        <a:pt x="704" y="704"/>
                      </a:cubicBezTo>
                      <a:lnTo>
                        <a:pt x="704" y="626"/>
                      </a:lnTo>
                      <a:lnTo>
                        <a:pt x="782" y="626"/>
                      </a:lnTo>
                      <a:cubicBezTo>
                        <a:pt x="796" y="626"/>
                        <a:pt x="808" y="614"/>
                        <a:pt x="808" y="600"/>
                      </a:cubicBezTo>
                      <a:cubicBezTo>
                        <a:pt x="808" y="593"/>
                        <a:pt x="730" y="391"/>
                        <a:pt x="730" y="391"/>
                      </a:cubicBezTo>
                      <a:close/>
                      <a:moveTo>
                        <a:pt x="587" y="387"/>
                      </a:moveTo>
                      <a:cubicBezTo>
                        <a:pt x="562" y="381"/>
                        <a:pt x="566" y="365"/>
                        <a:pt x="547" y="365"/>
                      </a:cubicBezTo>
                      <a:cubicBezTo>
                        <a:pt x="528" y="365"/>
                        <a:pt x="524" y="378"/>
                        <a:pt x="522" y="385"/>
                      </a:cubicBezTo>
                      <a:cubicBezTo>
                        <a:pt x="519" y="407"/>
                        <a:pt x="520" y="474"/>
                        <a:pt x="520" y="474"/>
                      </a:cubicBezTo>
                      <a:cubicBezTo>
                        <a:pt x="520" y="474"/>
                        <a:pt x="432" y="477"/>
                        <a:pt x="410" y="473"/>
                      </a:cubicBezTo>
                      <a:cubicBezTo>
                        <a:pt x="402" y="472"/>
                        <a:pt x="390" y="468"/>
                        <a:pt x="390" y="449"/>
                      </a:cubicBezTo>
                      <a:cubicBezTo>
                        <a:pt x="390" y="430"/>
                        <a:pt x="406" y="434"/>
                        <a:pt x="412" y="409"/>
                      </a:cubicBezTo>
                      <a:cubicBezTo>
                        <a:pt x="414" y="383"/>
                        <a:pt x="392" y="364"/>
                        <a:pt x="368" y="364"/>
                      </a:cubicBezTo>
                      <a:cubicBezTo>
                        <a:pt x="344" y="364"/>
                        <a:pt x="323" y="383"/>
                        <a:pt x="325" y="409"/>
                      </a:cubicBezTo>
                      <a:cubicBezTo>
                        <a:pt x="331" y="434"/>
                        <a:pt x="347" y="430"/>
                        <a:pt x="347" y="449"/>
                      </a:cubicBezTo>
                      <a:cubicBezTo>
                        <a:pt x="347" y="468"/>
                        <a:pt x="334" y="472"/>
                        <a:pt x="326" y="473"/>
                      </a:cubicBezTo>
                      <a:cubicBezTo>
                        <a:pt x="305" y="477"/>
                        <a:pt x="214" y="474"/>
                        <a:pt x="214" y="474"/>
                      </a:cubicBezTo>
                      <a:cubicBezTo>
                        <a:pt x="214" y="474"/>
                        <a:pt x="216" y="407"/>
                        <a:pt x="213" y="385"/>
                      </a:cubicBezTo>
                      <a:cubicBezTo>
                        <a:pt x="212" y="377"/>
                        <a:pt x="207" y="365"/>
                        <a:pt x="188" y="365"/>
                      </a:cubicBezTo>
                      <a:cubicBezTo>
                        <a:pt x="169" y="365"/>
                        <a:pt x="174" y="381"/>
                        <a:pt x="148" y="387"/>
                      </a:cubicBezTo>
                      <a:cubicBezTo>
                        <a:pt x="123" y="389"/>
                        <a:pt x="104" y="368"/>
                        <a:pt x="104" y="344"/>
                      </a:cubicBezTo>
                      <a:cubicBezTo>
                        <a:pt x="104" y="319"/>
                        <a:pt x="123" y="298"/>
                        <a:pt x="148" y="300"/>
                      </a:cubicBezTo>
                      <a:cubicBezTo>
                        <a:pt x="174" y="306"/>
                        <a:pt x="169" y="322"/>
                        <a:pt x="188" y="322"/>
                      </a:cubicBezTo>
                      <a:cubicBezTo>
                        <a:pt x="207" y="322"/>
                        <a:pt x="212" y="310"/>
                        <a:pt x="213" y="302"/>
                      </a:cubicBezTo>
                      <a:cubicBezTo>
                        <a:pt x="216" y="280"/>
                        <a:pt x="216" y="213"/>
                        <a:pt x="216" y="213"/>
                      </a:cubicBezTo>
                      <a:cubicBezTo>
                        <a:pt x="216" y="213"/>
                        <a:pt x="305" y="199"/>
                        <a:pt x="326" y="203"/>
                      </a:cubicBezTo>
                      <a:cubicBezTo>
                        <a:pt x="334" y="204"/>
                        <a:pt x="347" y="208"/>
                        <a:pt x="347" y="227"/>
                      </a:cubicBezTo>
                      <a:cubicBezTo>
                        <a:pt x="347" y="246"/>
                        <a:pt x="331" y="242"/>
                        <a:pt x="325" y="267"/>
                      </a:cubicBezTo>
                      <a:cubicBezTo>
                        <a:pt x="323" y="293"/>
                        <a:pt x="344" y="312"/>
                        <a:pt x="368" y="312"/>
                      </a:cubicBezTo>
                      <a:cubicBezTo>
                        <a:pt x="392" y="312"/>
                        <a:pt x="414" y="293"/>
                        <a:pt x="412" y="267"/>
                      </a:cubicBezTo>
                      <a:cubicBezTo>
                        <a:pt x="406" y="242"/>
                        <a:pt x="390" y="246"/>
                        <a:pt x="390" y="227"/>
                      </a:cubicBezTo>
                      <a:cubicBezTo>
                        <a:pt x="390" y="208"/>
                        <a:pt x="402" y="204"/>
                        <a:pt x="410" y="203"/>
                      </a:cubicBezTo>
                      <a:cubicBezTo>
                        <a:pt x="432" y="199"/>
                        <a:pt x="521" y="213"/>
                        <a:pt x="521" y="213"/>
                      </a:cubicBezTo>
                      <a:cubicBezTo>
                        <a:pt x="521" y="213"/>
                        <a:pt x="519" y="280"/>
                        <a:pt x="522" y="302"/>
                      </a:cubicBezTo>
                      <a:cubicBezTo>
                        <a:pt x="524" y="310"/>
                        <a:pt x="528" y="322"/>
                        <a:pt x="547" y="322"/>
                      </a:cubicBezTo>
                      <a:cubicBezTo>
                        <a:pt x="566" y="322"/>
                        <a:pt x="562" y="306"/>
                        <a:pt x="587" y="300"/>
                      </a:cubicBezTo>
                      <a:cubicBezTo>
                        <a:pt x="613" y="298"/>
                        <a:pt x="631" y="319"/>
                        <a:pt x="631" y="344"/>
                      </a:cubicBezTo>
                      <a:cubicBezTo>
                        <a:pt x="631" y="368"/>
                        <a:pt x="613" y="389"/>
                        <a:pt x="587" y="387"/>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noProof="0">
                    <a:ln>
                      <a:noFill/>
                    </a:ln>
                    <a:solidFill>
                      <a:prstClr val="black"/>
                    </a:solidFill>
                    <a:effectLst/>
                    <a:uLnTx/>
                    <a:uFillTx/>
                    <a:latin typeface="Calibri" panose="020F0502020204030204"/>
                    <a:ea typeface="+mn-ea"/>
                    <a:cs typeface="+mn-cs"/>
                  </a:endParaRPr>
                </a:p>
              </p:txBody>
            </p:sp>
          </p:grpSp>
        </p:grpSp>
      </p:grpSp>
      <p:sp>
        <p:nvSpPr>
          <p:cNvPr id="255" name="Rechthoek: afgeronde hoeken 14">
            <a:extLst>
              <a:ext uri="{FF2B5EF4-FFF2-40B4-BE49-F238E27FC236}">
                <a16:creationId xmlns:a16="http://schemas.microsoft.com/office/drawing/2014/main" id="{21DE280C-6E64-4B68-906B-858B4BCA8023}"/>
              </a:ext>
            </a:extLst>
          </p:cNvPr>
          <p:cNvSpPr/>
          <p:nvPr/>
        </p:nvSpPr>
        <p:spPr>
          <a:xfrm rot="11571750">
            <a:off x="9461927" y="4060867"/>
            <a:ext cx="295272" cy="934094"/>
          </a:xfrm>
          <a:custGeom>
            <a:avLst/>
            <a:gdLst>
              <a:gd name="connsiteX0" fmla="*/ 37257 w 295272"/>
              <a:gd name="connsiteY0" fmla="*/ 54955 h 934094"/>
              <a:gd name="connsiteX1" fmla="*/ 75181 w 295272"/>
              <a:gd name="connsiteY1" fmla="*/ 406 h 934094"/>
              <a:gd name="connsiteX2" fmla="*/ 239176 w 295272"/>
              <a:gd name="connsiteY2" fmla="*/ 0 h 934094"/>
              <a:gd name="connsiteX3" fmla="*/ 264795 w 295272"/>
              <a:gd name="connsiteY3" fmla="*/ 54955 h 934094"/>
              <a:gd name="connsiteX4" fmla="*/ 295272 w 295272"/>
              <a:gd name="connsiteY4" fmla="*/ 891935 h 934094"/>
              <a:gd name="connsiteX5" fmla="*/ 226871 w 295272"/>
              <a:gd name="connsiteY5" fmla="*/ 934094 h 934094"/>
              <a:gd name="connsiteX6" fmla="*/ 75181 w 295272"/>
              <a:gd name="connsiteY6" fmla="*/ 934094 h 934094"/>
              <a:gd name="connsiteX7" fmla="*/ 37257 w 295272"/>
              <a:gd name="connsiteY7" fmla="*/ 879544 h 934094"/>
              <a:gd name="connsiteX8" fmla="*/ 0 w 295272"/>
              <a:gd name="connsiteY8" fmla="*/ 390113 h 934094"/>
              <a:gd name="connsiteX9" fmla="*/ 37257 w 295272"/>
              <a:gd name="connsiteY9" fmla="*/ 54955 h 9340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95272" h="934094" fill="none" extrusionOk="0">
                <a:moveTo>
                  <a:pt x="37257" y="54955"/>
                </a:moveTo>
                <a:cubicBezTo>
                  <a:pt x="39618" y="25175"/>
                  <a:pt x="53447" y="-438"/>
                  <a:pt x="75181" y="406"/>
                </a:cubicBezTo>
                <a:cubicBezTo>
                  <a:pt x="143832" y="-5635"/>
                  <a:pt x="195353" y="-431"/>
                  <a:pt x="239176" y="0"/>
                </a:cubicBezTo>
                <a:cubicBezTo>
                  <a:pt x="260190" y="5941"/>
                  <a:pt x="261910" y="24311"/>
                  <a:pt x="264795" y="54955"/>
                </a:cubicBezTo>
                <a:cubicBezTo>
                  <a:pt x="286089" y="389254"/>
                  <a:pt x="217520" y="586264"/>
                  <a:pt x="295272" y="891935"/>
                </a:cubicBezTo>
                <a:cubicBezTo>
                  <a:pt x="298832" y="925583"/>
                  <a:pt x="243511" y="933820"/>
                  <a:pt x="226871" y="934094"/>
                </a:cubicBezTo>
                <a:cubicBezTo>
                  <a:pt x="172159" y="934152"/>
                  <a:pt x="127623" y="926920"/>
                  <a:pt x="75181" y="934094"/>
                </a:cubicBezTo>
                <a:cubicBezTo>
                  <a:pt x="54792" y="939452"/>
                  <a:pt x="38261" y="910222"/>
                  <a:pt x="37257" y="879544"/>
                </a:cubicBezTo>
                <a:cubicBezTo>
                  <a:pt x="18418" y="682704"/>
                  <a:pt x="9096" y="538727"/>
                  <a:pt x="0" y="390113"/>
                </a:cubicBezTo>
                <a:cubicBezTo>
                  <a:pt x="10313" y="253427"/>
                  <a:pt x="23476" y="184916"/>
                  <a:pt x="37257" y="54955"/>
                </a:cubicBezTo>
                <a:close/>
              </a:path>
              <a:path w="295272" h="934094" stroke="0" extrusionOk="0">
                <a:moveTo>
                  <a:pt x="37257" y="54955"/>
                </a:moveTo>
                <a:cubicBezTo>
                  <a:pt x="37935" y="21816"/>
                  <a:pt x="50181" y="2123"/>
                  <a:pt x="75181" y="406"/>
                </a:cubicBezTo>
                <a:cubicBezTo>
                  <a:pt x="114637" y="-2638"/>
                  <a:pt x="204932" y="-6699"/>
                  <a:pt x="239176" y="0"/>
                </a:cubicBezTo>
                <a:cubicBezTo>
                  <a:pt x="264903" y="3991"/>
                  <a:pt x="264530" y="25386"/>
                  <a:pt x="264795" y="54955"/>
                </a:cubicBezTo>
                <a:cubicBezTo>
                  <a:pt x="325100" y="333976"/>
                  <a:pt x="216647" y="618373"/>
                  <a:pt x="295272" y="891935"/>
                </a:cubicBezTo>
                <a:cubicBezTo>
                  <a:pt x="296688" y="920001"/>
                  <a:pt x="246859" y="931744"/>
                  <a:pt x="226871" y="934094"/>
                </a:cubicBezTo>
                <a:cubicBezTo>
                  <a:pt x="172963" y="939387"/>
                  <a:pt x="133927" y="933628"/>
                  <a:pt x="75181" y="934094"/>
                </a:cubicBezTo>
                <a:cubicBezTo>
                  <a:pt x="52855" y="939066"/>
                  <a:pt x="35326" y="906036"/>
                  <a:pt x="37257" y="879544"/>
                </a:cubicBezTo>
                <a:cubicBezTo>
                  <a:pt x="20281" y="690542"/>
                  <a:pt x="-34844" y="547368"/>
                  <a:pt x="0" y="390113"/>
                </a:cubicBezTo>
                <a:cubicBezTo>
                  <a:pt x="31715" y="252942"/>
                  <a:pt x="32650" y="181245"/>
                  <a:pt x="37257" y="54955"/>
                </a:cubicBezTo>
                <a:close/>
              </a:path>
            </a:pathLst>
          </a:custGeom>
          <a:solidFill>
            <a:schemeClr val="accent3">
              <a:lumMod val="75000"/>
              <a:alpha val="50196"/>
            </a:schemeClr>
          </a:solidFill>
          <a:ln w="19050">
            <a:solidFill>
              <a:schemeClr val="accent3">
                <a:lumMod val="50000"/>
              </a:schemeClr>
            </a:solidFill>
            <a:prstDash val="lgDash"/>
            <a:extLst>
              <a:ext uri="{C807C97D-BFC1-408E-A445-0C87EB9F89A2}">
                <ask:lineSketchStyleProps xmlns:ask="http://schemas.microsoft.com/office/drawing/2018/sketchyshapes" sd="1343802768">
                  <a:custGeom>
                    <a:avLst/>
                    <a:gdLst>
                      <a:gd name="connsiteX0" fmla="*/ 0 w 303332"/>
                      <a:gd name="connsiteY0" fmla="*/ 50556 h 865339"/>
                      <a:gd name="connsiteX1" fmla="*/ 50556 w 303332"/>
                      <a:gd name="connsiteY1" fmla="*/ 0 h 865339"/>
                      <a:gd name="connsiteX2" fmla="*/ 252776 w 303332"/>
                      <a:gd name="connsiteY2" fmla="*/ 0 h 865339"/>
                      <a:gd name="connsiteX3" fmla="*/ 303332 w 303332"/>
                      <a:gd name="connsiteY3" fmla="*/ 50556 h 865339"/>
                      <a:gd name="connsiteX4" fmla="*/ 303332 w 303332"/>
                      <a:gd name="connsiteY4" fmla="*/ 814783 h 865339"/>
                      <a:gd name="connsiteX5" fmla="*/ 252776 w 303332"/>
                      <a:gd name="connsiteY5" fmla="*/ 865339 h 865339"/>
                      <a:gd name="connsiteX6" fmla="*/ 50556 w 303332"/>
                      <a:gd name="connsiteY6" fmla="*/ 865339 h 865339"/>
                      <a:gd name="connsiteX7" fmla="*/ 0 w 303332"/>
                      <a:gd name="connsiteY7" fmla="*/ 814783 h 865339"/>
                      <a:gd name="connsiteX8" fmla="*/ 0 w 303332"/>
                      <a:gd name="connsiteY8" fmla="*/ 50556 h 865339"/>
                      <a:gd name="connsiteX0" fmla="*/ 0 w 303332"/>
                      <a:gd name="connsiteY0" fmla="*/ 50933 h 865716"/>
                      <a:gd name="connsiteX1" fmla="*/ 50556 w 303332"/>
                      <a:gd name="connsiteY1" fmla="*/ 377 h 865716"/>
                      <a:gd name="connsiteX2" fmla="*/ 269179 w 303332"/>
                      <a:gd name="connsiteY2" fmla="*/ 0 h 865716"/>
                      <a:gd name="connsiteX3" fmla="*/ 303332 w 303332"/>
                      <a:gd name="connsiteY3" fmla="*/ 50933 h 865716"/>
                      <a:gd name="connsiteX4" fmla="*/ 303332 w 303332"/>
                      <a:gd name="connsiteY4" fmla="*/ 815160 h 865716"/>
                      <a:gd name="connsiteX5" fmla="*/ 252776 w 303332"/>
                      <a:gd name="connsiteY5" fmla="*/ 865716 h 865716"/>
                      <a:gd name="connsiteX6" fmla="*/ 50556 w 303332"/>
                      <a:gd name="connsiteY6" fmla="*/ 865716 h 865716"/>
                      <a:gd name="connsiteX7" fmla="*/ 0 w 303332"/>
                      <a:gd name="connsiteY7" fmla="*/ 815160 h 865716"/>
                      <a:gd name="connsiteX8" fmla="*/ 0 w 303332"/>
                      <a:gd name="connsiteY8" fmla="*/ 50933 h 865716"/>
                      <a:gd name="connsiteX0" fmla="*/ 49669 w 353001"/>
                      <a:gd name="connsiteY0" fmla="*/ 50933 h 865716"/>
                      <a:gd name="connsiteX1" fmla="*/ 100225 w 353001"/>
                      <a:gd name="connsiteY1" fmla="*/ 377 h 865716"/>
                      <a:gd name="connsiteX2" fmla="*/ 318848 w 353001"/>
                      <a:gd name="connsiteY2" fmla="*/ 0 h 865716"/>
                      <a:gd name="connsiteX3" fmla="*/ 353001 w 353001"/>
                      <a:gd name="connsiteY3" fmla="*/ 50933 h 865716"/>
                      <a:gd name="connsiteX4" fmla="*/ 353001 w 353001"/>
                      <a:gd name="connsiteY4" fmla="*/ 815160 h 865716"/>
                      <a:gd name="connsiteX5" fmla="*/ 302445 w 353001"/>
                      <a:gd name="connsiteY5" fmla="*/ 865716 h 865716"/>
                      <a:gd name="connsiteX6" fmla="*/ 100225 w 353001"/>
                      <a:gd name="connsiteY6" fmla="*/ 865716 h 865716"/>
                      <a:gd name="connsiteX7" fmla="*/ 49669 w 353001"/>
                      <a:gd name="connsiteY7" fmla="*/ 815160 h 865716"/>
                      <a:gd name="connsiteX8" fmla="*/ 0 w 353001"/>
                      <a:gd name="connsiteY8" fmla="*/ 361556 h 865716"/>
                      <a:gd name="connsiteX9" fmla="*/ 49669 w 353001"/>
                      <a:gd name="connsiteY9" fmla="*/ 50933 h 865716"/>
                      <a:gd name="connsiteX0" fmla="*/ 49669 w 393630"/>
                      <a:gd name="connsiteY0" fmla="*/ 50933 h 865716"/>
                      <a:gd name="connsiteX1" fmla="*/ 100225 w 393630"/>
                      <a:gd name="connsiteY1" fmla="*/ 377 h 865716"/>
                      <a:gd name="connsiteX2" fmla="*/ 318848 w 393630"/>
                      <a:gd name="connsiteY2" fmla="*/ 0 h 865716"/>
                      <a:gd name="connsiteX3" fmla="*/ 353001 w 393630"/>
                      <a:gd name="connsiteY3" fmla="*/ 50933 h 865716"/>
                      <a:gd name="connsiteX4" fmla="*/ 393630 w 393630"/>
                      <a:gd name="connsiteY4" fmla="*/ 826644 h 865716"/>
                      <a:gd name="connsiteX5" fmla="*/ 302445 w 393630"/>
                      <a:gd name="connsiteY5" fmla="*/ 865716 h 865716"/>
                      <a:gd name="connsiteX6" fmla="*/ 100225 w 393630"/>
                      <a:gd name="connsiteY6" fmla="*/ 865716 h 865716"/>
                      <a:gd name="connsiteX7" fmla="*/ 49669 w 393630"/>
                      <a:gd name="connsiteY7" fmla="*/ 815160 h 865716"/>
                      <a:gd name="connsiteX8" fmla="*/ 0 w 393630"/>
                      <a:gd name="connsiteY8" fmla="*/ 361556 h 865716"/>
                      <a:gd name="connsiteX9" fmla="*/ 49669 w 393630"/>
                      <a:gd name="connsiteY9" fmla="*/ 50933 h 865716"/>
                      <a:gd name="connsiteX0" fmla="*/ 49669 w 393630"/>
                      <a:gd name="connsiteY0" fmla="*/ 50933 h 865716"/>
                      <a:gd name="connsiteX1" fmla="*/ 100225 w 393630"/>
                      <a:gd name="connsiteY1" fmla="*/ 377 h 865716"/>
                      <a:gd name="connsiteX2" fmla="*/ 318848 w 393630"/>
                      <a:gd name="connsiteY2" fmla="*/ 0 h 865716"/>
                      <a:gd name="connsiteX3" fmla="*/ 353001 w 393630"/>
                      <a:gd name="connsiteY3" fmla="*/ 50933 h 865716"/>
                      <a:gd name="connsiteX4" fmla="*/ 393630 w 393630"/>
                      <a:gd name="connsiteY4" fmla="*/ 826644 h 865716"/>
                      <a:gd name="connsiteX5" fmla="*/ 302445 w 393630"/>
                      <a:gd name="connsiteY5" fmla="*/ 865716 h 865716"/>
                      <a:gd name="connsiteX6" fmla="*/ 100225 w 393630"/>
                      <a:gd name="connsiteY6" fmla="*/ 865716 h 865716"/>
                      <a:gd name="connsiteX7" fmla="*/ 49669 w 393630"/>
                      <a:gd name="connsiteY7" fmla="*/ 815160 h 865716"/>
                      <a:gd name="connsiteX8" fmla="*/ 0 w 393630"/>
                      <a:gd name="connsiteY8" fmla="*/ 361556 h 865716"/>
                      <a:gd name="connsiteX9" fmla="*/ 49669 w 393630"/>
                      <a:gd name="connsiteY9" fmla="*/ 50933 h 8657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93630" h="865716">
                        <a:moveTo>
                          <a:pt x="49669" y="50933"/>
                        </a:moveTo>
                        <a:cubicBezTo>
                          <a:pt x="49669" y="23012"/>
                          <a:pt x="72304" y="377"/>
                          <a:pt x="100225" y="377"/>
                        </a:cubicBezTo>
                        <a:lnTo>
                          <a:pt x="318848" y="0"/>
                        </a:lnTo>
                        <a:cubicBezTo>
                          <a:pt x="346769" y="0"/>
                          <a:pt x="353001" y="23012"/>
                          <a:pt x="353001" y="50933"/>
                        </a:cubicBezTo>
                        <a:cubicBezTo>
                          <a:pt x="366544" y="309503"/>
                          <a:pt x="337945" y="548640"/>
                          <a:pt x="393630" y="826644"/>
                        </a:cubicBezTo>
                        <a:cubicBezTo>
                          <a:pt x="393630" y="854565"/>
                          <a:pt x="330366" y="865716"/>
                          <a:pt x="302445" y="865716"/>
                        </a:cubicBezTo>
                        <a:lnTo>
                          <a:pt x="100225" y="865716"/>
                        </a:lnTo>
                        <a:cubicBezTo>
                          <a:pt x="72304" y="865716"/>
                          <a:pt x="49669" y="843081"/>
                          <a:pt x="49669" y="815160"/>
                        </a:cubicBezTo>
                        <a:cubicBezTo>
                          <a:pt x="47076" y="660384"/>
                          <a:pt x="2593" y="516332"/>
                          <a:pt x="0" y="361556"/>
                        </a:cubicBezTo>
                        <a:lnTo>
                          <a:pt x="49669" y="50933"/>
                        </a:lnTo>
                        <a:close/>
                      </a:path>
                    </a:pathLst>
                  </a:cu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grpSp>
        <p:nvGrpSpPr>
          <p:cNvPr id="256" name="Group 125">
            <a:extLst>
              <a:ext uri="{FF2B5EF4-FFF2-40B4-BE49-F238E27FC236}">
                <a16:creationId xmlns:a16="http://schemas.microsoft.com/office/drawing/2014/main" id="{4C94B326-C38B-4A94-948E-21E25FF8C2EB}"/>
              </a:ext>
            </a:extLst>
          </p:cNvPr>
          <p:cNvGrpSpPr/>
          <p:nvPr/>
        </p:nvGrpSpPr>
        <p:grpSpPr>
          <a:xfrm>
            <a:off x="9449674" y="4685750"/>
            <a:ext cx="288000" cy="288000"/>
            <a:chOff x="7095592" y="742073"/>
            <a:chExt cx="329184" cy="329184"/>
          </a:xfrm>
        </p:grpSpPr>
        <p:sp>
          <p:nvSpPr>
            <p:cNvPr id="257" name="Oval 137">
              <a:extLst>
                <a:ext uri="{FF2B5EF4-FFF2-40B4-BE49-F238E27FC236}">
                  <a16:creationId xmlns:a16="http://schemas.microsoft.com/office/drawing/2014/main" id="{6A693C7F-BB4C-406E-9E04-F2A10F2ABEB5}"/>
                </a:ext>
              </a:extLst>
            </p:cNvPr>
            <p:cNvSpPr/>
            <p:nvPr/>
          </p:nvSpPr>
          <p:spPr>
            <a:xfrm>
              <a:off x="7095592" y="742073"/>
              <a:ext cx="329184" cy="329184"/>
            </a:xfrm>
            <a:prstGeom prst="ellipse">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58" name="Group 127">
              <a:extLst>
                <a:ext uri="{FF2B5EF4-FFF2-40B4-BE49-F238E27FC236}">
                  <a16:creationId xmlns:a16="http://schemas.microsoft.com/office/drawing/2014/main" id="{30C09BEB-E141-4E05-B61F-8A90865F9BBA}"/>
                </a:ext>
              </a:extLst>
            </p:cNvPr>
            <p:cNvGrpSpPr/>
            <p:nvPr/>
          </p:nvGrpSpPr>
          <p:grpSpPr>
            <a:xfrm>
              <a:off x="7176816" y="778521"/>
              <a:ext cx="179310" cy="244447"/>
              <a:chOff x="7176816" y="778521"/>
              <a:chExt cx="179310" cy="244447"/>
            </a:xfrm>
          </p:grpSpPr>
          <p:sp>
            <p:nvSpPr>
              <p:cNvPr id="259" name="Seed" descr="{&quot;Key&quot;:&quot;POWER_USER_SHAPE_ICON&quot;,&quot;Value&quot;:&quot;POWER_USER_SHAPE_ICON_STYLE_1&quot;}">
                <a:extLst>
                  <a:ext uri="{FF2B5EF4-FFF2-40B4-BE49-F238E27FC236}">
                    <a16:creationId xmlns:a16="http://schemas.microsoft.com/office/drawing/2014/main" id="{D923E5BB-6CAB-4132-BE3D-A8A6E770E26C}"/>
                  </a:ext>
                </a:extLst>
              </p:cNvPr>
              <p:cNvSpPr>
                <a:spLocks noChangeAspect="1" noEditPoints="1"/>
              </p:cNvSpPr>
              <p:nvPr>
                <p:custDataLst>
                  <p:tags r:id="rId3"/>
                </p:custDataLst>
              </p:nvPr>
            </p:nvSpPr>
            <p:spPr bwMode="auto">
              <a:xfrm>
                <a:off x="7176816" y="878690"/>
                <a:ext cx="162838" cy="144278"/>
              </a:xfrm>
              <a:custGeom>
                <a:avLst/>
                <a:gdLst>
                  <a:gd name="T0" fmla="*/ 6744 w 11364"/>
                  <a:gd name="T1" fmla="*/ 3564 h 10067"/>
                  <a:gd name="T2" fmla="*/ 7042 w 11364"/>
                  <a:gd name="T3" fmla="*/ 3354 h 10067"/>
                  <a:gd name="T4" fmla="*/ 4139 w 11364"/>
                  <a:gd name="T5" fmla="*/ 214 h 10067"/>
                  <a:gd name="T6" fmla="*/ 5282 w 11364"/>
                  <a:gd name="T7" fmla="*/ 2733 h 10067"/>
                  <a:gd name="T8" fmla="*/ 10245 w 11364"/>
                  <a:gd name="T9" fmla="*/ 7311 h 10067"/>
                  <a:gd name="T10" fmla="*/ 7950 w 11364"/>
                  <a:gd name="T11" fmla="*/ 5369 h 10067"/>
                  <a:gd name="T12" fmla="*/ 7665 w 11364"/>
                  <a:gd name="T13" fmla="*/ 5315 h 10067"/>
                  <a:gd name="T14" fmla="*/ 7626 w 11364"/>
                  <a:gd name="T15" fmla="*/ 5310 h 10067"/>
                  <a:gd name="T16" fmla="*/ 7637 w 11364"/>
                  <a:gd name="T17" fmla="*/ 4576 h 10067"/>
                  <a:gd name="T18" fmla="*/ 7646 w 11364"/>
                  <a:gd name="T19" fmla="*/ 4476 h 10067"/>
                  <a:gd name="T20" fmla="*/ 7673 w 11364"/>
                  <a:gd name="T21" fmla="*/ 4234 h 10067"/>
                  <a:gd name="T22" fmla="*/ 8068 w 11364"/>
                  <a:gd name="T23" fmla="*/ 4029 h 10067"/>
                  <a:gd name="T24" fmla="*/ 11244 w 11364"/>
                  <a:gd name="T25" fmla="*/ 0 h 10067"/>
                  <a:gd name="T26" fmla="*/ 7516 w 11364"/>
                  <a:gd name="T27" fmla="*/ 2618 h 10067"/>
                  <a:gd name="T28" fmla="*/ 7233 w 11364"/>
                  <a:gd name="T29" fmla="*/ 4214 h 10067"/>
                  <a:gd name="T30" fmla="*/ 7224 w 11364"/>
                  <a:gd name="T31" fmla="*/ 5280 h 10067"/>
                  <a:gd name="T32" fmla="*/ 7082 w 11364"/>
                  <a:gd name="T33" fmla="*/ 5277 h 10067"/>
                  <a:gd name="T34" fmla="*/ 5070 w 11364"/>
                  <a:gd name="T35" fmla="*/ 6113 h 10067"/>
                  <a:gd name="T36" fmla="*/ 2454 w 11364"/>
                  <a:gd name="T37" fmla="*/ 5748 h 10067"/>
                  <a:gd name="T38" fmla="*/ 1979 w 11364"/>
                  <a:gd name="T39" fmla="*/ 5775 h 10067"/>
                  <a:gd name="T40" fmla="*/ 2514 w 11364"/>
                  <a:gd name="T41" fmla="*/ 6100 h 10067"/>
                  <a:gd name="T42" fmla="*/ 4816 w 11364"/>
                  <a:gd name="T43" fmla="*/ 6387 h 10067"/>
                  <a:gd name="T44" fmla="*/ 6145 w 11364"/>
                  <a:gd name="T45" fmla="*/ 6987 h 10067"/>
                  <a:gd name="T46" fmla="*/ 8301 w 11364"/>
                  <a:gd name="T47" fmla="*/ 7145 h 10067"/>
                  <a:gd name="T48" fmla="*/ 8758 w 11364"/>
                  <a:gd name="T49" fmla="*/ 7918 h 10067"/>
                  <a:gd name="T50" fmla="*/ 8461 w 11364"/>
                  <a:gd name="T51" fmla="*/ 8153 h 10067"/>
                  <a:gd name="T52" fmla="*/ 7099 w 11364"/>
                  <a:gd name="T53" fmla="*/ 8176 h 10067"/>
                  <a:gd name="T54" fmla="*/ 6945 w 11364"/>
                  <a:gd name="T55" fmla="*/ 8155 h 10067"/>
                  <a:gd name="T56" fmla="*/ 6316 w 11364"/>
                  <a:gd name="T57" fmla="*/ 8035 h 10067"/>
                  <a:gd name="T58" fmla="*/ 6020 w 11364"/>
                  <a:gd name="T59" fmla="*/ 7984 h 10067"/>
                  <a:gd name="T60" fmla="*/ 4994 w 11364"/>
                  <a:gd name="T61" fmla="*/ 8127 h 10067"/>
                  <a:gd name="T62" fmla="*/ 4903 w 11364"/>
                  <a:gd name="T63" fmla="*/ 8363 h 10067"/>
                  <a:gd name="T64" fmla="*/ 6233 w 11364"/>
                  <a:gd name="T65" fmla="*/ 8382 h 10067"/>
                  <a:gd name="T66" fmla="*/ 8735 w 11364"/>
                  <a:gd name="T67" fmla="*/ 8429 h 10067"/>
                  <a:gd name="T68" fmla="*/ 9563 w 11364"/>
                  <a:gd name="T69" fmla="*/ 8061 h 10067"/>
                  <a:gd name="T70" fmla="*/ 10404 w 11364"/>
                  <a:gd name="T71" fmla="*/ 7630 h 10067"/>
                  <a:gd name="T72" fmla="*/ 10935 w 11364"/>
                  <a:gd name="T73" fmla="*/ 7937 h 10067"/>
                  <a:gd name="T74" fmla="*/ 10018 w 11364"/>
                  <a:gd name="T75" fmla="*/ 8647 h 10067"/>
                  <a:gd name="T76" fmla="*/ 9086 w 11364"/>
                  <a:gd name="T77" fmla="*/ 9020 h 10067"/>
                  <a:gd name="T78" fmla="*/ 6547 w 11364"/>
                  <a:gd name="T79" fmla="*/ 9626 h 10067"/>
                  <a:gd name="T80" fmla="*/ 2148 w 11364"/>
                  <a:gd name="T81" fmla="*/ 8613 h 10067"/>
                  <a:gd name="T82" fmla="*/ 1979 w 11364"/>
                  <a:gd name="T83" fmla="*/ 8970 h 10067"/>
                  <a:gd name="T84" fmla="*/ 5139 w 11364"/>
                  <a:gd name="T85" fmla="*/ 9875 h 10067"/>
                  <a:gd name="T86" fmla="*/ 6619 w 11364"/>
                  <a:gd name="T87" fmla="*/ 9976 h 10067"/>
                  <a:gd name="T88" fmla="*/ 9235 w 11364"/>
                  <a:gd name="T89" fmla="*/ 9344 h 10067"/>
                  <a:gd name="T90" fmla="*/ 10176 w 11364"/>
                  <a:gd name="T91" fmla="*/ 8967 h 10067"/>
                  <a:gd name="T92" fmla="*/ 11194 w 11364"/>
                  <a:gd name="T93" fmla="*/ 8190 h 10067"/>
                  <a:gd name="T94" fmla="*/ 0 w 11364"/>
                  <a:gd name="T95" fmla="*/ 9309 h 10067"/>
                  <a:gd name="T96" fmla="*/ 1630 w 11364"/>
                  <a:gd name="T97" fmla="*/ 5351 h 10067"/>
                  <a:gd name="T98" fmla="*/ 0 w 11364"/>
                  <a:gd name="T99" fmla="*/ 9309 h 100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1364" h="10067">
                    <a:moveTo>
                      <a:pt x="5282" y="2733"/>
                    </a:moveTo>
                    <a:cubicBezTo>
                      <a:pt x="5856" y="3288"/>
                      <a:pt x="6390" y="3439"/>
                      <a:pt x="6744" y="3564"/>
                    </a:cubicBezTo>
                    <a:cubicBezTo>
                      <a:pt x="6525" y="2306"/>
                      <a:pt x="5827" y="1150"/>
                      <a:pt x="4589" y="609"/>
                    </a:cubicBezTo>
                    <a:cubicBezTo>
                      <a:pt x="5820" y="997"/>
                      <a:pt x="6676" y="2123"/>
                      <a:pt x="7042" y="3354"/>
                    </a:cubicBezTo>
                    <a:cubicBezTo>
                      <a:pt x="7112" y="2949"/>
                      <a:pt x="7216" y="2574"/>
                      <a:pt x="7358" y="2233"/>
                    </a:cubicBezTo>
                    <a:cubicBezTo>
                      <a:pt x="7006" y="1054"/>
                      <a:pt x="5918" y="214"/>
                      <a:pt x="4139" y="214"/>
                    </a:cubicBezTo>
                    <a:cubicBezTo>
                      <a:pt x="3920" y="214"/>
                      <a:pt x="3690" y="227"/>
                      <a:pt x="3450" y="253"/>
                    </a:cubicBezTo>
                    <a:cubicBezTo>
                      <a:pt x="4708" y="954"/>
                      <a:pt x="4033" y="1529"/>
                      <a:pt x="5282" y="2733"/>
                    </a:cubicBezTo>
                    <a:close/>
                    <a:moveTo>
                      <a:pt x="11174" y="7560"/>
                    </a:moveTo>
                    <a:cubicBezTo>
                      <a:pt x="11020" y="7299"/>
                      <a:pt x="10696" y="7094"/>
                      <a:pt x="10245" y="7311"/>
                    </a:cubicBezTo>
                    <a:lnTo>
                      <a:pt x="10145" y="7362"/>
                    </a:lnTo>
                    <a:cubicBezTo>
                      <a:pt x="9750" y="6361"/>
                      <a:pt x="9011" y="5620"/>
                      <a:pt x="7950" y="5369"/>
                    </a:cubicBezTo>
                    <a:cubicBezTo>
                      <a:pt x="7904" y="5358"/>
                      <a:pt x="7855" y="5350"/>
                      <a:pt x="7807" y="5341"/>
                    </a:cubicBezTo>
                    <a:cubicBezTo>
                      <a:pt x="7760" y="5332"/>
                      <a:pt x="7713" y="5323"/>
                      <a:pt x="7665" y="5315"/>
                    </a:cubicBezTo>
                    <a:lnTo>
                      <a:pt x="7665" y="5310"/>
                    </a:lnTo>
                    <a:lnTo>
                      <a:pt x="7626" y="5310"/>
                    </a:lnTo>
                    <a:cubicBezTo>
                      <a:pt x="7615" y="5095"/>
                      <a:pt x="7617" y="4877"/>
                      <a:pt x="7630" y="4658"/>
                    </a:cubicBezTo>
                    <a:cubicBezTo>
                      <a:pt x="7632" y="4631"/>
                      <a:pt x="7635" y="4603"/>
                      <a:pt x="7637" y="4576"/>
                    </a:cubicBezTo>
                    <a:cubicBezTo>
                      <a:pt x="7639" y="4548"/>
                      <a:pt x="7642" y="4521"/>
                      <a:pt x="7645" y="4493"/>
                    </a:cubicBezTo>
                    <a:cubicBezTo>
                      <a:pt x="7645" y="4487"/>
                      <a:pt x="7646" y="4482"/>
                      <a:pt x="7646" y="4476"/>
                    </a:cubicBezTo>
                    <a:cubicBezTo>
                      <a:pt x="7650" y="4440"/>
                      <a:pt x="7653" y="4405"/>
                      <a:pt x="7657" y="4369"/>
                    </a:cubicBezTo>
                    <a:cubicBezTo>
                      <a:pt x="7662" y="4324"/>
                      <a:pt x="7667" y="4279"/>
                      <a:pt x="7673" y="4234"/>
                    </a:cubicBezTo>
                    <a:cubicBezTo>
                      <a:pt x="7872" y="2771"/>
                      <a:pt x="8628" y="1348"/>
                      <a:pt x="9939" y="657"/>
                    </a:cubicBezTo>
                    <a:cubicBezTo>
                      <a:pt x="8766" y="1446"/>
                      <a:pt x="8183" y="2704"/>
                      <a:pt x="8068" y="4029"/>
                    </a:cubicBezTo>
                    <a:cubicBezTo>
                      <a:pt x="8412" y="3957"/>
                      <a:pt x="8947" y="3834"/>
                      <a:pt x="9555" y="3096"/>
                    </a:cubicBezTo>
                    <a:cubicBezTo>
                      <a:pt x="10606" y="1820"/>
                      <a:pt x="10037" y="1108"/>
                      <a:pt x="11244" y="0"/>
                    </a:cubicBezTo>
                    <a:cubicBezTo>
                      <a:pt x="9086" y="152"/>
                      <a:pt x="8041" y="1219"/>
                      <a:pt x="7569" y="2470"/>
                    </a:cubicBezTo>
                    <a:cubicBezTo>
                      <a:pt x="7551" y="2519"/>
                      <a:pt x="7533" y="2568"/>
                      <a:pt x="7516" y="2618"/>
                    </a:cubicBezTo>
                    <a:cubicBezTo>
                      <a:pt x="7499" y="2670"/>
                      <a:pt x="7482" y="2723"/>
                      <a:pt x="7466" y="2776"/>
                    </a:cubicBezTo>
                    <a:cubicBezTo>
                      <a:pt x="7324" y="3251"/>
                      <a:pt x="7255" y="3743"/>
                      <a:pt x="7233" y="4214"/>
                    </a:cubicBezTo>
                    <a:cubicBezTo>
                      <a:pt x="7227" y="4337"/>
                      <a:pt x="7224" y="4458"/>
                      <a:pt x="7224" y="4577"/>
                    </a:cubicBezTo>
                    <a:lnTo>
                      <a:pt x="7224" y="5280"/>
                    </a:lnTo>
                    <a:cubicBezTo>
                      <a:pt x="7190" y="5279"/>
                      <a:pt x="7156" y="5276"/>
                      <a:pt x="7121" y="5276"/>
                    </a:cubicBezTo>
                    <a:cubicBezTo>
                      <a:pt x="7107" y="5276"/>
                      <a:pt x="7095" y="5277"/>
                      <a:pt x="7082" y="5277"/>
                    </a:cubicBezTo>
                    <a:cubicBezTo>
                      <a:pt x="7033" y="5278"/>
                      <a:pt x="6986" y="5280"/>
                      <a:pt x="6939" y="5283"/>
                    </a:cubicBezTo>
                    <a:cubicBezTo>
                      <a:pt x="6217" y="5326"/>
                      <a:pt x="5581" y="5623"/>
                      <a:pt x="5070" y="6113"/>
                    </a:cubicBezTo>
                    <a:cubicBezTo>
                      <a:pt x="4740" y="5948"/>
                      <a:pt x="4382" y="5797"/>
                      <a:pt x="4006" y="5741"/>
                    </a:cubicBezTo>
                    <a:cubicBezTo>
                      <a:pt x="3196" y="5621"/>
                      <a:pt x="2767" y="5694"/>
                      <a:pt x="2454" y="5748"/>
                    </a:cubicBezTo>
                    <a:cubicBezTo>
                      <a:pt x="2277" y="5778"/>
                      <a:pt x="2149" y="5801"/>
                      <a:pt x="2006" y="5779"/>
                    </a:cubicBezTo>
                    <a:lnTo>
                      <a:pt x="1979" y="5775"/>
                    </a:lnTo>
                    <a:lnTo>
                      <a:pt x="1979" y="6135"/>
                    </a:lnTo>
                    <a:cubicBezTo>
                      <a:pt x="2167" y="6158"/>
                      <a:pt x="2329" y="6132"/>
                      <a:pt x="2514" y="6100"/>
                    </a:cubicBezTo>
                    <a:cubicBezTo>
                      <a:pt x="2820" y="6048"/>
                      <a:pt x="3200" y="5983"/>
                      <a:pt x="3953" y="6094"/>
                    </a:cubicBezTo>
                    <a:cubicBezTo>
                      <a:pt x="4247" y="6138"/>
                      <a:pt x="4539" y="6254"/>
                      <a:pt x="4816" y="6387"/>
                    </a:cubicBezTo>
                    <a:cubicBezTo>
                      <a:pt x="4964" y="6458"/>
                      <a:pt x="5108" y="6534"/>
                      <a:pt x="5246" y="6607"/>
                    </a:cubicBezTo>
                    <a:cubicBezTo>
                      <a:pt x="5584" y="6786"/>
                      <a:pt x="5875" y="6940"/>
                      <a:pt x="6145" y="6987"/>
                    </a:cubicBezTo>
                    <a:cubicBezTo>
                      <a:pt x="6374" y="7027"/>
                      <a:pt x="6617" y="7019"/>
                      <a:pt x="6873" y="7011"/>
                    </a:cubicBezTo>
                    <a:cubicBezTo>
                      <a:pt x="7279" y="6999"/>
                      <a:pt x="7740" y="6985"/>
                      <a:pt x="8301" y="7145"/>
                    </a:cubicBezTo>
                    <a:cubicBezTo>
                      <a:pt x="8622" y="7237"/>
                      <a:pt x="8803" y="7401"/>
                      <a:pt x="8825" y="7618"/>
                    </a:cubicBezTo>
                    <a:cubicBezTo>
                      <a:pt x="8835" y="7725"/>
                      <a:pt x="8806" y="7830"/>
                      <a:pt x="8758" y="7918"/>
                    </a:cubicBezTo>
                    <a:cubicBezTo>
                      <a:pt x="8709" y="8005"/>
                      <a:pt x="8640" y="8076"/>
                      <a:pt x="8571" y="8111"/>
                    </a:cubicBezTo>
                    <a:cubicBezTo>
                      <a:pt x="8540" y="8127"/>
                      <a:pt x="8502" y="8141"/>
                      <a:pt x="8461" y="8153"/>
                    </a:cubicBezTo>
                    <a:cubicBezTo>
                      <a:pt x="8371" y="8180"/>
                      <a:pt x="8259" y="8200"/>
                      <a:pt x="8128" y="8211"/>
                    </a:cubicBezTo>
                    <a:cubicBezTo>
                      <a:pt x="7846" y="8235"/>
                      <a:pt x="7483" y="8223"/>
                      <a:pt x="7099" y="8176"/>
                    </a:cubicBezTo>
                    <a:cubicBezTo>
                      <a:pt x="7067" y="8172"/>
                      <a:pt x="7035" y="8168"/>
                      <a:pt x="7003" y="8164"/>
                    </a:cubicBezTo>
                    <a:cubicBezTo>
                      <a:pt x="6984" y="8161"/>
                      <a:pt x="6965" y="8158"/>
                      <a:pt x="6945" y="8155"/>
                    </a:cubicBezTo>
                    <a:cubicBezTo>
                      <a:pt x="6790" y="8133"/>
                      <a:pt x="6633" y="8105"/>
                      <a:pt x="6477" y="8071"/>
                    </a:cubicBezTo>
                    <a:cubicBezTo>
                      <a:pt x="6423" y="8060"/>
                      <a:pt x="6370" y="8048"/>
                      <a:pt x="6316" y="8035"/>
                    </a:cubicBezTo>
                    <a:cubicBezTo>
                      <a:pt x="6270" y="8024"/>
                      <a:pt x="6226" y="8017"/>
                      <a:pt x="6181" y="8008"/>
                    </a:cubicBezTo>
                    <a:cubicBezTo>
                      <a:pt x="6126" y="7998"/>
                      <a:pt x="6072" y="7990"/>
                      <a:pt x="6020" y="7984"/>
                    </a:cubicBezTo>
                    <a:cubicBezTo>
                      <a:pt x="5990" y="7981"/>
                      <a:pt x="5960" y="7977"/>
                      <a:pt x="5931" y="7975"/>
                    </a:cubicBezTo>
                    <a:cubicBezTo>
                      <a:pt x="5524" y="7946"/>
                      <a:pt x="5206" y="8034"/>
                      <a:pt x="4994" y="8127"/>
                    </a:cubicBezTo>
                    <a:cubicBezTo>
                      <a:pt x="4960" y="8142"/>
                      <a:pt x="4936" y="8168"/>
                      <a:pt x="4918" y="8197"/>
                    </a:cubicBezTo>
                    <a:cubicBezTo>
                      <a:pt x="4888" y="8246"/>
                      <a:pt x="4878" y="8306"/>
                      <a:pt x="4903" y="8363"/>
                    </a:cubicBezTo>
                    <a:cubicBezTo>
                      <a:pt x="4943" y="8452"/>
                      <a:pt x="5048" y="8493"/>
                      <a:pt x="5138" y="8454"/>
                    </a:cubicBezTo>
                    <a:cubicBezTo>
                      <a:pt x="5465" y="8310"/>
                      <a:pt x="5833" y="8286"/>
                      <a:pt x="6233" y="8382"/>
                    </a:cubicBezTo>
                    <a:cubicBezTo>
                      <a:pt x="6732" y="8503"/>
                      <a:pt x="7317" y="8582"/>
                      <a:pt x="7817" y="8582"/>
                    </a:cubicBezTo>
                    <a:cubicBezTo>
                      <a:pt x="8196" y="8582"/>
                      <a:pt x="8527" y="8536"/>
                      <a:pt x="8735" y="8429"/>
                    </a:cubicBezTo>
                    <a:cubicBezTo>
                      <a:pt x="8828" y="8381"/>
                      <a:pt x="8910" y="8308"/>
                      <a:pt x="8978" y="8223"/>
                    </a:cubicBezTo>
                    <a:cubicBezTo>
                      <a:pt x="9279" y="8130"/>
                      <a:pt x="9558" y="8062"/>
                      <a:pt x="9563" y="8061"/>
                    </a:cubicBezTo>
                    <a:cubicBezTo>
                      <a:pt x="9577" y="8057"/>
                      <a:pt x="9590" y="8052"/>
                      <a:pt x="9603" y="8045"/>
                    </a:cubicBezTo>
                    <a:lnTo>
                      <a:pt x="10404" y="7630"/>
                    </a:lnTo>
                    <a:cubicBezTo>
                      <a:pt x="10627" y="7523"/>
                      <a:pt x="10731" y="7601"/>
                      <a:pt x="10766" y="7626"/>
                    </a:cubicBezTo>
                    <a:cubicBezTo>
                      <a:pt x="10877" y="7708"/>
                      <a:pt x="10927" y="7862"/>
                      <a:pt x="10935" y="7937"/>
                    </a:cubicBezTo>
                    <a:cubicBezTo>
                      <a:pt x="10867" y="7990"/>
                      <a:pt x="10749" y="8081"/>
                      <a:pt x="10619" y="8183"/>
                    </a:cubicBezTo>
                    <a:cubicBezTo>
                      <a:pt x="10396" y="8357"/>
                      <a:pt x="10058" y="8621"/>
                      <a:pt x="10018" y="8647"/>
                    </a:cubicBezTo>
                    <a:cubicBezTo>
                      <a:pt x="9989" y="8661"/>
                      <a:pt x="9867" y="8708"/>
                      <a:pt x="9720" y="8765"/>
                    </a:cubicBezTo>
                    <a:cubicBezTo>
                      <a:pt x="9489" y="8855"/>
                      <a:pt x="9201" y="8966"/>
                      <a:pt x="9086" y="9020"/>
                    </a:cubicBezTo>
                    <a:cubicBezTo>
                      <a:pt x="8816" y="9144"/>
                      <a:pt x="8300" y="9346"/>
                      <a:pt x="8196" y="9349"/>
                    </a:cubicBezTo>
                    <a:cubicBezTo>
                      <a:pt x="8024" y="9349"/>
                      <a:pt x="7346" y="9463"/>
                      <a:pt x="6547" y="9626"/>
                    </a:cubicBezTo>
                    <a:cubicBezTo>
                      <a:pt x="5919" y="9754"/>
                      <a:pt x="5696" y="9741"/>
                      <a:pt x="5291" y="9552"/>
                    </a:cubicBezTo>
                    <a:cubicBezTo>
                      <a:pt x="4872" y="9356"/>
                      <a:pt x="2441" y="8613"/>
                      <a:pt x="2148" y="8613"/>
                    </a:cubicBezTo>
                    <a:lnTo>
                      <a:pt x="1979" y="8613"/>
                    </a:lnTo>
                    <a:lnTo>
                      <a:pt x="1979" y="8970"/>
                    </a:lnTo>
                    <a:lnTo>
                      <a:pt x="2146" y="8970"/>
                    </a:lnTo>
                    <a:cubicBezTo>
                      <a:pt x="2378" y="8981"/>
                      <a:pt x="4685" y="9662"/>
                      <a:pt x="5139" y="9875"/>
                    </a:cubicBezTo>
                    <a:cubicBezTo>
                      <a:pt x="5427" y="10010"/>
                      <a:pt x="5655" y="10067"/>
                      <a:pt x="5917" y="10067"/>
                    </a:cubicBezTo>
                    <a:cubicBezTo>
                      <a:pt x="6117" y="10067"/>
                      <a:pt x="6337" y="10034"/>
                      <a:pt x="6619" y="9976"/>
                    </a:cubicBezTo>
                    <a:cubicBezTo>
                      <a:pt x="7530" y="9790"/>
                      <a:pt x="8089" y="9706"/>
                      <a:pt x="8196" y="9706"/>
                    </a:cubicBezTo>
                    <a:cubicBezTo>
                      <a:pt x="8437" y="9706"/>
                      <a:pt x="9228" y="9348"/>
                      <a:pt x="9235" y="9344"/>
                    </a:cubicBezTo>
                    <a:cubicBezTo>
                      <a:pt x="9341" y="9296"/>
                      <a:pt x="9635" y="9181"/>
                      <a:pt x="9849" y="9098"/>
                    </a:cubicBezTo>
                    <a:cubicBezTo>
                      <a:pt x="10069" y="9013"/>
                      <a:pt x="10148" y="8982"/>
                      <a:pt x="10176" y="8967"/>
                    </a:cubicBezTo>
                    <a:cubicBezTo>
                      <a:pt x="10216" y="8947"/>
                      <a:pt x="10303" y="8883"/>
                      <a:pt x="10839" y="8464"/>
                    </a:cubicBezTo>
                    <a:cubicBezTo>
                      <a:pt x="11008" y="8332"/>
                      <a:pt x="11155" y="8217"/>
                      <a:pt x="11194" y="8190"/>
                    </a:cubicBezTo>
                    <a:cubicBezTo>
                      <a:pt x="11364" y="8068"/>
                      <a:pt x="11285" y="7748"/>
                      <a:pt x="11174" y="7560"/>
                    </a:cubicBezTo>
                    <a:close/>
                    <a:moveTo>
                      <a:pt x="0" y="9309"/>
                    </a:moveTo>
                    <a:lnTo>
                      <a:pt x="1630" y="9309"/>
                    </a:lnTo>
                    <a:lnTo>
                      <a:pt x="1630" y="5351"/>
                    </a:lnTo>
                    <a:lnTo>
                      <a:pt x="0" y="5351"/>
                    </a:lnTo>
                    <a:lnTo>
                      <a:pt x="0" y="9309"/>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nvGrpSpPr>
              <p:cNvPr id="260" name="Problem_Based_Learning" descr="{&quot;Key&quot;:&quot;POWER_USER_SHAPE_ICON&quot;,&quot;Value&quot;:&quot;POWER_USER_SHAPE_ICON_STYLE_1&quot;}">
                <a:extLst>
                  <a:ext uri="{FF2B5EF4-FFF2-40B4-BE49-F238E27FC236}">
                    <a16:creationId xmlns:a16="http://schemas.microsoft.com/office/drawing/2014/main" id="{97E489D8-805E-4F55-8C9E-D0546A65442A}"/>
                  </a:ext>
                </a:extLst>
              </p:cNvPr>
              <p:cNvGrpSpPr>
                <a:grpSpLocks noChangeAspect="1"/>
              </p:cNvGrpSpPr>
              <p:nvPr>
                <p:custDataLst>
                  <p:tags r:id="rId4"/>
                </p:custDataLst>
              </p:nvPr>
            </p:nvGrpSpPr>
            <p:grpSpPr bwMode="auto">
              <a:xfrm>
                <a:off x="7183815" y="778521"/>
                <a:ext cx="172311" cy="185669"/>
                <a:chOff x="7" y="8"/>
                <a:chExt cx="424" cy="471"/>
              </a:xfrm>
              <a:solidFill>
                <a:schemeClr val="bg1"/>
              </a:solidFill>
            </p:grpSpPr>
            <p:sp>
              <p:nvSpPr>
                <p:cNvPr id="261" name="Problem_Based_Learning">
                  <a:extLst>
                    <a:ext uri="{FF2B5EF4-FFF2-40B4-BE49-F238E27FC236}">
                      <a16:creationId xmlns:a16="http://schemas.microsoft.com/office/drawing/2014/main" id="{2CFBB7DD-A333-4340-900E-3DA69FBB214F}"/>
                    </a:ext>
                  </a:extLst>
                </p:cNvPr>
                <p:cNvSpPr>
                  <a:spLocks/>
                </p:cNvSpPr>
                <p:nvPr>
                  <p:custDataLst>
                    <p:tags r:id="rId5"/>
                  </p:custDataLst>
                </p:nvPr>
              </p:nvSpPr>
              <p:spPr bwMode="auto">
                <a:xfrm>
                  <a:off x="214" y="8"/>
                  <a:ext cx="20" cy="69"/>
                </a:xfrm>
                <a:custGeom>
                  <a:avLst/>
                  <a:gdLst>
                    <a:gd name="T0" fmla="*/ 26 w 52"/>
                    <a:gd name="T1" fmla="*/ 183 h 183"/>
                    <a:gd name="T2" fmla="*/ 0 w 52"/>
                    <a:gd name="T3" fmla="*/ 156 h 183"/>
                    <a:gd name="T4" fmla="*/ 0 w 52"/>
                    <a:gd name="T5" fmla="*/ 26 h 183"/>
                    <a:gd name="T6" fmla="*/ 26 w 52"/>
                    <a:gd name="T7" fmla="*/ 0 h 183"/>
                    <a:gd name="T8" fmla="*/ 52 w 52"/>
                    <a:gd name="T9" fmla="*/ 26 h 183"/>
                    <a:gd name="T10" fmla="*/ 52 w 52"/>
                    <a:gd name="T11" fmla="*/ 156 h 183"/>
                    <a:gd name="T12" fmla="*/ 26 w 52"/>
                    <a:gd name="T13" fmla="*/ 183 h 183"/>
                  </a:gdLst>
                  <a:ahLst/>
                  <a:cxnLst>
                    <a:cxn ang="0">
                      <a:pos x="T0" y="T1"/>
                    </a:cxn>
                    <a:cxn ang="0">
                      <a:pos x="T2" y="T3"/>
                    </a:cxn>
                    <a:cxn ang="0">
                      <a:pos x="T4" y="T5"/>
                    </a:cxn>
                    <a:cxn ang="0">
                      <a:pos x="T6" y="T7"/>
                    </a:cxn>
                    <a:cxn ang="0">
                      <a:pos x="T8" y="T9"/>
                    </a:cxn>
                    <a:cxn ang="0">
                      <a:pos x="T10" y="T11"/>
                    </a:cxn>
                    <a:cxn ang="0">
                      <a:pos x="T12" y="T13"/>
                    </a:cxn>
                  </a:cxnLst>
                  <a:rect l="0" t="0" r="r" b="b"/>
                  <a:pathLst>
                    <a:path w="52" h="183">
                      <a:moveTo>
                        <a:pt x="26" y="183"/>
                      </a:moveTo>
                      <a:cubicBezTo>
                        <a:pt x="11" y="183"/>
                        <a:pt x="0" y="171"/>
                        <a:pt x="0" y="156"/>
                      </a:cubicBezTo>
                      <a:lnTo>
                        <a:pt x="0" y="26"/>
                      </a:lnTo>
                      <a:cubicBezTo>
                        <a:pt x="0" y="12"/>
                        <a:pt x="11" y="0"/>
                        <a:pt x="26" y="0"/>
                      </a:cubicBezTo>
                      <a:cubicBezTo>
                        <a:pt x="40" y="0"/>
                        <a:pt x="52" y="12"/>
                        <a:pt x="52" y="26"/>
                      </a:cubicBezTo>
                      <a:lnTo>
                        <a:pt x="52" y="156"/>
                      </a:lnTo>
                      <a:cubicBezTo>
                        <a:pt x="52" y="171"/>
                        <a:pt x="40" y="183"/>
                        <a:pt x="26" y="183"/>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noProof="0">
                    <a:ln>
                      <a:noFill/>
                    </a:ln>
                    <a:solidFill>
                      <a:prstClr val="black"/>
                    </a:solidFill>
                    <a:effectLst/>
                    <a:uLnTx/>
                    <a:uFillTx/>
                    <a:latin typeface="Calibri" panose="020F0502020204030204"/>
                    <a:ea typeface="+mn-ea"/>
                    <a:cs typeface="+mn-cs"/>
                  </a:endParaRPr>
                </a:p>
              </p:txBody>
            </p:sp>
            <p:sp>
              <p:nvSpPr>
                <p:cNvPr id="262" name="Problem_Based_Learning">
                  <a:extLst>
                    <a:ext uri="{FF2B5EF4-FFF2-40B4-BE49-F238E27FC236}">
                      <a16:creationId xmlns:a16="http://schemas.microsoft.com/office/drawing/2014/main" id="{394F2C23-04D1-41BA-AA1C-79128AFF60BD}"/>
                    </a:ext>
                  </a:extLst>
                </p:cNvPr>
                <p:cNvSpPr>
                  <a:spLocks/>
                </p:cNvSpPr>
                <p:nvPr>
                  <p:custDataLst>
                    <p:tags r:id="rId6"/>
                  </p:custDataLst>
                </p:nvPr>
              </p:nvSpPr>
              <p:spPr bwMode="auto">
                <a:xfrm>
                  <a:off x="301" y="46"/>
                  <a:ext cx="51" cy="60"/>
                </a:xfrm>
                <a:custGeom>
                  <a:avLst/>
                  <a:gdLst>
                    <a:gd name="T0" fmla="*/ 29 w 137"/>
                    <a:gd name="T1" fmla="*/ 160 h 160"/>
                    <a:gd name="T2" fmla="*/ 14 w 137"/>
                    <a:gd name="T3" fmla="*/ 155 h 160"/>
                    <a:gd name="T4" fmla="*/ 9 w 137"/>
                    <a:gd name="T5" fmla="*/ 118 h 160"/>
                    <a:gd name="T6" fmla="*/ 87 w 137"/>
                    <a:gd name="T7" fmla="*/ 14 h 160"/>
                    <a:gd name="T8" fmla="*/ 123 w 137"/>
                    <a:gd name="T9" fmla="*/ 9 h 160"/>
                    <a:gd name="T10" fmla="*/ 128 w 137"/>
                    <a:gd name="T11" fmla="*/ 45 h 160"/>
                    <a:gd name="T12" fmla="*/ 50 w 137"/>
                    <a:gd name="T13" fmla="*/ 149 h 160"/>
                    <a:gd name="T14" fmla="*/ 29 w 137"/>
                    <a:gd name="T15" fmla="*/ 160 h 16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7" h="160">
                      <a:moveTo>
                        <a:pt x="29" y="160"/>
                      </a:moveTo>
                      <a:cubicBezTo>
                        <a:pt x="24" y="160"/>
                        <a:pt x="18" y="158"/>
                        <a:pt x="14" y="155"/>
                      </a:cubicBezTo>
                      <a:cubicBezTo>
                        <a:pt x="2" y="146"/>
                        <a:pt x="0" y="130"/>
                        <a:pt x="9" y="118"/>
                      </a:cubicBezTo>
                      <a:lnTo>
                        <a:pt x="87" y="14"/>
                      </a:lnTo>
                      <a:cubicBezTo>
                        <a:pt x="95" y="2"/>
                        <a:pt x="112" y="0"/>
                        <a:pt x="123" y="9"/>
                      </a:cubicBezTo>
                      <a:cubicBezTo>
                        <a:pt x="135" y="17"/>
                        <a:pt x="137" y="34"/>
                        <a:pt x="128" y="45"/>
                      </a:cubicBezTo>
                      <a:lnTo>
                        <a:pt x="50" y="149"/>
                      </a:lnTo>
                      <a:cubicBezTo>
                        <a:pt x="45" y="156"/>
                        <a:pt x="37" y="160"/>
                        <a:pt x="29" y="16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noProof="0">
                    <a:ln>
                      <a:noFill/>
                    </a:ln>
                    <a:solidFill>
                      <a:prstClr val="black"/>
                    </a:solidFill>
                    <a:effectLst/>
                    <a:uLnTx/>
                    <a:uFillTx/>
                    <a:latin typeface="Calibri" panose="020F0502020204030204"/>
                    <a:ea typeface="+mn-ea"/>
                    <a:cs typeface="+mn-cs"/>
                  </a:endParaRPr>
                </a:p>
              </p:txBody>
            </p:sp>
            <p:sp>
              <p:nvSpPr>
                <p:cNvPr id="263" name="Problem_Based_Learning">
                  <a:extLst>
                    <a:ext uri="{FF2B5EF4-FFF2-40B4-BE49-F238E27FC236}">
                      <a16:creationId xmlns:a16="http://schemas.microsoft.com/office/drawing/2014/main" id="{2C0C1E86-2DB6-4214-8C4B-17A1B3070CFF}"/>
                    </a:ext>
                  </a:extLst>
                </p:cNvPr>
                <p:cNvSpPr>
                  <a:spLocks/>
                </p:cNvSpPr>
                <p:nvPr>
                  <p:custDataLst>
                    <p:tags r:id="rId7"/>
                  </p:custDataLst>
                </p:nvPr>
              </p:nvSpPr>
              <p:spPr bwMode="auto">
                <a:xfrm>
                  <a:off x="85" y="46"/>
                  <a:ext cx="52" cy="60"/>
                </a:xfrm>
                <a:custGeom>
                  <a:avLst/>
                  <a:gdLst>
                    <a:gd name="T0" fmla="*/ 108 w 137"/>
                    <a:gd name="T1" fmla="*/ 160 h 160"/>
                    <a:gd name="T2" fmla="*/ 87 w 137"/>
                    <a:gd name="T3" fmla="*/ 149 h 160"/>
                    <a:gd name="T4" fmla="*/ 9 w 137"/>
                    <a:gd name="T5" fmla="*/ 45 h 160"/>
                    <a:gd name="T6" fmla="*/ 14 w 137"/>
                    <a:gd name="T7" fmla="*/ 9 h 160"/>
                    <a:gd name="T8" fmla="*/ 51 w 137"/>
                    <a:gd name="T9" fmla="*/ 14 h 160"/>
                    <a:gd name="T10" fmla="*/ 129 w 137"/>
                    <a:gd name="T11" fmla="*/ 118 h 160"/>
                    <a:gd name="T12" fmla="*/ 124 w 137"/>
                    <a:gd name="T13" fmla="*/ 155 h 160"/>
                    <a:gd name="T14" fmla="*/ 108 w 137"/>
                    <a:gd name="T15" fmla="*/ 160 h 16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7" h="160">
                      <a:moveTo>
                        <a:pt x="108" y="160"/>
                      </a:moveTo>
                      <a:cubicBezTo>
                        <a:pt x="100" y="160"/>
                        <a:pt x="92" y="156"/>
                        <a:pt x="87" y="149"/>
                      </a:cubicBezTo>
                      <a:lnTo>
                        <a:pt x="9" y="45"/>
                      </a:lnTo>
                      <a:cubicBezTo>
                        <a:pt x="0" y="34"/>
                        <a:pt x="3" y="17"/>
                        <a:pt x="14" y="9"/>
                      </a:cubicBezTo>
                      <a:cubicBezTo>
                        <a:pt x="26" y="0"/>
                        <a:pt x="42" y="2"/>
                        <a:pt x="51" y="14"/>
                      </a:cubicBezTo>
                      <a:lnTo>
                        <a:pt x="129" y="118"/>
                      </a:lnTo>
                      <a:cubicBezTo>
                        <a:pt x="137" y="130"/>
                        <a:pt x="135" y="146"/>
                        <a:pt x="124" y="155"/>
                      </a:cubicBezTo>
                      <a:cubicBezTo>
                        <a:pt x="119" y="158"/>
                        <a:pt x="113" y="160"/>
                        <a:pt x="108" y="16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noProof="0">
                    <a:ln>
                      <a:noFill/>
                    </a:ln>
                    <a:solidFill>
                      <a:prstClr val="black"/>
                    </a:solidFill>
                    <a:effectLst/>
                    <a:uLnTx/>
                    <a:uFillTx/>
                    <a:latin typeface="Calibri" panose="020F0502020204030204"/>
                    <a:ea typeface="+mn-ea"/>
                    <a:cs typeface="+mn-cs"/>
                  </a:endParaRPr>
                </a:p>
              </p:txBody>
            </p:sp>
            <p:sp>
              <p:nvSpPr>
                <p:cNvPr id="264" name="Problem_Based_Learning">
                  <a:extLst>
                    <a:ext uri="{FF2B5EF4-FFF2-40B4-BE49-F238E27FC236}">
                      <a16:creationId xmlns:a16="http://schemas.microsoft.com/office/drawing/2014/main" id="{9643E29A-3968-47F9-843F-4FDAB5D9963F}"/>
                    </a:ext>
                  </a:extLst>
                </p:cNvPr>
                <p:cNvSpPr>
                  <a:spLocks/>
                </p:cNvSpPr>
                <p:nvPr>
                  <p:custDataLst>
                    <p:tags r:id="rId8"/>
                  </p:custDataLst>
                </p:nvPr>
              </p:nvSpPr>
              <p:spPr bwMode="auto">
                <a:xfrm>
                  <a:off x="7" y="134"/>
                  <a:ext cx="61" cy="41"/>
                </a:xfrm>
                <a:custGeom>
                  <a:avLst/>
                  <a:gdLst>
                    <a:gd name="T0" fmla="*/ 134 w 164"/>
                    <a:gd name="T1" fmla="*/ 108 h 108"/>
                    <a:gd name="T2" fmla="*/ 123 w 164"/>
                    <a:gd name="T3" fmla="*/ 106 h 108"/>
                    <a:gd name="T4" fmla="*/ 18 w 164"/>
                    <a:gd name="T5" fmla="*/ 53 h 108"/>
                    <a:gd name="T6" fmla="*/ 7 w 164"/>
                    <a:gd name="T7" fmla="*/ 18 h 108"/>
                    <a:gd name="T8" fmla="*/ 42 w 164"/>
                    <a:gd name="T9" fmla="*/ 7 h 108"/>
                    <a:gd name="T10" fmla="*/ 146 w 164"/>
                    <a:gd name="T11" fmla="*/ 59 h 108"/>
                    <a:gd name="T12" fmla="*/ 158 w 164"/>
                    <a:gd name="T13" fmla="*/ 94 h 108"/>
                    <a:gd name="T14" fmla="*/ 134 w 164"/>
                    <a:gd name="T15" fmla="*/ 108 h 1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4" h="108">
                      <a:moveTo>
                        <a:pt x="134" y="108"/>
                      </a:moveTo>
                      <a:cubicBezTo>
                        <a:pt x="130" y="108"/>
                        <a:pt x="126" y="107"/>
                        <a:pt x="123" y="106"/>
                      </a:cubicBezTo>
                      <a:lnTo>
                        <a:pt x="18" y="53"/>
                      </a:lnTo>
                      <a:cubicBezTo>
                        <a:pt x="6" y="47"/>
                        <a:pt x="0" y="31"/>
                        <a:pt x="7" y="18"/>
                      </a:cubicBezTo>
                      <a:cubicBezTo>
                        <a:pt x="13" y="6"/>
                        <a:pt x="29" y="0"/>
                        <a:pt x="42" y="7"/>
                      </a:cubicBezTo>
                      <a:lnTo>
                        <a:pt x="146" y="59"/>
                      </a:lnTo>
                      <a:cubicBezTo>
                        <a:pt x="159" y="65"/>
                        <a:pt x="164" y="81"/>
                        <a:pt x="158" y="94"/>
                      </a:cubicBezTo>
                      <a:cubicBezTo>
                        <a:pt x="153" y="103"/>
                        <a:pt x="144" y="108"/>
                        <a:pt x="134" y="108"/>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noProof="0">
                    <a:ln>
                      <a:noFill/>
                    </a:ln>
                    <a:solidFill>
                      <a:prstClr val="black"/>
                    </a:solidFill>
                    <a:effectLst/>
                    <a:uLnTx/>
                    <a:uFillTx/>
                    <a:latin typeface="Calibri" panose="020F0502020204030204"/>
                    <a:ea typeface="+mn-ea"/>
                    <a:cs typeface="+mn-cs"/>
                  </a:endParaRPr>
                </a:p>
              </p:txBody>
            </p:sp>
            <p:sp>
              <p:nvSpPr>
                <p:cNvPr id="265" name="Problem_Based_Learning">
                  <a:extLst>
                    <a:ext uri="{FF2B5EF4-FFF2-40B4-BE49-F238E27FC236}">
                      <a16:creationId xmlns:a16="http://schemas.microsoft.com/office/drawing/2014/main" id="{699DFE9B-BC28-4D3B-8094-9C20AD07D837}"/>
                    </a:ext>
                  </a:extLst>
                </p:cNvPr>
                <p:cNvSpPr>
                  <a:spLocks/>
                </p:cNvSpPr>
                <p:nvPr>
                  <p:custDataLst>
                    <p:tags r:id="rId9"/>
                  </p:custDataLst>
                </p:nvPr>
              </p:nvSpPr>
              <p:spPr bwMode="auto">
                <a:xfrm>
                  <a:off x="369" y="134"/>
                  <a:ext cx="62" cy="41"/>
                </a:xfrm>
                <a:custGeom>
                  <a:avLst/>
                  <a:gdLst>
                    <a:gd name="T0" fmla="*/ 30 w 164"/>
                    <a:gd name="T1" fmla="*/ 108 h 108"/>
                    <a:gd name="T2" fmla="*/ 7 w 164"/>
                    <a:gd name="T3" fmla="*/ 94 h 108"/>
                    <a:gd name="T4" fmla="*/ 18 w 164"/>
                    <a:gd name="T5" fmla="*/ 59 h 108"/>
                    <a:gd name="T6" fmla="*/ 123 w 164"/>
                    <a:gd name="T7" fmla="*/ 7 h 108"/>
                    <a:gd name="T8" fmla="*/ 158 w 164"/>
                    <a:gd name="T9" fmla="*/ 18 h 108"/>
                    <a:gd name="T10" fmla="*/ 146 w 164"/>
                    <a:gd name="T11" fmla="*/ 53 h 108"/>
                    <a:gd name="T12" fmla="*/ 42 w 164"/>
                    <a:gd name="T13" fmla="*/ 106 h 108"/>
                    <a:gd name="T14" fmla="*/ 30 w 164"/>
                    <a:gd name="T15" fmla="*/ 108 h 1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4" h="108">
                      <a:moveTo>
                        <a:pt x="30" y="108"/>
                      </a:moveTo>
                      <a:cubicBezTo>
                        <a:pt x="20" y="108"/>
                        <a:pt x="11" y="103"/>
                        <a:pt x="7" y="94"/>
                      </a:cubicBezTo>
                      <a:cubicBezTo>
                        <a:pt x="0" y="81"/>
                        <a:pt x="5" y="65"/>
                        <a:pt x="18" y="59"/>
                      </a:cubicBezTo>
                      <a:lnTo>
                        <a:pt x="123" y="7"/>
                      </a:lnTo>
                      <a:cubicBezTo>
                        <a:pt x="135" y="0"/>
                        <a:pt x="151" y="6"/>
                        <a:pt x="158" y="18"/>
                      </a:cubicBezTo>
                      <a:cubicBezTo>
                        <a:pt x="164" y="31"/>
                        <a:pt x="159" y="47"/>
                        <a:pt x="146" y="53"/>
                      </a:cubicBezTo>
                      <a:lnTo>
                        <a:pt x="42" y="106"/>
                      </a:lnTo>
                      <a:cubicBezTo>
                        <a:pt x="38" y="107"/>
                        <a:pt x="34" y="108"/>
                        <a:pt x="30" y="108"/>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noProof="0">
                    <a:ln>
                      <a:noFill/>
                    </a:ln>
                    <a:solidFill>
                      <a:prstClr val="black"/>
                    </a:solidFill>
                    <a:effectLst/>
                    <a:uLnTx/>
                    <a:uFillTx/>
                    <a:latin typeface="Calibri" panose="020F0502020204030204"/>
                    <a:ea typeface="+mn-ea"/>
                    <a:cs typeface="+mn-cs"/>
                  </a:endParaRPr>
                </a:p>
              </p:txBody>
            </p:sp>
            <p:sp>
              <p:nvSpPr>
                <p:cNvPr id="266" name="Problem_Based_Learning">
                  <a:extLst>
                    <a:ext uri="{FF2B5EF4-FFF2-40B4-BE49-F238E27FC236}">
                      <a16:creationId xmlns:a16="http://schemas.microsoft.com/office/drawing/2014/main" id="{9B92181C-27F5-462F-842D-71254123DD5C}"/>
                    </a:ext>
                  </a:extLst>
                </p:cNvPr>
                <p:cNvSpPr>
                  <a:spLocks noEditPoints="1"/>
                </p:cNvSpPr>
                <p:nvPr>
                  <p:custDataLst>
                    <p:tags r:id="rId10"/>
                  </p:custDataLst>
                </p:nvPr>
              </p:nvSpPr>
              <p:spPr bwMode="auto">
                <a:xfrm>
                  <a:off x="87" y="106"/>
                  <a:ext cx="303" cy="373"/>
                </a:xfrm>
                <a:custGeom>
                  <a:avLst/>
                  <a:gdLst>
                    <a:gd name="T0" fmla="*/ 730 w 808"/>
                    <a:gd name="T1" fmla="*/ 391 h 989"/>
                    <a:gd name="T2" fmla="*/ 730 w 808"/>
                    <a:gd name="T3" fmla="*/ 365 h 989"/>
                    <a:gd name="T4" fmla="*/ 365 w 808"/>
                    <a:gd name="T5" fmla="*/ 0 h 989"/>
                    <a:gd name="T6" fmla="*/ 0 w 808"/>
                    <a:gd name="T7" fmla="*/ 365 h 989"/>
                    <a:gd name="T8" fmla="*/ 78 w 808"/>
                    <a:gd name="T9" fmla="*/ 590 h 989"/>
                    <a:gd name="T10" fmla="*/ 78 w 808"/>
                    <a:gd name="T11" fmla="*/ 989 h 989"/>
                    <a:gd name="T12" fmla="*/ 547 w 808"/>
                    <a:gd name="T13" fmla="*/ 989 h 989"/>
                    <a:gd name="T14" fmla="*/ 547 w 808"/>
                    <a:gd name="T15" fmla="*/ 860 h 989"/>
                    <a:gd name="T16" fmla="*/ 704 w 808"/>
                    <a:gd name="T17" fmla="*/ 704 h 989"/>
                    <a:gd name="T18" fmla="*/ 704 w 808"/>
                    <a:gd name="T19" fmla="*/ 626 h 989"/>
                    <a:gd name="T20" fmla="*/ 782 w 808"/>
                    <a:gd name="T21" fmla="*/ 626 h 989"/>
                    <a:gd name="T22" fmla="*/ 808 w 808"/>
                    <a:gd name="T23" fmla="*/ 600 h 989"/>
                    <a:gd name="T24" fmla="*/ 730 w 808"/>
                    <a:gd name="T25" fmla="*/ 391 h 989"/>
                    <a:gd name="T26" fmla="*/ 587 w 808"/>
                    <a:gd name="T27" fmla="*/ 387 h 989"/>
                    <a:gd name="T28" fmla="*/ 547 w 808"/>
                    <a:gd name="T29" fmla="*/ 365 h 989"/>
                    <a:gd name="T30" fmla="*/ 522 w 808"/>
                    <a:gd name="T31" fmla="*/ 385 h 989"/>
                    <a:gd name="T32" fmla="*/ 520 w 808"/>
                    <a:gd name="T33" fmla="*/ 474 h 989"/>
                    <a:gd name="T34" fmla="*/ 410 w 808"/>
                    <a:gd name="T35" fmla="*/ 473 h 989"/>
                    <a:gd name="T36" fmla="*/ 390 w 808"/>
                    <a:gd name="T37" fmla="*/ 449 h 989"/>
                    <a:gd name="T38" fmla="*/ 412 w 808"/>
                    <a:gd name="T39" fmla="*/ 409 h 989"/>
                    <a:gd name="T40" fmla="*/ 368 w 808"/>
                    <a:gd name="T41" fmla="*/ 364 h 989"/>
                    <a:gd name="T42" fmla="*/ 325 w 808"/>
                    <a:gd name="T43" fmla="*/ 409 h 989"/>
                    <a:gd name="T44" fmla="*/ 347 w 808"/>
                    <a:gd name="T45" fmla="*/ 449 h 989"/>
                    <a:gd name="T46" fmla="*/ 326 w 808"/>
                    <a:gd name="T47" fmla="*/ 473 h 989"/>
                    <a:gd name="T48" fmla="*/ 214 w 808"/>
                    <a:gd name="T49" fmla="*/ 474 h 989"/>
                    <a:gd name="T50" fmla="*/ 213 w 808"/>
                    <a:gd name="T51" fmla="*/ 385 h 989"/>
                    <a:gd name="T52" fmla="*/ 188 w 808"/>
                    <a:gd name="T53" fmla="*/ 365 h 989"/>
                    <a:gd name="T54" fmla="*/ 148 w 808"/>
                    <a:gd name="T55" fmla="*/ 387 h 989"/>
                    <a:gd name="T56" fmla="*/ 104 w 808"/>
                    <a:gd name="T57" fmla="*/ 344 h 989"/>
                    <a:gd name="T58" fmla="*/ 148 w 808"/>
                    <a:gd name="T59" fmla="*/ 300 h 989"/>
                    <a:gd name="T60" fmla="*/ 188 w 808"/>
                    <a:gd name="T61" fmla="*/ 322 h 989"/>
                    <a:gd name="T62" fmla="*/ 213 w 808"/>
                    <a:gd name="T63" fmla="*/ 302 h 989"/>
                    <a:gd name="T64" fmla="*/ 216 w 808"/>
                    <a:gd name="T65" fmla="*/ 213 h 989"/>
                    <a:gd name="T66" fmla="*/ 326 w 808"/>
                    <a:gd name="T67" fmla="*/ 203 h 989"/>
                    <a:gd name="T68" fmla="*/ 347 w 808"/>
                    <a:gd name="T69" fmla="*/ 227 h 989"/>
                    <a:gd name="T70" fmla="*/ 325 w 808"/>
                    <a:gd name="T71" fmla="*/ 267 h 989"/>
                    <a:gd name="T72" fmla="*/ 368 w 808"/>
                    <a:gd name="T73" fmla="*/ 312 h 989"/>
                    <a:gd name="T74" fmla="*/ 412 w 808"/>
                    <a:gd name="T75" fmla="*/ 267 h 989"/>
                    <a:gd name="T76" fmla="*/ 390 w 808"/>
                    <a:gd name="T77" fmla="*/ 227 h 989"/>
                    <a:gd name="T78" fmla="*/ 410 w 808"/>
                    <a:gd name="T79" fmla="*/ 203 h 989"/>
                    <a:gd name="T80" fmla="*/ 521 w 808"/>
                    <a:gd name="T81" fmla="*/ 213 h 989"/>
                    <a:gd name="T82" fmla="*/ 522 w 808"/>
                    <a:gd name="T83" fmla="*/ 302 h 989"/>
                    <a:gd name="T84" fmla="*/ 547 w 808"/>
                    <a:gd name="T85" fmla="*/ 322 h 989"/>
                    <a:gd name="T86" fmla="*/ 587 w 808"/>
                    <a:gd name="T87" fmla="*/ 300 h 989"/>
                    <a:gd name="T88" fmla="*/ 631 w 808"/>
                    <a:gd name="T89" fmla="*/ 344 h 989"/>
                    <a:gd name="T90" fmla="*/ 587 w 808"/>
                    <a:gd name="T91" fmla="*/ 387 h 9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8" h="989">
                      <a:moveTo>
                        <a:pt x="730" y="391"/>
                      </a:moveTo>
                      <a:lnTo>
                        <a:pt x="730" y="365"/>
                      </a:lnTo>
                      <a:cubicBezTo>
                        <a:pt x="730" y="163"/>
                        <a:pt x="566" y="0"/>
                        <a:pt x="365" y="0"/>
                      </a:cubicBezTo>
                      <a:cubicBezTo>
                        <a:pt x="163" y="0"/>
                        <a:pt x="0" y="163"/>
                        <a:pt x="0" y="365"/>
                      </a:cubicBezTo>
                      <a:cubicBezTo>
                        <a:pt x="0" y="450"/>
                        <a:pt x="29" y="528"/>
                        <a:pt x="78" y="590"/>
                      </a:cubicBezTo>
                      <a:lnTo>
                        <a:pt x="78" y="989"/>
                      </a:lnTo>
                      <a:lnTo>
                        <a:pt x="547" y="989"/>
                      </a:lnTo>
                      <a:lnTo>
                        <a:pt x="547" y="860"/>
                      </a:lnTo>
                      <a:cubicBezTo>
                        <a:pt x="634" y="860"/>
                        <a:pt x="704" y="790"/>
                        <a:pt x="704" y="704"/>
                      </a:cubicBezTo>
                      <a:lnTo>
                        <a:pt x="704" y="626"/>
                      </a:lnTo>
                      <a:lnTo>
                        <a:pt x="782" y="626"/>
                      </a:lnTo>
                      <a:cubicBezTo>
                        <a:pt x="796" y="626"/>
                        <a:pt x="808" y="614"/>
                        <a:pt x="808" y="600"/>
                      </a:cubicBezTo>
                      <a:cubicBezTo>
                        <a:pt x="808" y="593"/>
                        <a:pt x="730" y="391"/>
                        <a:pt x="730" y="391"/>
                      </a:cubicBezTo>
                      <a:close/>
                      <a:moveTo>
                        <a:pt x="587" y="387"/>
                      </a:moveTo>
                      <a:cubicBezTo>
                        <a:pt x="562" y="381"/>
                        <a:pt x="566" y="365"/>
                        <a:pt x="547" y="365"/>
                      </a:cubicBezTo>
                      <a:cubicBezTo>
                        <a:pt x="528" y="365"/>
                        <a:pt x="524" y="378"/>
                        <a:pt x="522" y="385"/>
                      </a:cubicBezTo>
                      <a:cubicBezTo>
                        <a:pt x="519" y="407"/>
                        <a:pt x="520" y="474"/>
                        <a:pt x="520" y="474"/>
                      </a:cubicBezTo>
                      <a:cubicBezTo>
                        <a:pt x="520" y="474"/>
                        <a:pt x="432" y="477"/>
                        <a:pt x="410" y="473"/>
                      </a:cubicBezTo>
                      <a:cubicBezTo>
                        <a:pt x="402" y="472"/>
                        <a:pt x="390" y="468"/>
                        <a:pt x="390" y="449"/>
                      </a:cubicBezTo>
                      <a:cubicBezTo>
                        <a:pt x="390" y="430"/>
                        <a:pt x="406" y="434"/>
                        <a:pt x="412" y="409"/>
                      </a:cubicBezTo>
                      <a:cubicBezTo>
                        <a:pt x="414" y="383"/>
                        <a:pt x="392" y="364"/>
                        <a:pt x="368" y="364"/>
                      </a:cubicBezTo>
                      <a:cubicBezTo>
                        <a:pt x="344" y="364"/>
                        <a:pt x="323" y="383"/>
                        <a:pt x="325" y="409"/>
                      </a:cubicBezTo>
                      <a:cubicBezTo>
                        <a:pt x="331" y="434"/>
                        <a:pt x="347" y="430"/>
                        <a:pt x="347" y="449"/>
                      </a:cubicBezTo>
                      <a:cubicBezTo>
                        <a:pt x="347" y="468"/>
                        <a:pt x="334" y="472"/>
                        <a:pt x="326" y="473"/>
                      </a:cubicBezTo>
                      <a:cubicBezTo>
                        <a:pt x="305" y="477"/>
                        <a:pt x="214" y="474"/>
                        <a:pt x="214" y="474"/>
                      </a:cubicBezTo>
                      <a:cubicBezTo>
                        <a:pt x="214" y="474"/>
                        <a:pt x="216" y="407"/>
                        <a:pt x="213" y="385"/>
                      </a:cubicBezTo>
                      <a:cubicBezTo>
                        <a:pt x="212" y="377"/>
                        <a:pt x="207" y="365"/>
                        <a:pt x="188" y="365"/>
                      </a:cubicBezTo>
                      <a:cubicBezTo>
                        <a:pt x="169" y="365"/>
                        <a:pt x="174" y="381"/>
                        <a:pt x="148" y="387"/>
                      </a:cubicBezTo>
                      <a:cubicBezTo>
                        <a:pt x="123" y="389"/>
                        <a:pt x="104" y="368"/>
                        <a:pt x="104" y="344"/>
                      </a:cubicBezTo>
                      <a:cubicBezTo>
                        <a:pt x="104" y="319"/>
                        <a:pt x="123" y="298"/>
                        <a:pt x="148" y="300"/>
                      </a:cubicBezTo>
                      <a:cubicBezTo>
                        <a:pt x="174" y="306"/>
                        <a:pt x="169" y="322"/>
                        <a:pt x="188" y="322"/>
                      </a:cubicBezTo>
                      <a:cubicBezTo>
                        <a:pt x="207" y="322"/>
                        <a:pt x="212" y="310"/>
                        <a:pt x="213" y="302"/>
                      </a:cubicBezTo>
                      <a:cubicBezTo>
                        <a:pt x="216" y="280"/>
                        <a:pt x="216" y="213"/>
                        <a:pt x="216" y="213"/>
                      </a:cubicBezTo>
                      <a:cubicBezTo>
                        <a:pt x="216" y="213"/>
                        <a:pt x="305" y="199"/>
                        <a:pt x="326" y="203"/>
                      </a:cubicBezTo>
                      <a:cubicBezTo>
                        <a:pt x="334" y="204"/>
                        <a:pt x="347" y="208"/>
                        <a:pt x="347" y="227"/>
                      </a:cubicBezTo>
                      <a:cubicBezTo>
                        <a:pt x="347" y="246"/>
                        <a:pt x="331" y="242"/>
                        <a:pt x="325" y="267"/>
                      </a:cubicBezTo>
                      <a:cubicBezTo>
                        <a:pt x="323" y="293"/>
                        <a:pt x="344" y="312"/>
                        <a:pt x="368" y="312"/>
                      </a:cubicBezTo>
                      <a:cubicBezTo>
                        <a:pt x="392" y="312"/>
                        <a:pt x="414" y="293"/>
                        <a:pt x="412" y="267"/>
                      </a:cubicBezTo>
                      <a:cubicBezTo>
                        <a:pt x="406" y="242"/>
                        <a:pt x="390" y="246"/>
                        <a:pt x="390" y="227"/>
                      </a:cubicBezTo>
                      <a:cubicBezTo>
                        <a:pt x="390" y="208"/>
                        <a:pt x="402" y="204"/>
                        <a:pt x="410" y="203"/>
                      </a:cubicBezTo>
                      <a:cubicBezTo>
                        <a:pt x="432" y="199"/>
                        <a:pt x="521" y="213"/>
                        <a:pt x="521" y="213"/>
                      </a:cubicBezTo>
                      <a:cubicBezTo>
                        <a:pt x="521" y="213"/>
                        <a:pt x="519" y="280"/>
                        <a:pt x="522" y="302"/>
                      </a:cubicBezTo>
                      <a:cubicBezTo>
                        <a:pt x="524" y="310"/>
                        <a:pt x="528" y="322"/>
                        <a:pt x="547" y="322"/>
                      </a:cubicBezTo>
                      <a:cubicBezTo>
                        <a:pt x="566" y="322"/>
                        <a:pt x="562" y="306"/>
                        <a:pt x="587" y="300"/>
                      </a:cubicBezTo>
                      <a:cubicBezTo>
                        <a:pt x="613" y="298"/>
                        <a:pt x="631" y="319"/>
                        <a:pt x="631" y="344"/>
                      </a:cubicBezTo>
                      <a:cubicBezTo>
                        <a:pt x="631" y="368"/>
                        <a:pt x="613" y="389"/>
                        <a:pt x="587" y="387"/>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noProof="0">
                    <a:ln>
                      <a:noFill/>
                    </a:ln>
                    <a:solidFill>
                      <a:prstClr val="black"/>
                    </a:solidFill>
                    <a:effectLst/>
                    <a:uLnTx/>
                    <a:uFillTx/>
                    <a:latin typeface="Calibri" panose="020F0502020204030204"/>
                    <a:ea typeface="+mn-ea"/>
                    <a:cs typeface="+mn-cs"/>
                  </a:endParaRPr>
                </a:p>
              </p:txBody>
            </p:sp>
          </p:grpSp>
        </p:grpSp>
      </p:grpSp>
      <p:pic>
        <p:nvPicPr>
          <p:cNvPr id="12" name="Paginanummer Seinpost">
            <a:extLst>
              <a:ext uri="{FF2B5EF4-FFF2-40B4-BE49-F238E27FC236}">
                <a16:creationId xmlns:a16="http://schemas.microsoft.com/office/drawing/2014/main" id="{2A54806E-7468-4E14-A90A-FCC1B4C74AE4}"/>
              </a:ext>
            </a:extLst>
          </p:cNvPr>
          <p:cNvPicPr>
            <a:picLocks noChangeAspect="1"/>
          </p:cNvPicPr>
          <p:nvPr>
            <p:custDataLst>
              <p:tags r:id="rId1"/>
            </p:custDataLst>
          </p:nvPr>
        </p:nvPicPr>
        <p:blipFill>
          <a:blip r:embed="rId55">
            <a:extLst>
              <a:ext uri="{28A0092B-C50C-407E-A947-70E740481C1C}">
                <a14:useLocalDpi xmlns:a14="http://schemas.microsoft.com/office/drawing/2010/main" val="0"/>
              </a:ext>
            </a:extLst>
          </a:blip>
          <a:stretch>
            <a:fillRect/>
          </a:stretch>
        </p:blipFill>
        <p:spPr>
          <a:xfrm>
            <a:off x="11674818" y="172800"/>
            <a:ext cx="298705" cy="289561"/>
          </a:xfrm>
          <a:prstGeom prst="rect">
            <a:avLst/>
          </a:prstGeom>
        </p:spPr>
      </p:pic>
      <p:sp>
        <p:nvSpPr>
          <p:cNvPr id="268" name="Paginanummer Seinpost">
            <a:extLst>
              <a:ext uri="{FF2B5EF4-FFF2-40B4-BE49-F238E27FC236}">
                <a16:creationId xmlns:a16="http://schemas.microsoft.com/office/drawing/2014/main" id="{F0F2FDA3-D8CF-473D-A044-DB7564C1F60E}"/>
              </a:ext>
            </a:extLst>
          </p:cNvPr>
          <p:cNvSpPr txBox="1">
            <a:spLocks/>
          </p:cNvSpPr>
          <p:nvPr>
            <p:custDataLst>
              <p:tags r:id="rId2"/>
            </p:custDataLst>
          </p:nvPr>
        </p:nvSpPr>
        <p:spPr>
          <a:xfrm>
            <a:off x="11628018" y="252000"/>
            <a:ext cx="381601" cy="244800"/>
          </a:xfrm>
          <a:prstGeom prst="rect">
            <a:avLst/>
          </a:prstGeom>
          <a:noFill/>
        </p:spPr>
        <p:txBody>
          <a:bodyPr vert="horz" lIns="0" tIns="0" rIns="0" bIns="0" rtlCol="0" anchor="t">
            <a:noAutofit/>
          </a:bodyPr>
          <a:lstStyle/>
          <a:p>
            <a:pPr algn="ctr"/>
            <a:r>
              <a:rPr lang="nl-NL" sz="1000" b="1">
                <a:solidFill>
                  <a:srgbClr val="62366E"/>
                </a:solidFill>
                <a:latin typeface="Open Sans" panose="020B0606030504020204" pitchFamily="34" charset="0"/>
              </a:rPr>
              <a:t>18</a:t>
            </a:r>
          </a:p>
        </p:txBody>
      </p:sp>
      <p:sp>
        <p:nvSpPr>
          <p:cNvPr id="130" name="Tekstvak 129">
            <a:extLst>
              <a:ext uri="{FF2B5EF4-FFF2-40B4-BE49-F238E27FC236}">
                <a16:creationId xmlns:a16="http://schemas.microsoft.com/office/drawing/2014/main" id="{8C40B763-2190-49B1-9426-E87BA5607C4C}"/>
              </a:ext>
            </a:extLst>
          </p:cNvPr>
          <p:cNvSpPr txBox="1"/>
          <p:nvPr/>
        </p:nvSpPr>
        <p:spPr>
          <a:xfrm>
            <a:off x="10413061" y="3809293"/>
            <a:ext cx="454303" cy="553998"/>
          </a:xfrm>
          <a:prstGeom prst="rect">
            <a:avLst/>
          </a:prstGeom>
          <a:noFill/>
        </p:spPr>
        <p:txBody>
          <a:bodyPr wrap="square" rtlCol="0">
            <a:spAutoFit/>
          </a:bodyPr>
          <a:lstStyle/>
          <a:p>
            <a:r>
              <a:rPr lang="nl-NL" sz="3000" b="1" dirty="0"/>
              <a:t>?</a:t>
            </a:r>
          </a:p>
        </p:txBody>
      </p:sp>
    </p:spTree>
    <p:extLst>
      <p:ext uri="{BB962C8B-B14F-4D97-AF65-F5344CB8AC3E}">
        <p14:creationId xmlns:p14="http://schemas.microsoft.com/office/powerpoint/2010/main" val="374847638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7">
                                            <p:txEl>
                                              <p:pRg st="1" end="1"/>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7">
                                            <p:txEl>
                                              <p:pRg st="2" end="2"/>
                                            </p:txEl>
                                          </p:spTgt>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17">
                                            <p:txEl>
                                              <p:pRg st="4" end="4"/>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17">
                                            <p:txEl>
                                              <p:pRg st="5" end="5"/>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17">
                                            <p:txEl>
                                              <p:pRg st="7" end="7"/>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ekstvak 12">
            <a:extLst>
              <a:ext uri="{FF2B5EF4-FFF2-40B4-BE49-F238E27FC236}">
                <a16:creationId xmlns:a16="http://schemas.microsoft.com/office/drawing/2014/main" id="{B52365AD-3C33-486E-9443-18703CDDF7F4}"/>
              </a:ext>
            </a:extLst>
          </p:cNvPr>
          <p:cNvSpPr txBox="1"/>
          <p:nvPr/>
        </p:nvSpPr>
        <p:spPr>
          <a:xfrm>
            <a:off x="3140802" y="496800"/>
            <a:ext cx="5233988" cy="400110"/>
          </a:xfrm>
          <a:prstGeom prst="rect">
            <a:avLst/>
          </a:prstGeom>
          <a:noFill/>
        </p:spPr>
        <p:txBody>
          <a:bodyPr wrap="square">
            <a:spAutoFit/>
          </a:bodyPr>
          <a:lstStyle/>
          <a:p>
            <a:pPr algn="ctr"/>
            <a:r>
              <a:rPr lang="nl-NL" sz="2000" b="1" i="1" dirty="0"/>
              <a:t>Is dit een mogelijke ontwikkelkans? </a:t>
            </a:r>
          </a:p>
        </p:txBody>
      </p:sp>
      <p:pic>
        <p:nvPicPr>
          <p:cNvPr id="3" name="Afbeelding 2" descr="Afbeelding met tekst&#10;&#10;Automatisch gegenereerde beschrijving">
            <a:extLst>
              <a:ext uri="{FF2B5EF4-FFF2-40B4-BE49-F238E27FC236}">
                <a16:creationId xmlns:a16="http://schemas.microsoft.com/office/drawing/2014/main" id="{CA1CE83A-58FD-4CEE-A49C-D71BD15FAEF5}"/>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008604" y="896910"/>
            <a:ext cx="7958496" cy="5358336"/>
          </a:xfrm>
          <a:prstGeom prst="rect">
            <a:avLst/>
          </a:prstGeom>
        </p:spPr>
      </p:pic>
      <p:sp>
        <p:nvSpPr>
          <p:cNvPr id="10" name="Paginanummer Seinpost">
            <a:extLst>
              <a:ext uri="{FF2B5EF4-FFF2-40B4-BE49-F238E27FC236}">
                <a16:creationId xmlns:a16="http://schemas.microsoft.com/office/drawing/2014/main" id="{84A2DCC2-2893-4448-9C17-01596C3D866E}"/>
              </a:ext>
            </a:extLst>
          </p:cNvPr>
          <p:cNvSpPr txBox="1">
            <a:spLocks/>
          </p:cNvSpPr>
          <p:nvPr>
            <p:custDataLst>
              <p:tags r:id="rId1"/>
            </p:custDataLst>
          </p:nvPr>
        </p:nvSpPr>
        <p:spPr>
          <a:xfrm>
            <a:off x="11628018" y="252000"/>
            <a:ext cx="381601" cy="244800"/>
          </a:xfrm>
          <a:prstGeom prst="rect">
            <a:avLst/>
          </a:prstGeom>
          <a:noFill/>
        </p:spPr>
        <p:txBody>
          <a:bodyPr vert="horz" lIns="0" tIns="0" rIns="0" bIns="0" rtlCol="0" anchor="t">
            <a:noAutofit/>
          </a:bodyPr>
          <a:lstStyle/>
          <a:p>
            <a:pPr algn="ctr"/>
            <a:r>
              <a:rPr lang="nl-NL" sz="1000" b="1">
                <a:solidFill>
                  <a:srgbClr val="62366E"/>
                </a:solidFill>
                <a:latin typeface="Open Sans" panose="020B0606030504020204" pitchFamily="34" charset="0"/>
              </a:rPr>
              <a:t>18</a:t>
            </a:r>
          </a:p>
        </p:txBody>
      </p:sp>
      <p:pic>
        <p:nvPicPr>
          <p:cNvPr id="14" name="Paginanummer Seinpost">
            <a:extLst>
              <a:ext uri="{FF2B5EF4-FFF2-40B4-BE49-F238E27FC236}">
                <a16:creationId xmlns:a16="http://schemas.microsoft.com/office/drawing/2014/main" id="{B9B42AA6-DBFE-48C0-B079-1F7D2AD10231}"/>
              </a:ext>
            </a:extLst>
          </p:cNvPr>
          <p:cNvPicPr>
            <a:picLocks noChangeAspect="1"/>
          </p:cNvPicPr>
          <p:nvPr>
            <p:custDataLst>
              <p:tags r:id="rId2"/>
            </p:custDataLst>
          </p:nvPr>
        </p:nvPicPr>
        <p:blipFill>
          <a:blip r:embed="rId6">
            <a:extLst>
              <a:ext uri="{28A0092B-C50C-407E-A947-70E740481C1C}">
                <a14:useLocalDpi xmlns:a14="http://schemas.microsoft.com/office/drawing/2010/main" val="0"/>
              </a:ext>
            </a:extLst>
          </a:blip>
          <a:stretch>
            <a:fillRect/>
          </a:stretch>
        </p:blipFill>
        <p:spPr>
          <a:xfrm>
            <a:off x="11674818" y="172800"/>
            <a:ext cx="298705" cy="289561"/>
          </a:xfrm>
          <a:prstGeom prst="rect">
            <a:avLst/>
          </a:prstGeom>
        </p:spPr>
      </p:pic>
      <p:sp>
        <p:nvSpPr>
          <p:cNvPr id="15" name="Paginanummer Seinpost">
            <a:extLst>
              <a:ext uri="{FF2B5EF4-FFF2-40B4-BE49-F238E27FC236}">
                <a16:creationId xmlns:a16="http://schemas.microsoft.com/office/drawing/2014/main" id="{DDDA6055-1831-48C7-8AC0-7CF05AEB4E10}"/>
              </a:ext>
            </a:extLst>
          </p:cNvPr>
          <p:cNvSpPr txBox="1">
            <a:spLocks/>
          </p:cNvSpPr>
          <p:nvPr>
            <p:custDataLst>
              <p:tags r:id="rId3"/>
            </p:custDataLst>
          </p:nvPr>
        </p:nvSpPr>
        <p:spPr>
          <a:xfrm>
            <a:off x="11628018" y="252000"/>
            <a:ext cx="381601" cy="244800"/>
          </a:xfrm>
          <a:prstGeom prst="rect">
            <a:avLst/>
          </a:prstGeom>
          <a:noFill/>
        </p:spPr>
        <p:txBody>
          <a:bodyPr vert="horz" lIns="0" tIns="0" rIns="0" bIns="0" rtlCol="0" anchor="t">
            <a:noAutofit/>
          </a:bodyPr>
          <a:lstStyle/>
          <a:p>
            <a:pPr algn="ctr"/>
            <a:r>
              <a:rPr lang="nl-NL" sz="1000" b="1">
                <a:solidFill>
                  <a:srgbClr val="62366E"/>
                </a:solidFill>
                <a:latin typeface="Open Sans" panose="020B0606030504020204" pitchFamily="34" charset="0"/>
              </a:rPr>
              <a:t>19</a:t>
            </a:r>
          </a:p>
        </p:txBody>
      </p:sp>
    </p:spTree>
    <p:extLst>
      <p:ext uri="{BB962C8B-B14F-4D97-AF65-F5344CB8AC3E}">
        <p14:creationId xmlns:p14="http://schemas.microsoft.com/office/powerpoint/2010/main" val="312621580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Paragraaf titel hoog">
            <a:extLst>
              <a:ext uri="{FF2B5EF4-FFF2-40B4-BE49-F238E27FC236}">
                <a16:creationId xmlns:a16="http://schemas.microsoft.com/office/drawing/2014/main" id="{6B43B392-8647-4A23-86D9-F3D342C4D613}"/>
              </a:ext>
            </a:extLst>
          </p:cNvPr>
          <p:cNvSpPr txBox="1"/>
          <p:nvPr>
            <p:custDataLst>
              <p:tags r:id="rId1"/>
            </p:custDataLst>
          </p:nvPr>
        </p:nvSpPr>
        <p:spPr>
          <a:xfrm>
            <a:off x="1080001" y="489049"/>
            <a:ext cx="9554131" cy="432001"/>
          </a:xfrm>
          <a:prstGeom prst="rect">
            <a:avLst/>
          </a:prstGeom>
          <a:noFill/>
        </p:spPr>
        <p:txBody>
          <a:bodyPr vert="horz" lIns="0" tIns="0" rIns="0" bIns="0" rtlCol="0" anchor="t">
            <a:noAutofit/>
          </a:bodyPr>
          <a:lstStyle/>
          <a:p>
            <a:pPr>
              <a:lnSpc>
                <a:spcPts val="3200"/>
              </a:lnSpc>
            </a:pPr>
            <a:r>
              <a:rPr lang="nl-NL" sz="3000" b="1" dirty="0">
                <a:solidFill>
                  <a:srgbClr val="62366E"/>
                </a:solidFill>
                <a:latin typeface="Open Sans" panose="020B0606030504020204" pitchFamily="34" charset="0"/>
              </a:rPr>
              <a:t>Agenda en doel van deze avond </a:t>
            </a:r>
          </a:p>
          <a:p>
            <a:pPr>
              <a:lnSpc>
                <a:spcPts val="3200"/>
              </a:lnSpc>
            </a:pPr>
            <a:r>
              <a:rPr lang="nl-NL" sz="2400" b="1" dirty="0">
                <a:solidFill>
                  <a:srgbClr val="62366E"/>
                </a:solidFill>
                <a:latin typeface="Open Sans" panose="020B0606030504020204" pitchFamily="34" charset="0"/>
              </a:rPr>
              <a:t> </a:t>
            </a:r>
          </a:p>
        </p:txBody>
      </p:sp>
      <p:sp>
        <p:nvSpPr>
          <p:cNvPr id="7" name="2 Kolommen breed">
            <a:extLst>
              <a:ext uri="{FF2B5EF4-FFF2-40B4-BE49-F238E27FC236}">
                <a16:creationId xmlns:a16="http://schemas.microsoft.com/office/drawing/2014/main" id="{A511592C-D71A-46BC-B8F7-B3DDAC3CBE08}"/>
              </a:ext>
            </a:extLst>
          </p:cNvPr>
          <p:cNvSpPr txBox="1"/>
          <p:nvPr>
            <p:custDataLst>
              <p:tags r:id="rId2"/>
            </p:custDataLst>
          </p:nvPr>
        </p:nvSpPr>
        <p:spPr>
          <a:xfrm>
            <a:off x="1080002" y="1637414"/>
            <a:ext cx="6320924" cy="4547629"/>
          </a:xfrm>
          <a:prstGeom prst="rect">
            <a:avLst/>
          </a:prstGeom>
          <a:noFill/>
        </p:spPr>
        <p:txBody>
          <a:bodyPr vert="horz" lIns="0" tIns="0" rIns="0" bIns="0" rtlCol="0" anchor="t">
            <a:noAutofit/>
          </a:bodyPr>
          <a:lstStyle/>
          <a:p>
            <a:pPr marL="342900" indent="-342900">
              <a:buFont typeface="Arial" panose="020B0604020202020204" pitchFamily="34" charset="0"/>
              <a:buChar char="•"/>
            </a:pPr>
            <a:r>
              <a:rPr lang="nl-NL" b="1" dirty="0">
                <a:latin typeface="Open Sans" panose="020B0606030504020204" pitchFamily="34" charset="0"/>
                <a:ea typeface="Open Sans" panose="020B0606030504020204" pitchFamily="34" charset="0"/>
                <a:cs typeface="Open Sans" panose="020B0606030504020204" pitchFamily="34" charset="0"/>
              </a:rPr>
              <a:t>We komen vooral input ophalen! </a:t>
            </a:r>
          </a:p>
          <a:p>
            <a:pPr marL="342900" indent="-342900">
              <a:buFont typeface="Arial" panose="020B0604020202020204" pitchFamily="34" charset="0"/>
              <a:buChar char="•"/>
            </a:pPr>
            <a:endParaRPr lang="nl-NL" sz="1800" b="1" dirty="0">
              <a:solidFill>
                <a:srgbClr val="000000"/>
              </a:solidFill>
              <a:latin typeface="Open Sans" panose="020B0606030504020204" pitchFamily="34" charset="0"/>
              <a:ea typeface="Open Sans" panose="020B0606030504020204" pitchFamily="34" charset="0"/>
              <a:cs typeface="Open Sans" panose="020B0606030504020204" pitchFamily="34" charset="0"/>
            </a:endParaRPr>
          </a:p>
          <a:p>
            <a:pPr marL="342900" indent="-342900">
              <a:buFont typeface="Arial" panose="020B0604020202020204" pitchFamily="34" charset="0"/>
              <a:buChar char="•"/>
            </a:pPr>
            <a:endParaRPr lang="nl-NL" sz="1800" b="1" dirty="0">
              <a:solidFill>
                <a:srgbClr val="000000"/>
              </a:solidFill>
              <a:latin typeface="Open Sans" panose="020B0606030504020204" pitchFamily="34" charset="0"/>
              <a:ea typeface="Open Sans" panose="020B0606030504020204" pitchFamily="34" charset="0"/>
              <a:cs typeface="Open Sans" panose="020B0606030504020204" pitchFamily="34" charset="0"/>
            </a:endParaRPr>
          </a:p>
          <a:p>
            <a:pPr marL="342900" indent="-342900">
              <a:buFont typeface="Arial" panose="020B0604020202020204" pitchFamily="34" charset="0"/>
              <a:buChar char="•"/>
            </a:pPr>
            <a:r>
              <a:rPr lang="nl-NL" b="1" dirty="0">
                <a:latin typeface="Open Sans" panose="020B0606030504020204" pitchFamily="34" charset="0"/>
                <a:ea typeface="Open Sans" panose="020B0606030504020204" pitchFamily="34" charset="0"/>
                <a:cs typeface="Open Sans" panose="020B0606030504020204" pitchFamily="34" charset="0"/>
              </a:rPr>
              <a:t>Analyse in een notendop </a:t>
            </a:r>
            <a:r>
              <a:rPr lang="nl-NL" dirty="0">
                <a:latin typeface="Open Sans" panose="020B0606030504020204" pitchFamily="34" charset="0"/>
                <a:ea typeface="Open Sans" panose="020B0606030504020204" pitchFamily="34" charset="0"/>
                <a:cs typeface="Open Sans" panose="020B0606030504020204" pitchFamily="34" charset="0"/>
              </a:rPr>
              <a:t>– i</a:t>
            </a:r>
            <a:r>
              <a:rPr lang="nl-NL" sz="1800" dirty="0">
                <a:solidFill>
                  <a:srgbClr val="000000"/>
                </a:solidFill>
                <a:latin typeface="Open Sans" panose="020B0606030504020204" pitchFamily="34" charset="0"/>
                <a:ea typeface="Open Sans" panose="020B0606030504020204" pitchFamily="34" charset="0"/>
                <a:cs typeface="Open Sans" panose="020B0606030504020204" pitchFamily="34" charset="0"/>
              </a:rPr>
              <a:t>nformeren en inzicht geven in de resultaten van onderzoeken en analyses;</a:t>
            </a:r>
          </a:p>
          <a:p>
            <a:pPr marL="342900" indent="-342900">
              <a:buFont typeface="Arial" panose="020B0604020202020204" pitchFamily="34" charset="0"/>
              <a:buChar char="•"/>
            </a:pPr>
            <a:endParaRPr lang="nl-NL" b="1" dirty="0">
              <a:solidFill>
                <a:srgbClr val="000000"/>
              </a:solidFill>
              <a:latin typeface="Open Sans" panose="020B0606030504020204" pitchFamily="34" charset="0"/>
              <a:ea typeface="Open Sans" panose="020B0606030504020204" pitchFamily="34" charset="0"/>
              <a:cs typeface="Open Sans" panose="020B0606030504020204" pitchFamily="34" charset="0"/>
            </a:endParaRPr>
          </a:p>
          <a:p>
            <a:pPr marL="342900" indent="-342900">
              <a:buFont typeface="Arial" panose="020B0604020202020204" pitchFamily="34" charset="0"/>
              <a:buChar char="•"/>
            </a:pPr>
            <a:endParaRPr lang="nl-NL" b="1" dirty="0">
              <a:solidFill>
                <a:srgbClr val="000000"/>
              </a:solidFill>
              <a:latin typeface="Open Sans" panose="020B0606030504020204" pitchFamily="34" charset="0"/>
              <a:ea typeface="Open Sans" panose="020B0606030504020204" pitchFamily="34" charset="0"/>
              <a:cs typeface="Open Sans" panose="020B0606030504020204" pitchFamily="34" charset="0"/>
            </a:endParaRPr>
          </a:p>
          <a:p>
            <a:pPr marL="342900" indent="-342900">
              <a:buFont typeface="Arial" panose="020B0604020202020204" pitchFamily="34" charset="0"/>
              <a:buChar char="•"/>
            </a:pPr>
            <a:r>
              <a:rPr lang="nl-NL" b="1" dirty="0">
                <a:latin typeface="Open Sans"/>
                <a:ea typeface="Open Sans"/>
                <a:cs typeface="Open Sans"/>
              </a:rPr>
              <a:t>Ruimtelijke visie en brancheringsplan </a:t>
            </a:r>
            <a:r>
              <a:rPr lang="nl-NL" dirty="0">
                <a:latin typeface="Open Sans"/>
                <a:ea typeface="Open Sans"/>
                <a:cs typeface="Open Sans"/>
              </a:rPr>
              <a:t>- t</a:t>
            </a:r>
            <a:r>
              <a:rPr lang="nl-NL" sz="1800" dirty="0">
                <a:solidFill>
                  <a:srgbClr val="000000"/>
                </a:solidFill>
                <a:latin typeface="Open Sans" panose="020B0606030504020204" pitchFamily="34" charset="0"/>
                <a:ea typeface="Open Sans" panose="020B0606030504020204" pitchFamily="34" charset="0"/>
                <a:cs typeface="Open Sans" panose="020B0606030504020204" pitchFamily="34" charset="0"/>
              </a:rPr>
              <a:t>oelichting geven op de </a:t>
            </a:r>
            <a:r>
              <a:rPr lang="nl-NL" sz="1800" b="1" dirty="0">
                <a:solidFill>
                  <a:srgbClr val="000000"/>
                </a:solidFill>
                <a:latin typeface="Open Sans" panose="020B0606030504020204" pitchFamily="34" charset="0"/>
                <a:ea typeface="Open Sans" panose="020B0606030504020204" pitchFamily="34" charset="0"/>
                <a:cs typeface="Open Sans" panose="020B0606030504020204" pitchFamily="34" charset="0"/>
              </a:rPr>
              <a:t>concept visie </a:t>
            </a:r>
            <a:r>
              <a:rPr lang="nl-NL" sz="1800" dirty="0">
                <a:solidFill>
                  <a:srgbClr val="000000"/>
                </a:solidFill>
                <a:latin typeface="Open Sans" panose="020B0606030504020204" pitchFamily="34" charset="0"/>
                <a:ea typeface="Open Sans" panose="020B0606030504020204" pitchFamily="34" charset="0"/>
                <a:cs typeface="Open Sans" panose="020B0606030504020204" pitchFamily="34" charset="0"/>
              </a:rPr>
              <a:t>voor de Hamershof: waar willen we welke functies hebben? En welke gebieden vragen om aandacht? </a:t>
            </a:r>
          </a:p>
          <a:p>
            <a:endParaRPr lang="nl-NL" dirty="0">
              <a:latin typeface="Open Sans" panose="020B0606030504020204" pitchFamily="34" charset="0"/>
              <a:ea typeface="Open Sans" panose="020B0606030504020204" pitchFamily="34" charset="0"/>
              <a:cs typeface="Open Sans" panose="020B0606030504020204" pitchFamily="34" charset="0"/>
            </a:endParaRPr>
          </a:p>
          <a:p>
            <a:endParaRPr lang="nl-NL" dirty="0">
              <a:latin typeface="Open Sans" panose="020B0606030504020204" pitchFamily="34" charset="0"/>
              <a:ea typeface="Open Sans" panose="020B0606030504020204" pitchFamily="34" charset="0"/>
              <a:cs typeface="Open Sans" panose="020B0606030504020204" pitchFamily="34" charset="0"/>
            </a:endParaRPr>
          </a:p>
          <a:p>
            <a:pPr marL="342900" lvl="0" indent="-342900">
              <a:buFont typeface="Arial" panose="020B0604020202020204" pitchFamily="34" charset="0"/>
              <a:buChar char="•"/>
            </a:pPr>
            <a:r>
              <a:rPr lang="nl-NL" dirty="0">
                <a:solidFill>
                  <a:srgbClr val="000000"/>
                </a:solidFill>
                <a:latin typeface="Open Sans" panose="020B0606030504020204" pitchFamily="34" charset="0"/>
                <a:ea typeface="Open Sans" panose="020B0606030504020204" pitchFamily="34" charset="0"/>
                <a:cs typeface="Open Sans" panose="020B0606030504020204" pitchFamily="34" charset="0"/>
              </a:rPr>
              <a:t>Afronding en vervolgproces</a:t>
            </a:r>
          </a:p>
          <a:p>
            <a:pPr lvl="0"/>
            <a:endParaRPr lang="nl-NL" dirty="0">
              <a:solidFill>
                <a:srgbClr val="000000"/>
              </a:solidFill>
              <a:latin typeface="Open Sans" panose="020B0606030504020204" pitchFamily="34" charset="0"/>
              <a:ea typeface="Open Sans" panose="020B0606030504020204" pitchFamily="34" charset="0"/>
              <a:cs typeface="Open Sans" panose="020B0606030504020204" pitchFamily="34" charset="0"/>
            </a:endParaRPr>
          </a:p>
          <a:p>
            <a:pPr lvl="0"/>
            <a:endParaRPr lang="nl-NL" dirty="0">
              <a:solidFill>
                <a:srgbClr val="000000"/>
              </a:solidFill>
              <a:latin typeface="Open Sans" panose="020B0606030504020204" pitchFamily="34" charset="0"/>
              <a:ea typeface="Open Sans" panose="020B0606030504020204" pitchFamily="34" charset="0"/>
              <a:cs typeface="Open Sans" panose="020B0606030504020204" pitchFamily="34" charset="0"/>
            </a:endParaRPr>
          </a:p>
          <a:p>
            <a:pPr marL="342900" lvl="0" indent="-342900">
              <a:buFont typeface="Wingdings" panose="05000000000000000000" pitchFamily="2" charset="2"/>
              <a:buChar char="ü"/>
            </a:pPr>
            <a:endParaRPr lang="nl-NL" sz="2000" b="1" dirty="0">
              <a:solidFill>
                <a:srgbClr val="000000"/>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8" name="Paginanummer Seinpost">
            <a:extLst>
              <a:ext uri="{FF2B5EF4-FFF2-40B4-BE49-F238E27FC236}">
                <a16:creationId xmlns:a16="http://schemas.microsoft.com/office/drawing/2014/main" id="{B1FB6F57-1B8E-4D78-9578-762472BE6E9D}"/>
              </a:ext>
            </a:extLst>
          </p:cNvPr>
          <p:cNvPicPr>
            <a:picLocks noChangeAspect="1"/>
          </p:cNvPicPr>
          <p:nvPr>
            <p:custDataLst>
              <p:tags r:id="rId3"/>
            </p:custDataLst>
          </p:nvPr>
        </p:nvPicPr>
        <p:blipFill>
          <a:blip r:embed="rId10">
            <a:extLst>
              <a:ext uri="{28A0092B-C50C-407E-A947-70E740481C1C}">
                <a14:useLocalDpi xmlns:a14="http://schemas.microsoft.com/office/drawing/2010/main" val="0"/>
              </a:ext>
            </a:extLst>
          </a:blip>
          <a:stretch>
            <a:fillRect/>
          </a:stretch>
        </p:blipFill>
        <p:spPr>
          <a:xfrm>
            <a:off x="11674818" y="172800"/>
            <a:ext cx="298705" cy="289561"/>
          </a:xfrm>
          <a:prstGeom prst="rect">
            <a:avLst/>
          </a:prstGeom>
        </p:spPr>
      </p:pic>
      <p:pic>
        <p:nvPicPr>
          <p:cNvPr id="13" name="Grote brede afbeelding">
            <a:extLst>
              <a:ext uri="{FF2B5EF4-FFF2-40B4-BE49-F238E27FC236}">
                <a16:creationId xmlns:a16="http://schemas.microsoft.com/office/drawing/2014/main" id="{D631AE56-DF32-4A75-B721-6F1FFB3AE775}"/>
              </a:ext>
            </a:extLst>
          </p:cNvPr>
          <p:cNvPicPr>
            <a:picLocks noChangeAspect="1"/>
          </p:cNvPicPr>
          <p:nvPr>
            <p:custDataLst>
              <p:tags r:id="rId4"/>
            </p:custDataLst>
          </p:nvPr>
        </p:nvPicPr>
        <p:blipFill rotWithShape="1">
          <a:blip r:embed="rId11" cstate="hqprint">
            <a:extLst>
              <a:ext uri="{28A0092B-C50C-407E-A947-70E740481C1C}">
                <a14:useLocalDpi xmlns:a14="http://schemas.microsoft.com/office/drawing/2010/main" val="0"/>
              </a:ext>
            </a:extLst>
          </a:blip>
          <a:srcRect l="8662" r="53476"/>
          <a:stretch/>
        </p:blipFill>
        <p:spPr>
          <a:xfrm>
            <a:off x="9492961" y="0"/>
            <a:ext cx="2692744" cy="6858000"/>
          </a:xfrm>
          <a:prstGeom prst="rect">
            <a:avLst/>
          </a:prstGeom>
        </p:spPr>
      </p:pic>
      <p:sp>
        <p:nvSpPr>
          <p:cNvPr id="15" name="Rechthoek 14">
            <a:extLst>
              <a:ext uri="{FF2B5EF4-FFF2-40B4-BE49-F238E27FC236}">
                <a16:creationId xmlns:a16="http://schemas.microsoft.com/office/drawing/2014/main" id="{06F3BFB6-933A-464E-8EE3-B3BE54FE6D5B}"/>
              </a:ext>
            </a:extLst>
          </p:cNvPr>
          <p:cNvSpPr/>
          <p:nvPr/>
        </p:nvSpPr>
        <p:spPr>
          <a:xfrm>
            <a:off x="9106794" y="-15341"/>
            <a:ext cx="3085205" cy="6888682"/>
          </a:xfrm>
          <a:prstGeom prst="rect">
            <a:avLst/>
          </a:prstGeom>
          <a:solidFill>
            <a:srgbClr val="FFFFFF">
              <a:alpha val="6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pic>
        <p:nvPicPr>
          <p:cNvPr id="17" name="Vorm-3-Seinpost-A-T-P5">
            <a:extLst>
              <a:ext uri="{FF2B5EF4-FFF2-40B4-BE49-F238E27FC236}">
                <a16:creationId xmlns:a16="http://schemas.microsoft.com/office/drawing/2014/main" id="{6638FA02-2E30-4907-8830-B83FF6DAFC06}"/>
              </a:ext>
            </a:extLst>
          </p:cNvPr>
          <p:cNvPicPr>
            <a:picLocks noChangeAspect="1"/>
          </p:cNvPicPr>
          <p:nvPr>
            <p:custDataLst>
              <p:tags r:id="rId5"/>
            </p:custDataLst>
          </p:nvPr>
        </p:nvPicPr>
        <p:blipFill>
          <a:blip r:embed="rId12">
            <a:extLst>
              <a:ext uri="{28A0092B-C50C-407E-A947-70E740481C1C}">
                <a14:useLocalDpi xmlns:a14="http://schemas.microsoft.com/office/drawing/2010/main" val="0"/>
              </a:ext>
            </a:extLst>
          </a:blip>
          <a:stretch>
            <a:fillRect/>
          </a:stretch>
        </p:blipFill>
        <p:spPr>
          <a:xfrm>
            <a:off x="8362812" y="2407231"/>
            <a:ext cx="3085205" cy="2196214"/>
          </a:xfrm>
          <a:prstGeom prst="rect">
            <a:avLst/>
          </a:prstGeom>
        </p:spPr>
      </p:pic>
      <p:sp>
        <p:nvSpPr>
          <p:cNvPr id="18" name="Citaat rechts">
            <a:extLst>
              <a:ext uri="{FF2B5EF4-FFF2-40B4-BE49-F238E27FC236}">
                <a16:creationId xmlns:a16="http://schemas.microsoft.com/office/drawing/2014/main" id="{E9070061-7FC3-4DAC-A69B-04719F0D0E6F}"/>
              </a:ext>
            </a:extLst>
          </p:cNvPr>
          <p:cNvSpPr txBox="1"/>
          <p:nvPr>
            <p:custDataLst>
              <p:tags r:id="rId6"/>
            </p:custDataLst>
          </p:nvPr>
        </p:nvSpPr>
        <p:spPr>
          <a:xfrm>
            <a:off x="8465412" y="2528998"/>
            <a:ext cx="2411695" cy="1936676"/>
          </a:xfrm>
          <a:prstGeom prst="rect">
            <a:avLst/>
          </a:prstGeom>
          <a:noFill/>
        </p:spPr>
        <p:txBody>
          <a:bodyPr vert="horz" lIns="0" tIns="0" rIns="0" bIns="0" rtlCol="0" anchor="t">
            <a:noAutofit/>
          </a:bodyPr>
          <a:lstStyle/>
          <a:p>
            <a:pPr>
              <a:lnSpc>
                <a:spcPts val="2300"/>
              </a:lnSpc>
            </a:pPr>
            <a:r>
              <a:rPr lang="nl-NL" sz="1600" i="1" dirty="0">
                <a:solidFill>
                  <a:srgbClr val="FFFFFF"/>
                </a:solidFill>
                <a:latin typeface="Open Sans" panose="020B0606030504020204" pitchFamily="34" charset="0"/>
              </a:rPr>
              <a:t>Uiteindelijk willen we dat ondernemers, vastgoed-eigenaren en de gemeente gezamenlijk aan de slag gaan om uitvoering te geven aan de visie!</a:t>
            </a:r>
          </a:p>
        </p:txBody>
      </p:sp>
      <p:pic>
        <p:nvPicPr>
          <p:cNvPr id="19" name="Paginanummer Seinpost">
            <a:extLst>
              <a:ext uri="{FF2B5EF4-FFF2-40B4-BE49-F238E27FC236}">
                <a16:creationId xmlns:a16="http://schemas.microsoft.com/office/drawing/2014/main" id="{A7577A13-2643-4AEE-9BB5-7D1C62BF4FE2}"/>
              </a:ext>
            </a:extLst>
          </p:cNvPr>
          <p:cNvPicPr>
            <a:picLocks noChangeAspect="1"/>
          </p:cNvPicPr>
          <p:nvPr>
            <p:custDataLst>
              <p:tags r:id="rId7"/>
            </p:custDataLst>
          </p:nvPr>
        </p:nvPicPr>
        <p:blipFill>
          <a:blip r:embed="rId10">
            <a:extLst>
              <a:ext uri="{28A0092B-C50C-407E-A947-70E740481C1C}">
                <a14:useLocalDpi xmlns:a14="http://schemas.microsoft.com/office/drawing/2010/main" val="0"/>
              </a:ext>
            </a:extLst>
          </a:blip>
          <a:stretch>
            <a:fillRect/>
          </a:stretch>
        </p:blipFill>
        <p:spPr>
          <a:xfrm>
            <a:off x="11674818" y="172800"/>
            <a:ext cx="298705" cy="289561"/>
          </a:xfrm>
          <a:prstGeom prst="rect">
            <a:avLst/>
          </a:prstGeom>
        </p:spPr>
      </p:pic>
      <p:sp>
        <p:nvSpPr>
          <p:cNvPr id="20" name="Paginanummer Seinpost">
            <a:extLst>
              <a:ext uri="{FF2B5EF4-FFF2-40B4-BE49-F238E27FC236}">
                <a16:creationId xmlns:a16="http://schemas.microsoft.com/office/drawing/2014/main" id="{BB524241-6B5D-41D5-9263-C715503E84E7}"/>
              </a:ext>
            </a:extLst>
          </p:cNvPr>
          <p:cNvSpPr txBox="1">
            <a:spLocks/>
          </p:cNvSpPr>
          <p:nvPr>
            <p:custDataLst>
              <p:tags r:id="rId8"/>
            </p:custDataLst>
          </p:nvPr>
        </p:nvSpPr>
        <p:spPr>
          <a:xfrm>
            <a:off x="11628018" y="252000"/>
            <a:ext cx="381601" cy="244800"/>
          </a:xfrm>
          <a:prstGeom prst="rect">
            <a:avLst/>
          </a:prstGeom>
          <a:noFill/>
        </p:spPr>
        <p:txBody>
          <a:bodyPr vert="horz" lIns="0" tIns="0" rIns="0" bIns="0" rtlCol="0" anchor="t">
            <a:noAutofit/>
          </a:bodyPr>
          <a:lstStyle/>
          <a:p>
            <a:pPr algn="ctr"/>
            <a:r>
              <a:rPr lang="nl-NL" sz="1000" b="1">
                <a:solidFill>
                  <a:srgbClr val="62366E"/>
                </a:solidFill>
                <a:latin typeface="Open Sans" panose="020B0606030504020204" pitchFamily="34" charset="0"/>
              </a:rPr>
              <a:t>2</a:t>
            </a:r>
          </a:p>
        </p:txBody>
      </p:sp>
    </p:spTree>
    <p:extLst>
      <p:ext uri="{BB962C8B-B14F-4D97-AF65-F5344CB8AC3E}">
        <p14:creationId xmlns:p14="http://schemas.microsoft.com/office/powerpoint/2010/main" val="375710125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3" name="Picture 111" descr="Diagram, engineering drawing&#10;&#10;Description automatically generated">
            <a:extLst>
              <a:ext uri="{FF2B5EF4-FFF2-40B4-BE49-F238E27FC236}">
                <a16:creationId xmlns:a16="http://schemas.microsoft.com/office/drawing/2014/main" id="{961A0440-8260-477B-85BB-016EEA0FA0F3}"/>
              </a:ext>
            </a:extLst>
          </p:cNvPr>
          <p:cNvPicPr>
            <a:picLocks noChangeAspect="1"/>
          </p:cNvPicPr>
          <p:nvPr/>
        </p:nvPicPr>
        <p:blipFill rotWithShape="1">
          <a:blip r:embed="rId55">
            <a:extLst>
              <a:ext uri="{28A0092B-C50C-407E-A947-70E740481C1C}">
                <a14:useLocalDpi xmlns:a14="http://schemas.microsoft.com/office/drawing/2010/main" val="0"/>
              </a:ext>
            </a:extLst>
          </a:blip>
          <a:srcRect l="12282" r="16581"/>
          <a:stretch/>
        </p:blipFill>
        <p:spPr>
          <a:xfrm>
            <a:off x="6437769" y="316375"/>
            <a:ext cx="5381625" cy="6418903"/>
          </a:xfrm>
          <a:prstGeom prst="rect">
            <a:avLst/>
          </a:prstGeom>
          <a:ln>
            <a:solidFill>
              <a:schemeClr val="tx1"/>
            </a:solidFill>
          </a:ln>
        </p:spPr>
      </p:pic>
      <p:sp>
        <p:nvSpPr>
          <p:cNvPr id="145" name="Ovaal 144">
            <a:extLst>
              <a:ext uri="{FF2B5EF4-FFF2-40B4-BE49-F238E27FC236}">
                <a16:creationId xmlns:a16="http://schemas.microsoft.com/office/drawing/2014/main" id="{538C74A8-3F82-46D3-8F9C-404CDF1FE6A7}"/>
              </a:ext>
            </a:extLst>
          </p:cNvPr>
          <p:cNvSpPr/>
          <p:nvPr/>
        </p:nvSpPr>
        <p:spPr>
          <a:xfrm rot="19787095">
            <a:off x="8221751" y="4846251"/>
            <a:ext cx="962025" cy="571088"/>
          </a:xfrm>
          <a:custGeom>
            <a:avLst/>
            <a:gdLst>
              <a:gd name="connsiteX0" fmla="*/ 0 w 962025"/>
              <a:gd name="connsiteY0" fmla="*/ 285544 h 571088"/>
              <a:gd name="connsiteX1" fmla="*/ 481013 w 962025"/>
              <a:gd name="connsiteY1" fmla="*/ 0 h 571088"/>
              <a:gd name="connsiteX2" fmla="*/ 962026 w 962025"/>
              <a:gd name="connsiteY2" fmla="*/ 285544 h 571088"/>
              <a:gd name="connsiteX3" fmla="*/ 481013 w 962025"/>
              <a:gd name="connsiteY3" fmla="*/ 571088 h 571088"/>
              <a:gd name="connsiteX4" fmla="*/ 0 w 962025"/>
              <a:gd name="connsiteY4" fmla="*/ 285544 h 5710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62025" h="571088" fill="none" extrusionOk="0">
                <a:moveTo>
                  <a:pt x="0" y="285544"/>
                </a:moveTo>
                <a:cubicBezTo>
                  <a:pt x="13892" y="147464"/>
                  <a:pt x="162099" y="-6482"/>
                  <a:pt x="481013" y="0"/>
                </a:cubicBezTo>
                <a:cubicBezTo>
                  <a:pt x="764061" y="27883"/>
                  <a:pt x="975469" y="114686"/>
                  <a:pt x="962026" y="285544"/>
                </a:cubicBezTo>
                <a:cubicBezTo>
                  <a:pt x="952825" y="430623"/>
                  <a:pt x="800915" y="575181"/>
                  <a:pt x="481013" y="571088"/>
                </a:cubicBezTo>
                <a:cubicBezTo>
                  <a:pt x="188208" y="601951"/>
                  <a:pt x="-21382" y="432845"/>
                  <a:pt x="0" y="285544"/>
                </a:cubicBezTo>
                <a:close/>
              </a:path>
              <a:path w="962025" h="571088" stroke="0" extrusionOk="0">
                <a:moveTo>
                  <a:pt x="0" y="285544"/>
                </a:moveTo>
                <a:cubicBezTo>
                  <a:pt x="-5438" y="130323"/>
                  <a:pt x="267944" y="2167"/>
                  <a:pt x="481013" y="0"/>
                </a:cubicBezTo>
                <a:cubicBezTo>
                  <a:pt x="744467" y="11007"/>
                  <a:pt x="975934" y="86133"/>
                  <a:pt x="962026" y="285544"/>
                </a:cubicBezTo>
                <a:cubicBezTo>
                  <a:pt x="907139" y="433650"/>
                  <a:pt x="764095" y="567672"/>
                  <a:pt x="481013" y="571088"/>
                </a:cubicBezTo>
                <a:cubicBezTo>
                  <a:pt x="217662" y="537004"/>
                  <a:pt x="-16090" y="408565"/>
                  <a:pt x="0" y="285544"/>
                </a:cubicBezTo>
                <a:close/>
              </a:path>
            </a:pathLst>
          </a:custGeom>
          <a:solidFill>
            <a:srgbClr val="67B2E8">
              <a:alpha val="50196"/>
            </a:srgbClr>
          </a:solidFill>
          <a:ln w="19050">
            <a:solidFill>
              <a:schemeClr val="accent2">
                <a:lumMod val="50000"/>
              </a:schemeClr>
            </a:solidFill>
            <a:prstDash val="lgDash"/>
            <a:extLst>
              <a:ext uri="{C807C97D-BFC1-408E-A445-0C87EB9F89A2}">
                <ask:lineSketchStyleProps xmlns:ask="http://schemas.microsoft.com/office/drawing/2018/sketchyshapes" sd="378522932">
                  <a:prstGeom prst="ellipse">
                    <a:avLst/>
                  </a:prstGeom>
                  <ask:type>
                    <ask:lineSketchScribble/>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51" name="Ovaal 10">
            <a:extLst>
              <a:ext uri="{FF2B5EF4-FFF2-40B4-BE49-F238E27FC236}">
                <a16:creationId xmlns:a16="http://schemas.microsoft.com/office/drawing/2014/main" id="{1E8F29E0-8AFE-4D0F-B978-EBEE8F02C8CA}"/>
              </a:ext>
            </a:extLst>
          </p:cNvPr>
          <p:cNvSpPr/>
          <p:nvPr/>
        </p:nvSpPr>
        <p:spPr>
          <a:xfrm rot="606373">
            <a:off x="8170098" y="1727825"/>
            <a:ext cx="1005378" cy="3587738"/>
          </a:xfrm>
          <a:custGeom>
            <a:avLst/>
            <a:gdLst>
              <a:gd name="connsiteX0" fmla="*/ 0 w 946926"/>
              <a:gd name="connsiteY0" fmla="*/ 1669257 h 3338513"/>
              <a:gd name="connsiteX1" fmla="*/ 473463 w 946926"/>
              <a:gd name="connsiteY1" fmla="*/ 0 h 3338513"/>
              <a:gd name="connsiteX2" fmla="*/ 946926 w 946926"/>
              <a:gd name="connsiteY2" fmla="*/ 1669257 h 3338513"/>
              <a:gd name="connsiteX3" fmla="*/ 473463 w 946926"/>
              <a:gd name="connsiteY3" fmla="*/ 3338514 h 3338513"/>
              <a:gd name="connsiteX4" fmla="*/ 0 w 946926"/>
              <a:gd name="connsiteY4" fmla="*/ 1669257 h 3338513"/>
              <a:gd name="connsiteX0" fmla="*/ 104949 w 1051875"/>
              <a:gd name="connsiteY0" fmla="*/ 1669257 h 3498566"/>
              <a:gd name="connsiteX1" fmla="*/ 578412 w 1051875"/>
              <a:gd name="connsiteY1" fmla="*/ 0 h 3498566"/>
              <a:gd name="connsiteX2" fmla="*/ 1051875 w 1051875"/>
              <a:gd name="connsiteY2" fmla="*/ 1669257 h 3498566"/>
              <a:gd name="connsiteX3" fmla="*/ 578412 w 1051875"/>
              <a:gd name="connsiteY3" fmla="*/ 3338514 h 3498566"/>
              <a:gd name="connsiteX4" fmla="*/ 37651 w 1051875"/>
              <a:gd name="connsiteY4" fmla="*/ 3242728 h 3498566"/>
              <a:gd name="connsiteX5" fmla="*/ 104949 w 1051875"/>
              <a:gd name="connsiteY5" fmla="*/ 1669257 h 3498566"/>
              <a:gd name="connsiteX0" fmla="*/ 232888 w 1032014"/>
              <a:gd name="connsiteY0" fmla="*/ 1307467 h 3501749"/>
              <a:gd name="connsiteX1" fmla="*/ 558551 w 1032014"/>
              <a:gd name="connsiteY1" fmla="*/ 3183 h 3501749"/>
              <a:gd name="connsiteX2" fmla="*/ 1032014 w 1032014"/>
              <a:gd name="connsiteY2" fmla="*/ 1672440 h 3501749"/>
              <a:gd name="connsiteX3" fmla="*/ 558551 w 1032014"/>
              <a:gd name="connsiteY3" fmla="*/ 3341697 h 3501749"/>
              <a:gd name="connsiteX4" fmla="*/ 17790 w 1032014"/>
              <a:gd name="connsiteY4" fmla="*/ 3245911 h 3501749"/>
              <a:gd name="connsiteX5" fmla="*/ 232888 w 1032014"/>
              <a:gd name="connsiteY5" fmla="*/ 1307467 h 3501749"/>
              <a:gd name="connsiteX0" fmla="*/ 232888 w 1036057"/>
              <a:gd name="connsiteY0" fmla="*/ 1412927 h 3607209"/>
              <a:gd name="connsiteX1" fmla="*/ 558551 w 1036057"/>
              <a:gd name="connsiteY1" fmla="*/ 108643 h 3607209"/>
              <a:gd name="connsiteX2" fmla="*/ 841253 w 1036057"/>
              <a:gd name="connsiteY2" fmla="*/ 263362 h 3607209"/>
              <a:gd name="connsiteX3" fmla="*/ 1032014 w 1036057"/>
              <a:gd name="connsiteY3" fmla="*/ 1777900 h 3607209"/>
              <a:gd name="connsiteX4" fmla="*/ 558551 w 1036057"/>
              <a:gd name="connsiteY4" fmla="*/ 3447157 h 3607209"/>
              <a:gd name="connsiteX5" fmla="*/ 17790 w 1036057"/>
              <a:gd name="connsiteY5" fmla="*/ 3351371 h 3607209"/>
              <a:gd name="connsiteX6" fmla="*/ 232888 w 1036057"/>
              <a:gd name="connsiteY6" fmla="*/ 1412927 h 3607209"/>
              <a:gd name="connsiteX0" fmla="*/ 230669 w 1033838"/>
              <a:gd name="connsiteY0" fmla="*/ 1341761 h 3536043"/>
              <a:gd name="connsiteX1" fmla="*/ 314560 w 1033838"/>
              <a:gd name="connsiteY1" fmla="*/ 343728 h 3536043"/>
              <a:gd name="connsiteX2" fmla="*/ 556332 w 1033838"/>
              <a:gd name="connsiteY2" fmla="*/ 37477 h 3536043"/>
              <a:gd name="connsiteX3" fmla="*/ 839034 w 1033838"/>
              <a:gd name="connsiteY3" fmla="*/ 192196 h 3536043"/>
              <a:gd name="connsiteX4" fmla="*/ 1029795 w 1033838"/>
              <a:gd name="connsiteY4" fmla="*/ 1706734 h 3536043"/>
              <a:gd name="connsiteX5" fmla="*/ 556332 w 1033838"/>
              <a:gd name="connsiteY5" fmla="*/ 3375991 h 3536043"/>
              <a:gd name="connsiteX6" fmla="*/ 15571 w 1033838"/>
              <a:gd name="connsiteY6" fmla="*/ 3280205 h 3536043"/>
              <a:gd name="connsiteX7" fmla="*/ 230669 w 1033838"/>
              <a:gd name="connsiteY7" fmla="*/ 1341761 h 3536043"/>
              <a:gd name="connsiteX0" fmla="*/ 230669 w 1033838"/>
              <a:gd name="connsiteY0" fmla="*/ 1306773 h 3501055"/>
              <a:gd name="connsiteX1" fmla="*/ 314560 w 1033838"/>
              <a:gd name="connsiteY1" fmla="*/ 308740 h 3501055"/>
              <a:gd name="connsiteX2" fmla="*/ 530523 w 1033838"/>
              <a:gd name="connsiteY2" fmla="*/ 74815 h 3501055"/>
              <a:gd name="connsiteX3" fmla="*/ 839034 w 1033838"/>
              <a:gd name="connsiteY3" fmla="*/ 157208 h 3501055"/>
              <a:gd name="connsiteX4" fmla="*/ 1029795 w 1033838"/>
              <a:gd name="connsiteY4" fmla="*/ 1671746 h 3501055"/>
              <a:gd name="connsiteX5" fmla="*/ 556332 w 1033838"/>
              <a:gd name="connsiteY5" fmla="*/ 3341003 h 3501055"/>
              <a:gd name="connsiteX6" fmla="*/ 15571 w 1033838"/>
              <a:gd name="connsiteY6" fmla="*/ 3245217 h 3501055"/>
              <a:gd name="connsiteX7" fmla="*/ 230669 w 1033838"/>
              <a:gd name="connsiteY7" fmla="*/ 1306773 h 3501055"/>
              <a:gd name="connsiteX0" fmla="*/ 230669 w 1033548"/>
              <a:gd name="connsiteY0" fmla="*/ 1306773 h 3404596"/>
              <a:gd name="connsiteX1" fmla="*/ 314560 w 1033548"/>
              <a:gd name="connsiteY1" fmla="*/ 308740 h 3404596"/>
              <a:gd name="connsiteX2" fmla="*/ 530523 w 1033548"/>
              <a:gd name="connsiteY2" fmla="*/ 74815 h 3404596"/>
              <a:gd name="connsiteX3" fmla="*/ 839034 w 1033548"/>
              <a:gd name="connsiteY3" fmla="*/ 157208 h 3404596"/>
              <a:gd name="connsiteX4" fmla="*/ 1029795 w 1033548"/>
              <a:gd name="connsiteY4" fmla="*/ 1671746 h 3404596"/>
              <a:gd name="connsiteX5" fmla="*/ 760965 w 1033548"/>
              <a:gd name="connsiteY5" fmla="*/ 3155086 h 3404596"/>
              <a:gd name="connsiteX6" fmla="*/ 556332 w 1033548"/>
              <a:gd name="connsiteY6" fmla="*/ 3341003 h 3404596"/>
              <a:gd name="connsiteX7" fmla="*/ 15571 w 1033548"/>
              <a:gd name="connsiteY7" fmla="*/ 3245217 h 3404596"/>
              <a:gd name="connsiteX8" fmla="*/ 230669 w 1033548"/>
              <a:gd name="connsiteY8" fmla="*/ 1306773 h 3404596"/>
              <a:gd name="connsiteX0" fmla="*/ 229374 w 1032253"/>
              <a:gd name="connsiteY0" fmla="*/ 1306773 h 3372214"/>
              <a:gd name="connsiteX1" fmla="*/ 313265 w 1032253"/>
              <a:gd name="connsiteY1" fmla="*/ 308740 h 3372214"/>
              <a:gd name="connsiteX2" fmla="*/ 529228 w 1032253"/>
              <a:gd name="connsiteY2" fmla="*/ 74815 h 3372214"/>
              <a:gd name="connsiteX3" fmla="*/ 837739 w 1032253"/>
              <a:gd name="connsiteY3" fmla="*/ 157208 h 3372214"/>
              <a:gd name="connsiteX4" fmla="*/ 1028500 w 1032253"/>
              <a:gd name="connsiteY4" fmla="*/ 1671746 h 3372214"/>
              <a:gd name="connsiteX5" fmla="*/ 759670 w 1032253"/>
              <a:gd name="connsiteY5" fmla="*/ 3155086 h 3372214"/>
              <a:gd name="connsiteX6" fmla="*/ 555037 w 1032253"/>
              <a:gd name="connsiteY6" fmla="*/ 3341003 h 3372214"/>
              <a:gd name="connsiteX7" fmla="*/ 14276 w 1032253"/>
              <a:gd name="connsiteY7" fmla="*/ 3245217 h 3372214"/>
              <a:gd name="connsiteX8" fmla="*/ 204072 w 1032253"/>
              <a:gd name="connsiteY8" fmla="*/ 2209203 h 3372214"/>
              <a:gd name="connsiteX9" fmla="*/ 229374 w 1032253"/>
              <a:gd name="connsiteY9" fmla="*/ 1306773 h 3372214"/>
              <a:gd name="connsiteX0" fmla="*/ 231939 w 1034818"/>
              <a:gd name="connsiteY0" fmla="*/ 1306773 h 3349218"/>
              <a:gd name="connsiteX1" fmla="*/ 315830 w 1034818"/>
              <a:gd name="connsiteY1" fmla="*/ 308740 h 3349218"/>
              <a:gd name="connsiteX2" fmla="*/ 531793 w 1034818"/>
              <a:gd name="connsiteY2" fmla="*/ 74815 h 3349218"/>
              <a:gd name="connsiteX3" fmla="*/ 840304 w 1034818"/>
              <a:gd name="connsiteY3" fmla="*/ 157208 h 3349218"/>
              <a:gd name="connsiteX4" fmla="*/ 1031065 w 1034818"/>
              <a:gd name="connsiteY4" fmla="*/ 1671746 h 3349218"/>
              <a:gd name="connsiteX5" fmla="*/ 762235 w 1034818"/>
              <a:gd name="connsiteY5" fmla="*/ 3155086 h 3349218"/>
              <a:gd name="connsiteX6" fmla="*/ 557602 w 1034818"/>
              <a:gd name="connsiteY6" fmla="*/ 3341003 h 3349218"/>
              <a:gd name="connsiteX7" fmla="*/ 16841 w 1034818"/>
              <a:gd name="connsiteY7" fmla="*/ 3245217 h 3349218"/>
              <a:gd name="connsiteX8" fmla="*/ 173317 w 1034818"/>
              <a:gd name="connsiteY8" fmla="*/ 2727923 h 3349218"/>
              <a:gd name="connsiteX9" fmla="*/ 206637 w 1034818"/>
              <a:gd name="connsiteY9" fmla="*/ 2209203 h 3349218"/>
              <a:gd name="connsiteX10" fmla="*/ 231939 w 1034818"/>
              <a:gd name="connsiteY10" fmla="*/ 1306773 h 3349218"/>
              <a:gd name="connsiteX0" fmla="*/ 231939 w 1034818"/>
              <a:gd name="connsiteY0" fmla="*/ 1306773 h 3460498"/>
              <a:gd name="connsiteX1" fmla="*/ 315830 w 1034818"/>
              <a:gd name="connsiteY1" fmla="*/ 308740 h 3460498"/>
              <a:gd name="connsiteX2" fmla="*/ 531793 w 1034818"/>
              <a:gd name="connsiteY2" fmla="*/ 74815 h 3460498"/>
              <a:gd name="connsiteX3" fmla="*/ 840304 w 1034818"/>
              <a:gd name="connsiteY3" fmla="*/ 157208 h 3460498"/>
              <a:gd name="connsiteX4" fmla="*/ 1031065 w 1034818"/>
              <a:gd name="connsiteY4" fmla="*/ 1671746 h 3460498"/>
              <a:gd name="connsiteX5" fmla="*/ 762235 w 1034818"/>
              <a:gd name="connsiteY5" fmla="*/ 3155086 h 3460498"/>
              <a:gd name="connsiteX6" fmla="*/ 491592 w 1034818"/>
              <a:gd name="connsiteY6" fmla="*/ 3459195 h 3460498"/>
              <a:gd name="connsiteX7" fmla="*/ 16841 w 1034818"/>
              <a:gd name="connsiteY7" fmla="*/ 3245217 h 3460498"/>
              <a:gd name="connsiteX8" fmla="*/ 173317 w 1034818"/>
              <a:gd name="connsiteY8" fmla="*/ 2727923 h 3460498"/>
              <a:gd name="connsiteX9" fmla="*/ 206637 w 1034818"/>
              <a:gd name="connsiteY9" fmla="*/ 2209203 h 3460498"/>
              <a:gd name="connsiteX10" fmla="*/ 231939 w 1034818"/>
              <a:gd name="connsiteY10" fmla="*/ 1306773 h 3460498"/>
              <a:gd name="connsiteX0" fmla="*/ 231939 w 1034818"/>
              <a:gd name="connsiteY0" fmla="*/ 1306773 h 3461993"/>
              <a:gd name="connsiteX1" fmla="*/ 315830 w 1034818"/>
              <a:gd name="connsiteY1" fmla="*/ 308740 h 3461993"/>
              <a:gd name="connsiteX2" fmla="*/ 531793 w 1034818"/>
              <a:gd name="connsiteY2" fmla="*/ 74815 h 3461993"/>
              <a:gd name="connsiteX3" fmla="*/ 840304 w 1034818"/>
              <a:gd name="connsiteY3" fmla="*/ 157208 h 3461993"/>
              <a:gd name="connsiteX4" fmla="*/ 1031065 w 1034818"/>
              <a:gd name="connsiteY4" fmla="*/ 1671746 h 3461993"/>
              <a:gd name="connsiteX5" fmla="*/ 762235 w 1034818"/>
              <a:gd name="connsiteY5" fmla="*/ 3155086 h 3461993"/>
              <a:gd name="connsiteX6" fmla="*/ 491592 w 1034818"/>
              <a:gd name="connsiteY6" fmla="*/ 3459195 h 3461993"/>
              <a:gd name="connsiteX7" fmla="*/ 16841 w 1034818"/>
              <a:gd name="connsiteY7" fmla="*/ 3245217 h 3461993"/>
              <a:gd name="connsiteX8" fmla="*/ 173317 w 1034818"/>
              <a:gd name="connsiteY8" fmla="*/ 2727923 h 3461993"/>
              <a:gd name="connsiteX9" fmla="*/ 206637 w 1034818"/>
              <a:gd name="connsiteY9" fmla="*/ 2209203 h 3461993"/>
              <a:gd name="connsiteX10" fmla="*/ 231939 w 1034818"/>
              <a:gd name="connsiteY10" fmla="*/ 1306773 h 3461993"/>
              <a:gd name="connsiteX0" fmla="*/ 231939 w 1034818"/>
              <a:gd name="connsiteY0" fmla="*/ 1306773 h 3587738"/>
              <a:gd name="connsiteX1" fmla="*/ 315830 w 1034818"/>
              <a:gd name="connsiteY1" fmla="*/ 308740 h 3587738"/>
              <a:gd name="connsiteX2" fmla="*/ 531793 w 1034818"/>
              <a:gd name="connsiteY2" fmla="*/ 74815 h 3587738"/>
              <a:gd name="connsiteX3" fmla="*/ 840304 w 1034818"/>
              <a:gd name="connsiteY3" fmla="*/ 157208 h 3587738"/>
              <a:gd name="connsiteX4" fmla="*/ 1031065 w 1034818"/>
              <a:gd name="connsiteY4" fmla="*/ 1671746 h 3587738"/>
              <a:gd name="connsiteX5" fmla="*/ 762235 w 1034818"/>
              <a:gd name="connsiteY5" fmla="*/ 3155086 h 3587738"/>
              <a:gd name="connsiteX6" fmla="*/ 427254 w 1034818"/>
              <a:gd name="connsiteY6" fmla="*/ 3586764 h 3587738"/>
              <a:gd name="connsiteX7" fmla="*/ 16841 w 1034818"/>
              <a:gd name="connsiteY7" fmla="*/ 3245217 h 3587738"/>
              <a:gd name="connsiteX8" fmla="*/ 173317 w 1034818"/>
              <a:gd name="connsiteY8" fmla="*/ 2727923 h 3587738"/>
              <a:gd name="connsiteX9" fmla="*/ 206637 w 1034818"/>
              <a:gd name="connsiteY9" fmla="*/ 2209203 h 3587738"/>
              <a:gd name="connsiteX10" fmla="*/ 231939 w 1034818"/>
              <a:gd name="connsiteY10" fmla="*/ 1306773 h 3587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34818" h="3587738">
                <a:moveTo>
                  <a:pt x="231939" y="1306773"/>
                </a:moveTo>
                <a:cubicBezTo>
                  <a:pt x="250138" y="990029"/>
                  <a:pt x="261553" y="526121"/>
                  <a:pt x="315830" y="308740"/>
                </a:cubicBezTo>
                <a:cubicBezTo>
                  <a:pt x="370107" y="91359"/>
                  <a:pt x="444381" y="100070"/>
                  <a:pt x="531793" y="74815"/>
                </a:cubicBezTo>
                <a:cubicBezTo>
                  <a:pt x="619205" y="49560"/>
                  <a:pt x="761394" y="-121002"/>
                  <a:pt x="840304" y="157208"/>
                </a:cubicBezTo>
                <a:cubicBezTo>
                  <a:pt x="919215" y="435418"/>
                  <a:pt x="1059535" y="1177407"/>
                  <a:pt x="1031065" y="1671746"/>
                </a:cubicBezTo>
                <a:cubicBezTo>
                  <a:pt x="1002595" y="2166085"/>
                  <a:pt x="841146" y="2876877"/>
                  <a:pt x="762235" y="3155086"/>
                </a:cubicBezTo>
                <a:cubicBezTo>
                  <a:pt x="683325" y="3433296"/>
                  <a:pt x="489188" y="3602197"/>
                  <a:pt x="427254" y="3586764"/>
                </a:cubicBezTo>
                <a:cubicBezTo>
                  <a:pt x="365320" y="3571331"/>
                  <a:pt x="92216" y="3356666"/>
                  <a:pt x="16841" y="3245217"/>
                </a:cubicBezTo>
                <a:cubicBezTo>
                  <a:pt x="-58534" y="3133768"/>
                  <a:pt x="141684" y="2900592"/>
                  <a:pt x="173317" y="2727923"/>
                </a:cubicBezTo>
                <a:cubicBezTo>
                  <a:pt x="204950" y="2555254"/>
                  <a:pt x="185540" y="2436793"/>
                  <a:pt x="206637" y="2209203"/>
                </a:cubicBezTo>
                <a:cubicBezTo>
                  <a:pt x="242487" y="1886129"/>
                  <a:pt x="213740" y="1623517"/>
                  <a:pt x="231939" y="1306773"/>
                </a:cubicBezTo>
                <a:close/>
              </a:path>
            </a:pathLst>
          </a:custGeom>
          <a:solidFill>
            <a:schemeClr val="accent4">
              <a:lumMod val="60000"/>
              <a:lumOff val="40000"/>
              <a:alpha val="50000"/>
            </a:schemeClr>
          </a:solidFill>
          <a:ln w="19050">
            <a:solidFill>
              <a:schemeClr val="accent4">
                <a:lumMod val="50000"/>
              </a:schemeClr>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52" name="Ovaal 151">
            <a:extLst>
              <a:ext uri="{FF2B5EF4-FFF2-40B4-BE49-F238E27FC236}">
                <a16:creationId xmlns:a16="http://schemas.microsoft.com/office/drawing/2014/main" id="{9E4FD8D5-9DD9-4C54-99D3-82E5B8DE304C}"/>
              </a:ext>
            </a:extLst>
          </p:cNvPr>
          <p:cNvSpPr/>
          <p:nvPr/>
        </p:nvSpPr>
        <p:spPr>
          <a:xfrm rot="651834">
            <a:off x="8800761" y="2325452"/>
            <a:ext cx="404813" cy="638587"/>
          </a:xfrm>
          <a:custGeom>
            <a:avLst/>
            <a:gdLst>
              <a:gd name="connsiteX0" fmla="*/ 0 w 404813"/>
              <a:gd name="connsiteY0" fmla="*/ 319294 h 638587"/>
              <a:gd name="connsiteX1" fmla="*/ 202407 w 404813"/>
              <a:gd name="connsiteY1" fmla="*/ 0 h 638587"/>
              <a:gd name="connsiteX2" fmla="*/ 404814 w 404813"/>
              <a:gd name="connsiteY2" fmla="*/ 319294 h 638587"/>
              <a:gd name="connsiteX3" fmla="*/ 202407 w 404813"/>
              <a:gd name="connsiteY3" fmla="*/ 638588 h 638587"/>
              <a:gd name="connsiteX4" fmla="*/ 0 w 404813"/>
              <a:gd name="connsiteY4" fmla="*/ 319294 h 6385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4813" h="638587" fill="none" extrusionOk="0">
                <a:moveTo>
                  <a:pt x="0" y="319294"/>
                </a:moveTo>
                <a:cubicBezTo>
                  <a:pt x="5587" y="145475"/>
                  <a:pt x="82698" y="-11820"/>
                  <a:pt x="202407" y="0"/>
                </a:cubicBezTo>
                <a:cubicBezTo>
                  <a:pt x="325096" y="31346"/>
                  <a:pt x="367070" y="127993"/>
                  <a:pt x="404814" y="319294"/>
                </a:cubicBezTo>
                <a:cubicBezTo>
                  <a:pt x="412177" y="492111"/>
                  <a:pt x="320552" y="647823"/>
                  <a:pt x="202407" y="638588"/>
                </a:cubicBezTo>
                <a:cubicBezTo>
                  <a:pt x="101140" y="598697"/>
                  <a:pt x="2982" y="470959"/>
                  <a:pt x="0" y="319294"/>
                </a:cubicBezTo>
                <a:close/>
              </a:path>
              <a:path w="404813" h="638587" stroke="0" extrusionOk="0">
                <a:moveTo>
                  <a:pt x="0" y="319294"/>
                </a:moveTo>
                <a:cubicBezTo>
                  <a:pt x="7359" y="138006"/>
                  <a:pt x="83062" y="810"/>
                  <a:pt x="202407" y="0"/>
                </a:cubicBezTo>
                <a:cubicBezTo>
                  <a:pt x="326641" y="-22425"/>
                  <a:pt x="395708" y="166190"/>
                  <a:pt x="404814" y="319294"/>
                </a:cubicBezTo>
                <a:cubicBezTo>
                  <a:pt x="389144" y="510403"/>
                  <a:pt x="294049" y="644166"/>
                  <a:pt x="202407" y="638588"/>
                </a:cubicBezTo>
                <a:cubicBezTo>
                  <a:pt x="93781" y="602158"/>
                  <a:pt x="-13212" y="507303"/>
                  <a:pt x="0" y="319294"/>
                </a:cubicBezTo>
                <a:close/>
              </a:path>
            </a:pathLst>
          </a:custGeom>
          <a:solidFill>
            <a:srgbClr val="62366E">
              <a:alpha val="50196"/>
            </a:srgbClr>
          </a:solidFill>
          <a:ln w="19050">
            <a:solidFill>
              <a:schemeClr val="accent1"/>
            </a:solidFill>
            <a:prstDash val="lgDash"/>
            <a:extLst>
              <a:ext uri="{C807C97D-BFC1-408E-A445-0C87EB9F89A2}">
                <ask:lineSketchStyleProps xmlns:ask="http://schemas.microsoft.com/office/drawing/2018/sketchyshapes" sd="1935646484">
                  <a:prstGeom prst="ellipse">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53" name="Ovaal 152">
            <a:extLst>
              <a:ext uri="{FF2B5EF4-FFF2-40B4-BE49-F238E27FC236}">
                <a16:creationId xmlns:a16="http://schemas.microsoft.com/office/drawing/2014/main" id="{32137888-4488-4E37-81E8-4832A328B32E}"/>
              </a:ext>
            </a:extLst>
          </p:cNvPr>
          <p:cNvSpPr/>
          <p:nvPr/>
        </p:nvSpPr>
        <p:spPr>
          <a:xfrm rot="1177676">
            <a:off x="9248005" y="1845286"/>
            <a:ext cx="1120065" cy="824325"/>
          </a:xfrm>
          <a:custGeom>
            <a:avLst/>
            <a:gdLst>
              <a:gd name="connsiteX0" fmla="*/ 0 w 1120065"/>
              <a:gd name="connsiteY0" fmla="*/ 412163 h 824325"/>
              <a:gd name="connsiteX1" fmla="*/ 560033 w 1120065"/>
              <a:gd name="connsiteY1" fmla="*/ 0 h 824325"/>
              <a:gd name="connsiteX2" fmla="*/ 1120066 w 1120065"/>
              <a:gd name="connsiteY2" fmla="*/ 412163 h 824325"/>
              <a:gd name="connsiteX3" fmla="*/ 560033 w 1120065"/>
              <a:gd name="connsiteY3" fmla="*/ 824326 h 824325"/>
              <a:gd name="connsiteX4" fmla="*/ 0 w 1120065"/>
              <a:gd name="connsiteY4" fmla="*/ 412163 h 8243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20065" h="824325" fill="none" extrusionOk="0">
                <a:moveTo>
                  <a:pt x="0" y="412163"/>
                </a:moveTo>
                <a:cubicBezTo>
                  <a:pt x="-7979" y="251689"/>
                  <a:pt x="239423" y="-88093"/>
                  <a:pt x="560033" y="0"/>
                </a:cubicBezTo>
                <a:cubicBezTo>
                  <a:pt x="874259" y="-43109"/>
                  <a:pt x="1169754" y="155711"/>
                  <a:pt x="1120066" y="412163"/>
                </a:cubicBezTo>
                <a:cubicBezTo>
                  <a:pt x="1161638" y="712069"/>
                  <a:pt x="932795" y="875233"/>
                  <a:pt x="560033" y="824326"/>
                </a:cubicBezTo>
                <a:cubicBezTo>
                  <a:pt x="283216" y="846254"/>
                  <a:pt x="49399" y="654351"/>
                  <a:pt x="0" y="412163"/>
                </a:cubicBezTo>
                <a:close/>
              </a:path>
              <a:path w="1120065" h="824325" stroke="0" extrusionOk="0">
                <a:moveTo>
                  <a:pt x="0" y="412163"/>
                </a:moveTo>
                <a:cubicBezTo>
                  <a:pt x="15127" y="194124"/>
                  <a:pt x="310107" y="-39020"/>
                  <a:pt x="560033" y="0"/>
                </a:cubicBezTo>
                <a:cubicBezTo>
                  <a:pt x="845648" y="-24985"/>
                  <a:pt x="1103020" y="191431"/>
                  <a:pt x="1120066" y="412163"/>
                </a:cubicBezTo>
                <a:cubicBezTo>
                  <a:pt x="1116453" y="610666"/>
                  <a:pt x="819396" y="779863"/>
                  <a:pt x="560033" y="824326"/>
                </a:cubicBezTo>
                <a:cubicBezTo>
                  <a:pt x="262805" y="856935"/>
                  <a:pt x="4488" y="636861"/>
                  <a:pt x="0" y="412163"/>
                </a:cubicBezTo>
                <a:close/>
              </a:path>
            </a:pathLst>
          </a:custGeom>
          <a:solidFill>
            <a:srgbClr val="67B2E8">
              <a:alpha val="50196"/>
            </a:srgbClr>
          </a:solidFill>
          <a:ln w="19050">
            <a:solidFill>
              <a:schemeClr val="accent2">
                <a:lumMod val="50000"/>
              </a:schemeClr>
            </a:solidFill>
            <a:prstDash val="lgDash"/>
            <a:extLst>
              <a:ext uri="{C807C97D-BFC1-408E-A445-0C87EB9F89A2}">
                <ask:lineSketchStyleProps xmlns:ask="http://schemas.microsoft.com/office/drawing/2018/sketchyshapes" sd="3401541704">
                  <a:prstGeom prst="ellipse">
                    <a:avLst/>
                  </a:prstGeom>
                  <ask:type>
                    <ask:lineSketchScribble/>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58" name="Rechthoek: afgeronde hoeken 13">
            <a:extLst>
              <a:ext uri="{FF2B5EF4-FFF2-40B4-BE49-F238E27FC236}">
                <a16:creationId xmlns:a16="http://schemas.microsoft.com/office/drawing/2014/main" id="{097437B4-B0A3-4AC6-94EA-7E3A10EDF9CB}"/>
              </a:ext>
            </a:extLst>
          </p:cNvPr>
          <p:cNvSpPr/>
          <p:nvPr/>
        </p:nvSpPr>
        <p:spPr>
          <a:xfrm rot="21153609">
            <a:off x="10095606" y="751526"/>
            <a:ext cx="290185" cy="979329"/>
          </a:xfrm>
          <a:custGeom>
            <a:avLst/>
            <a:gdLst>
              <a:gd name="connsiteX0" fmla="*/ 1438 w 290185"/>
              <a:gd name="connsiteY0" fmla="*/ 31103 h 979329"/>
              <a:gd name="connsiteX1" fmla="*/ 66934 w 290185"/>
              <a:gd name="connsiteY1" fmla="*/ 0 h 979329"/>
              <a:gd name="connsiteX2" fmla="*/ 167290 w 290185"/>
              <a:gd name="connsiteY2" fmla="*/ 40325 h 979329"/>
              <a:gd name="connsiteX3" fmla="*/ 216753 w 290185"/>
              <a:gd name="connsiteY3" fmla="*/ 96893 h 979329"/>
              <a:gd name="connsiteX4" fmla="*/ 250203 w 290185"/>
              <a:gd name="connsiteY4" fmla="*/ 186161 h 979329"/>
              <a:gd name="connsiteX5" fmla="*/ 289420 w 290185"/>
              <a:gd name="connsiteY5" fmla="*/ 429548 h 979329"/>
              <a:gd name="connsiteX6" fmla="*/ 280704 w 290185"/>
              <a:gd name="connsiteY6" fmla="*/ 513502 h 979329"/>
              <a:gd name="connsiteX7" fmla="*/ 272706 w 290185"/>
              <a:gd name="connsiteY7" fmla="*/ 672286 h 979329"/>
              <a:gd name="connsiteX8" fmla="*/ 244470 w 290185"/>
              <a:gd name="connsiteY8" fmla="*/ 882795 h 979329"/>
              <a:gd name="connsiteX9" fmla="*/ 187455 w 290185"/>
              <a:gd name="connsiteY9" fmla="*/ 979329 h 979329"/>
              <a:gd name="connsiteX10" fmla="*/ 45817 w 290185"/>
              <a:gd name="connsiteY10" fmla="*/ 977052 h 979329"/>
              <a:gd name="connsiteX11" fmla="*/ 18915 w 290185"/>
              <a:gd name="connsiteY11" fmla="*/ 915648 h 979329"/>
              <a:gd name="connsiteX12" fmla="*/ 38053 w 290185"/>
              <a:gd name="connsiteY12" fmla="*/ 497121 h 979329"/>
              <a:gd name="connsiteX13" fmla="*/ 1438 w 290185"/>
              <a:gd name="connsiteY13" fmla="*/ 31103 h 9793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90185" h="979329" fill="none" extrusionOk="0">
                <a:moveTo>
                  <a:pt x="1438" y="31103"/>
                </a:moveTo>
                <a:cubicBezTo>
                  <a:pt x="902" y="3999"/>
                  <a:pt x="44407" y="4121"/>
                  <a:pt x="66934" y="0"/>
                </a:cubicBezTo>
                <a:cubicBezTo>
                  <a:pt x="112426" y="14824"/>
                  <a:pt x="135867" y="23999"/>
                  <a:pt x="167290" y="40325"/>
                </a:cubicBezTo>
                <a:cubicBezTo>
                  <a:pt x="187727" y="35684"/>
                  <a:pt x="218113" y="70274"/>
                  <a:pt x="216753" y="96893"/>
                </a:cubicBezTo>
                <a:cubicBezTo>
                  <a:pt x="227384" y="123498"/>
                  <a:pt x="237826" y="129839"/>
                  <a:pt x="250203" y="186161"/>
                </a:cubicBezTo>
                <a:cubicBezTo>
                  <a:pt x="259832" y="253675"/>
                  <a:pt x="283304" y="373751"/>
                  <a:pt x="289420" y="429548"/>
                </a:cubicBezTo>
                <a:cubicBezTo>
                  <a:pt x="294717" y="490098"/>
                  <a:pt x="283368" y="477350"/>
                  <a:pt x="280704" y="513502"/>
                </a:cubicBezTo>
                <a:cubicBezTo>
                  <a:pt x="280873" y="549156"/>
                  <a:pt x="275284" y="622449"/>
                  <a:pt x="272706" y="672286"/>
                </a:cubicBezTo>
                <a:cubicBezTo>
                  <a:pt x="261657" y="732088"/>
                  <a:pt x="254769" y="787896"/>
                  <a:pt x="244470" y="882795"/>
                </a:cubicBezTo>
                <a:cubicBezTo>
                  <a:pt x="243253" y="908774"/>
                  <a:pt x="210878" y="978183"/>
                  <a:pt x="187455" y="979329"/>
                </a:cubicBezTo>
                <a:cubicBezTo>
                  <a:pt x="158928" y="983107"/>
                  <a:pt x="76093" y="970760"/>
                  <a:pt x="45817" y="977052"/>
                </a:cubicBezTo>
                <a:cubicBezTo>
                  <a:pt x="26233" y="975414"/>
                  <a:pt x="17153" y="942603"/>
                  <a:pt x="18915" y="915648"/>
                </a:cubicBezTo>
                <a:cubicBezTo>
                  <a:pt x="-20230" y="834110"/>
                  <a:pt x="26433" y="637344"/>
                  <a:pt x="38053" y="497121"/>
                </a:cubicBezTo>
                <a:cubicBezTo>
                  <a:pt x="20589" y="363776"/>
                  <a:pt x="3198" y="126485"/>
                  <a:pt x="1438" y="31103"/>
                </a:cubicBezTo>
                <a:close/>
              </a:path>
              <a:path w="290185" h="979329" stroke="0" extrusionOk="0">
                <a:moveTo>
                  <a:pt x="1438" y="31103"/>
                </a:moveTo>
                <a:cubicBezTo>
                  <a:pt x="3125" y="83"/>
                  <a:pt x="43795" y="-88"/>
                  <a:pt x="66934" y="0"/>
                </a:cubicBezTo>
                <a:cubicBezTo>
                  <a:pt x="106499" y="15137"/>
                  <a:pt x="116901" y="21496"/>
                  <a:pt x="167290" y="40325"/>
                </a:cubicBezTo>
                <a:cubicBezTo>
                  <a:pt x="187954" y="37261"/>
                  <a:pt x="211488" y="73431"/>
                  <a:pt x="216753" y="96893"/>
                </a:cubicBezTo>
                <a:cubicBezTo>
                  <a:pt x="227725" y="123261"/>
                  <a:pt x="241578" y="128636"/>
                  <a:pt x="250203" y="186161"/>
                </a:cubicBezTo>
                <a:cubicBezTo>
                  <a:pt x="262304" y="245359"/>
                  <a:pt x="288366" y="374695"/>
                  <a:pt x="289420" y="429548"/>
                </a:cubicBezTo>
                <a:cubicBezTo>
                  <a:pt x="291058" y="484804"/>
                  <a:pt x="281560" y="473814"/>
                  <a:pt x="280704" y="513502"/>
                </a:cubicBezTo>
                <a:cubicBezTo>
                  <a:pt x="280764" y="564544"/>
                  <a:pt x="279359" y="598440"/>
                  <a:pt x="272706" y="672286"/>
                </a:cubicBezTo>
                <a:cubicBezTo>
                  <a:pt x="256380" y="727517"/>
                  <a:pt x="258118" y="814419"/>
                  <a:pt x="244470" y="882795"/>
                </a:cubicBezTo>
                <a:cubicBezTo>
                  <a:pt x="240782" y="906256"/>
                  <a:pt x="206411" y="978424"/>
                  <a:pt x="187455" y="979329"/>
                </a:cubicBezTo>
                <a:cubicBezTo>
                  <a:pt x="132256" y="971481"/>
                  <a:pt x="114089" y="978126"/>
                  <a:pt x="45817" y="977052"/>
                </a:cubicBezTo>
                <a:cubicBezTo>
                  <a:pt x="23573" y="979271"/>
                  <a:pt x="15264" y="941794"/>
                  <a:pt x="18915" y="915648"/>
                </a:cubicBezTo>
                <a:cubicBezTo>
                  <a:pt x="-3186" y="830999"/>
                  <a:pt x="27244" y="638573"/>
                  <a:pt x="38053" y="497121"/>
                </a:cubicBezTo>
                <a:cubicBezTo>
                  <a:pt x="55531" y="348923"/>
                  <a:pt x="-4778" y="103397"/>
                  <a:pt x="1438" y="31103"/>
                </a:cubicBezTo>
                <a:close/>
              </a:path>
            </a:pathLst>
          </a:custGeom>
          <a:solidFill>
            <a:schemeClr val="accent3">
              <a:lumMod val="75000"/>
              <a:alpha val="50196"/>
            </a:schemeClr>
          </a:solidFill>
          <a:ln w="19050">
            <a:solidFill>
              <a:schemeClr val="accent3">
                <a:lumMod val="50000"/>
              </a:schemeClr>
            </a:solidFill>
            <a:prstDash val="lgDash"/>
            <a:extLst>
              <a:ext uri="{C807C97D-BFC1-408E-A445-0C87EB9F89A2}">
                <ask:lineSketchStyleProps xmlns:ask="http://schemas.microsoft.com/office/drawing/2018/sketchyshapes" sd="1270709264">
                  <a:custGeom>
                    <a:avLst/>
                    <a:gdLst>
                      <a:gd name="connsiteX0" fmla="*/ 0 w 290126"/>
                      <a:gd name="connsiteY0" fmla="*/ 48355 h 920750"/>
                      <a:gd name="connsiteX1" fmla="*/ 48355 w 290126"/>
                      <a:gd name="connsiteY1" fmla="*/ 0 h 920750"/>
                      <a:gd name="connsiteX2" fmla="*/ 241771 w 290126"/>
                      <a:gd name="connsiteY2" fmla="*/ 0 h 920750"/>
                      <a:gd name="connsiteX3" fmla="*/ 290126 w 290126"/>
                      <a:gd name="connsiteY3" fmla="*/ 48355 h 920750"/>
                      <a:gd name="connsiteX4" fmla="*/ 290126 w 290126"/>
                      <a:gd name="connsiteY4" fmla="*/ 872395 h 920750"/>
                      <a:gd name="connsiteX5" fmla="*/ 241771 w 290126"/>
                      <a:gd name="connsiteY5" fmla="*/ 920750 h 920750"/>
                      <a:gd name="connsiteX6" fmla="*/ 48355 w 290126"/>
                      <a:gd name="connsiteY6" fmla="*/ 920750 h 920750"/>
                      <a:gd name="connsiteX7" fmla="*/ 0 w 290126"/>
                      <a:gd name="connsiteY7" fmla="*/ 872395 h 920750"/>
                      <a:gd name="connsiteX8" fmla="*/ 0 w 290126"/>
                      <a:gd name="connsiteY8" fmla="*/ 48355 h 920750"/>
                      <a:gd name="connsiteX0" fmla="*/ 0 w 300252"/>
                      <a:gd name="connsiteY0" fmla="*/ 27821 h 920750"/>
                      <a:gd name="connsiteX1" fmla="*/ 58481 w 300252"/>
                      <a:gd name="connsiteY1" fmla="*/ 0 h 920750"/>
                      <a:gd name="connsiteX2" fmla="*/ 251897 w 300252"/>
                      <a:gd name="connsiteY2" fmla="*/ 0 h 920750"/>
                      <a:gd name="connsiteX3" fmla="*/ 300252 w 300252"/>
                      <a:gd name="connsiteY3" fmla="*/ 48355 h 920750"/>
                      <a:gd name="connsiteX4" fmla="*/ 300252 w 300252"/>
                      <a:gd name="connsiteY4" fmla="*/ 872395 h 920750"/>
                      <a:gd name="connsiteX5" fmla="*/ 251897 w 300252"/>
                      <a:gd name="connsiteY5" fmla="*/ 920750 h 920750"/>
                      <a:gd name="connsiteX6" fmla="*/ 58481 w 300252"/>
                      <a:gd name="connsiteY6" fmla="*/ 920750 h 920750"/>
                      <a:gd name="connsiteX7" fmla="*/ 10126 w 300252"/>
                      <a:gd name="connsiteY7" fmla="*/ 872395 h 920750"/>
                      <a:gd name="connsiteX8" fmla="*/ 0 w 300252"/>
                      <a:gd name="connsiteY8" fmla="*/ 27821 h 920750"/>
                      <a:gd name="connsiteX0" fmla="*/ 0 w 300252"/>
                      <a:gd name="connsiteY0" fmla="*/ 27821 h 920750"/>
                      <a:gd name="connsiteX1" fmla="*/ 58481 w 300252"/>
                      <a:gd name="connsiteY1" fmla="*/ 0 h 920750"/>
                      <a:gd name="connsiteX2" fmla="*/ 251897 w 300252"/>
                      <a:gd name="connsiteY2" fmla="*/ 0 h 920750"/>
                      <a:gd name="connsiteX3" fmla="*/ 300252 w 300252"/>
                      <a:gd name="connsiteY3" fmla="*/ 48355 h 920750"/>
                      <a:gd name="connsiteX4" fmla="*/ 265488 w 300252"/>
                      <a:gd name="connsiteY4" fmla="*/ 844374 h 920750"/>
                      <a:gd name="connsiteX5" fmla="*/ 251897 w 300252"/>
                      <a:gd name="connsiteY5" fmla="*/ 920750 h 920750"/>
                      <a:gd name="connsiteX6" fmla="*/ 58481 w 300252"/>
                      <a:gd name="connsiteY6" fmla="*/ 920750 h 920750"/>
                      <a:gd name="connsiteX7" fmla="*/ 10126 w 300252"/>
                      <a:gd name="connsiteY7" fmla="*/ 872395 h 920750"/>
                      <a:gd name="connsiteX8" fmla="*/ 0 w 300252"/>
                      <a:gd name="connsiteY8" fmla="*/ 27821 h 920750"/>
                      <a:gd name="connsiteX0" fmla="*/ 0 w 300252"/>
                      <a:gd name="connsiteY0" fmla="*/ 27821 h 940908"/>
                      <a:gd name="connsiteX1" fmla="*/ 58481 w 300252"/>
                      <a:gd name="connsiteY1" fmla="*/ 0 h 940908"/>
                      <a:gd name="connsiteX2" fmla="*/ 251897 w 300252"/>
                      <a:gd name="connsiteY2" fmla="*/ 0 h 940908"/>
                      <a:gd name="connsiteX3" fmla="*/ 300252 w 300252"/>
                      <a:gd name="connsiteY3" fmla="*/ 48355 h 940908"/>
                      <a:gd name="connsiteX4" fmla="*/ 265488 w 300252"/>
                      <a:gd name="connsiteY4" fmla="*/ 844374 h 940908"/>
                      <a:gd name="connsiteX5" fmla="*/ 193764 w 300252"/>
                      <a:gd name="connsiteY5" fmla="*/ 940908 h 940908"/>
                      <a:gd name="connsiteX6" fmla="*/ 58481 w 300252"/>
                      <a:gd name="connsiteY6" fmla="*/ 920750 h 940908"/>
                      <a:gd name="connsiteX7" fmla="*/ 10126 w 300252"/>
                      <a:gd name="connsiteY7" fmla="*/ 872395 h 940908"/>
                      <a:gd name="connsiteX8" fmla="*/ 0 w 300252"/>
                      <a:gd name="connsiteY8" fmla="*/ 27821 h 940908"/>
                      <a:gd name="connsiteX0" fmla="*/ 0 w 300252"/>
                      <a:gd name="connsiteY0" fmla="*/ 27821 h 940908"/>
                      <a:gd name="connsiteX1" fmla="*/ 58481 w 300252"/>
                      <a:gd name="connsiteY1" fmla="*/ 0 h 940908"/>
                      <a:gd name="connsiteX2" fmla="*/ 251897 w 300252"/>
                      <a:gd name="connsiteY2" fmla="*/ 0 h 940908"/>
                      <a:gd name="connsiteX3" fmla="*/ 300252 w 300252"/>
                      <a:gd name="connsiteY3" fmla="*/ 48355 h 940908"/>
                      <a:gd name="connsiteX4" fmla="*/ 265488 w 300252"/>
                      <a:gd name="connsiteY4" fmla="*/ 844374 h 940908"/>
                      <a:gd name="connsiteX5" fmla="*/ 193764 w 300252"/>
                      <a:gd name="connsiteY5" fmla="*/ 940908 h 940908"/>
                      <a:gd name="connsiteX6" fmla="*/ 15588 w 300252"/>
                      <a:gd name="connsiteY6" fmla="*/ 938631 h 940908"/>
                      <a:gd name="connsiteX7" fmla="*/ 10126 w 300252"/>
                      <a:gd name="connsiteY7" fmla="*/ 872395 h 940908"/>
                      <a:gd name="connsiteX8" fmla="*/ 0 w 300252"/>
                      <a:gd name="connsiteY8" fmla="*/ 27821 h 940908"/>
                      <a:gd name="connsiteX0" fmla="*/ 18254 w 318506"/>
                      <a:gd name="connsiteY0" fmla="*/ 27821 h 940908"/>
                      <a:gd name="connsiteX1" fmla="*/ 76735 w 318506"/>
                      <a:gd name="connsiteY1" fmla="*/ 0 h 940908"/>
                      <a:gd name="connsiteX2" fmla="*/ 270151 w 318506"/>
                      <a:gd name="connsiteY2" fmla="*/ 0 h 940908"/>
                      <a:gd name="connsiteX3" fmla="*/ 318506 w 318506"/>
                      <a:gd name="connsiteY3" fmla="*/ 48355 h 940908"/>
                      <a:gd name="connsiteX4" fmla="*/ 283742 w 318506"/>
                      <a:gd name="connsiteY4" fmla="*/ 844374 h 940908"/>
                      <a:gd name="connsiteX5" fmla="*/ 212018 w 318506"/>
                      <a:gd name="connsiteY5" fmla="*/ 940908 h 940908"/>
                      <a:gd name="connsiteX6" fmla="*/ 33842 w 318506"/>
                      <a:gd name="connsiteY6" fmla="*/ 938631 h 940908"/>
                      <a:gd name="connsiteX7" fmla="*/ 0 w 318506"/>
                      <a:gd name="connsiteY7" fmla="*/ 877227 h 940908"/>
                      <a:gd name="connsiteX8" fmla="*/ 18254 w 318506"/>
                      <a:gd name="connsiteY8" fmla="*/ 27821 h 940908"/>
                      <a:gd name="connsiteX0" fmla="*/ 0 w 340491"/>
                      <a:gd name="connsiteY0" fmla="*/ 10229 h 958455"/>
                      <a:gd name="connsiteX1" fmla="*/ 98720 w 340491"/>
                      <a:gd name="connsiteY1" fmla="*/ 17547 h 958455"/>
                      <a:gd name="connsiteX2" fmla="*/ 292136 w 340491"/>
                      <a:gd name="connsiteY2" fmla="*/ 17547 h 958455"/>
                      <a:gd name="connsiteX3" fmla="*/ 340491 w 340491"/>
                      <a:gd name="connsiteY3" fmla="*/ 65902 h 958455"/>
                      <a:gd name="connsiteX4" fmla="*/ 305727 w 340491"/>
                      <a:gd name="connsiteY4" fmla="*/ 861921 h 958455"/>
                      <a:gd name="connsiteX5" fmla="*/ 234003 w 340491"/>
                      <a:gd name="connsiteY5" fmla="*/ 958455 h 958455"/>
                      <a:gd name="connsiteX6" fmla="*/ 55827 w 340491"/>
                      <a:gd name="connsiteY6" fmla="*/ 956178 h 958455"/>
                      <a:gd name="connsiteX7" fmla="*/ 21985 w 340491"/>
                      <a:gd name="connsiteY7" fmla="*/ 894774 h 958455"/>
                      <a:gd name="connsiteX8" fmla="*/ 0 w 340491"/>
                      <a:gd name="connsiteY8" fmla="*/ 10229 h 958455"/>
                      <a:gd name="connsiteX0" fmla="*/ 0 w 340491"/>
                      <a:gd name="connsiteY0" fmla="*/ 31103 h 979329"/>
                      <a:gd name="connsiteX1" fmla="*/ 82391 w 340491"/>
                      <a:gd name="connsiteY1" fmla="*/ 0 h 979329"/>
                      <a:gd name="connsiteX2" fmla="*/ 292136 w 340491"/>
                      <a:gd name="connsiteY2" fmla="*/ 38421 h 979329"/>
                      <a:gd name="connsiteX3" fmla="*/ 340491 w 340491"/>
                      <a:gd name="connsiteY3" fmla="*/ 86776 h 979329"/>
                      <a:gd name="connsiteX4" fmla="*/ 305727 w 340491"/>
                      <a:gd name="connsiteY4" fmla="*/ 882795 h 979329"/>
                      <a:gd name="connsiteX5" fmla="*/ 234003 w 340491"/>
                      <a:gd name="connsiteY5" fmla="*/ 979329 h 979329"/>
                      <a:gd name="connsiteX6" fmla="*/ 55827 w 340491"/>
                      <a:gd name="connsiteY6" fmla="*/ 977052 h 979329"/>
                      <a:gd name="connsiteX7" fmla="*/ 21985 w 340491"/>
                      <a:gd name="connsiteY7" fmla="*/ 915648 h 979329"/>
                      <a:gd name="connsiteX8" fmla="*/ 0 w 340491"/>
                      <a:gd name="connsiteY8" fmla="*/ 31103 h 979329"/>
                      <a:gd name="connsiteX0" fmla="*/ 0 w 305727"/>
                      <a:gd name="connsiteY0" fmla="*/ 31103 h 979329"/>
                      <a:gd name="connsiteX1" fmla="*/ 82391 w 305727"/>
                      <a:gd name="connsiteY1" fmla="*/ 0 h 979329"/>
                      <a:gd name="connsiteX2" fmla="*/ 292136 w 305727"/>
                      <a:gd name="connsiteY2" fmla="*/ 38421 h 979329"/>
                      <a:gd name="connsiteX3" fmla="*/ 288748 w 305727"/>
                      <a:gd name="connsiteY3" fmla="*/ 90690 h 979329"/>
                      <a:gd name="connsiteX4" fmla="*/ 305727 w 305727"/>
                      <a:gd name="connsiteY4" fmla="*/ 882795 h 979329"/>
                      <a:gd name="connsiteX5" fmla="*/ 234003 w 305727"/>
                      <a:gd name="connsiteY5" fmla="*/ 979329 h 979329"/>
                      <a:gd name="connsiteX6" fmla="*/ 55827 w 305727"/>
                      <a:gd name="connsiteY6" fmla="*/ 977052 h 979329"/>
                      <a:gd name="connsiteX7" fmla="*/ 21985 w 305727"/>
                      <a:gd name="connsiteY7" fmla="*/ 915648 h 979329"/>
                      <a:gd name="connsiteX8" fmla="*/ 0 w 305727"/>
                      <a:gd name="connsiteY8" fmla="*/ 31103 h 979329"/>
                      <a:gd name="connsiteX0" fmla="*/ 0 w 305727"/>
                      <a:gd name="connsiteY0" fmla="*/ 31103 h 979329"/>
                      <a:gd name="connsiteX1" fmla="*/ 82391 w 305727"/>
                      <a:gd name="connsiteY1" fmla="*/ 0 h 979329"/>
                      <a:gd name="connsiteX2" fmla="*/ 208636 w 305727"/>
                      <a:gd name="connsiteY2" fmla="*/ 40325 h 979329"/>
                      <a:gd name="connsiteX3" fmla="*/ 288748 w 305727"/>
                      <a:gd name="connsiteY3" fmla="*/ 90690 h 979329"/>
                      <a:gd name="connsiteX4" fmla="*/ 305727 w 305727"/>
                      <a:gd name="connsiteY4" fmla="*/ 882795 h 979329"/>
                      <a:gd name="connsiteX5" fmla="*/ 234003 w 305727"/>
                      <a:gd name="connsiteY5" fmla="*/ 979329 h 979329"/>
                      <a:gd name="connsiteX6" fmla="*/ 55827 w 305727"/>
                      <a:gd name="connsiteY6" fmla="*/ 977052 h 979329"/>
                      <a:gd name="connsiteX7" fmla="*/ 21985 w 305727"/>
                      <a:gd name="connsiteY7" fmla="*/ 915648 h 979329"/>
                      <a:gd name="connsiteX8" fmla="*/ 0 w 305727"/>
                      <a:gd name="connsiteY8" fmla="*/ 31103 h 979329"/>
                      <a:gd name="connsiteX0" fmla="*/ 0 w 305727"/>
                      <a:gd name="connsiteY0" fmla="*/ 31103 h 979329"/>
                      <a:gd name="connsiteX1" fmla="*/ 82391 w 305727"/>
                      <a:gd name="connsiteY1" fmla="*/ 0 h 979329"/>
                      <a:gd name="connsiteX2" fmla="*/ 208636 w 305727"/>
                      <a:gd name="connsiteY2" fmla="*/ 40325 h 979329"/>
                      <a:gd name="connsiteX3" fmla="*/ 270859 w 305727"/>
                      <a:gd name="connsiteY3" fmla="*/ 96893 h 979329"/>
                      <a:gd name="connsiteX4" fmla="*/ 305727 w 305727"/>
                      <a:gd name="connsiteY4" fmla="*/ 882795 h 979329"/>
                      <a:gd name="connsiteX5" fmla="*/ 234003 w 305727"/>
                      <a:gd name="connsiteY5" fmla="*/ 979329 h 979329"/>
                      <a:gd name="connsiteX6" fmla="*/ 55827 w 305727"/>
                      <a:gd name="connsiteY6" fmla="*/ 977052 h 979329"/>
                      <a:gd name="connsiteX7" fmla="*/ 21985 w 305727"/>
                      <a:gd name="connsiteY7" fmla="*/ 915648 h 979329"/>
                      <a:gd name="connsiteX8" fmla="*/ 0 w 305727"/>
                      <a:gd name="connsiteY8" fmla="*/ 31103 h 979329"/>
                      <a:gd name="connsiteX0" fmla="*/ 1810 w 307537"/>
                      <a:gd name="connsiteY0" fmla="*/ 31103 h 979329"/>
                      <a:gd name="connsiteX1" fmla="*/ 84201 w 307537"/>
                      <a:gd name="connsiteY1" fmla="*/ 0 h 979329"/>
                      <a:gd name="connsiteX2" fmla="*/ 210446 w 307537"/>
                      <a:gd name="connsiteY2" fmla="*/ 40325 h 979329"/>
                      <a:gd name="connsiteX3" fmla="*/ 272669 w 307537"/>
                      <a:gd name="connsiteY3" fmla="*/ 96893 h 979329"/>
                      <a:gd name="connsiteX4" fmla="*/ 307537 w 307537"/>
                      <a:gd name="connsiteY4" fmla="*/ 882795 h 979329"/>
                      <a:gd name="connsiteX5" fmla="*/ 235813 w 307537"/>
                      <a:gd name="connsiteY5" fmla="*/ 979329 h 979329"/>
                      <a:gd name="connsiteX6" fmla="*/ 57637 w 307537"/>
                      <a:gd name="connsiteY6" fmla="*/ 977052 h 979329"/>
                      <a:gd name="connsiteX7" fmla="*/ 23795 w 307537"/>
                      <a:gd name="connsiteY7" fmla="*/ 915648 h 979329"/>
                      <a:gd name="connsiteX8" fmla="*/ 47870 w 307537"/>
                      <a:gd name="connsiteY8" fmla="*/ 497121 h 979329"/>
                      <a:gd name="connsiteX9" fmla="*/ 1810 w 307537"/>
                      <a:gd name="connsiteY9" fmla="*/ 31103 h 979329"/>
                      <a:gd name="connsiteX0" fmla="*/ 1810 w 341174"/>
                      <a:gd name="connsiteY0" fmla="*/ 31103 h 979329"/>
                      <a:gd name="connsiteX1" fmla="*/ 84201 w 341174"/>
                      <a:gd name="connsiteY1" fmla="*/ 0 h 979329"/>
                      <a:gd name="connsiteX2" fmla="*/ 210446 w 341174"/>
                      <a:gd name="connsiteY2" fmla="*/ 40325 h 979329"/>
                      <a:gd name="connsiteX3" fmla="*/ 272669 w 341174"/>
                      <a:gd name="connsiteY3" fmla="*/ 96893 h 979329"/>
                      <a:gd name="connsiteX4" fmla="*/ 341174 w 341174"/>
                      <a:gd name="connsiteY4" fmla="*/ 441499 h 979329"/>
                      <a:gd name="connsiteX5" fmla="*/ 307537 w 341174"/>
                      <a:gd name="connsiteY5" fmla="*/ 882795 h 979329"/>
                      <a:gd name="connsiteX6" fmla="*/ 235813 w 341174"/>
                      <a:gd name="connsiteY6" fmla="*/ 979329 h 979329"/>
                      <a:gd name="connsiteX7" fmla="*/ 57637 w 341174"/>
                      <a:gd name="connsiteY7" fmla="*/ 977052 h 979329"/>
                      <a:gd name="connsiteX8" fmla="*/ 23795 w 341174"/>
                      <a:gd name="connsiteY8" fmla="*/ 915648 h 979329"/>
                      <a:gd name="connsiteX9" fmla="*/ 47870 w 341174"/>
                      <a:gd name="connsiteY9" fmla="*/ 497121 h 979329"/>
                      <a:gd name="connsiteX10" fmla="*/ 1810 w 341174"/>
                      <a:gd name="connsiteY10" fmla="*/ 31103 h 979329"/>
                      <a:gd name="connsiteX0" fmla="*/ 1810 w 341174"/>
                      <a:gd name="connsiteY0" fmla="*/ 31103 h 979329"/>
                      <a:gd name="connsiteX1" fmla="*/ 84201 w 341174"/>
                      <a:gd name="connsiteY1" fmla="*/ 0 h 979329"/>
                      <a:gd name="connsiteX2" fmla="*/ 210446 w 341174"/>
                      <a:gd name="connsiteY2" fmla="*/ 40325 h 979329"/>
                      <a:gd name="connsiteX3" fmla="*/ 272669 w 341174"/>
                      <a:gd name="connsiteY3" fmla="*/ 96893 h 979329"/>
                      <a:gd name="connsiteX4" fmla="*/ 314748 w 341174"/>
                      <a:gd name="connsiteY4" fmla="*/ 186161 h 979329"/>
                      <a:gd name="connsiteX5" fmla="*/ 341174 w 341174"/>
                      <a:gd name="connsiteY5" fmla="*/ 441499 h 979329"/>
                      <a:gd name="connsiteX6" fmla="*/ 307537 w 341174"/>
                      <a:gd name="connsiteY6" fmla="*/ 882795 h 979329"/>
                      <a:gd name="connsiteX7" fmla="*/ 235813 w 341174"/>
                      <a:gd name="connsiteY7" fmla="*/ 979329 h 979329"/>
                      <a:gd name="connsiteX8" fmla="*/ 57637 w 341174"/>
                      <a:gd name="connsiteY8" fmla="*/ 977052 h 979329"/>
                      <a:gd name="connsiteX9" fmla="*/ 23795 w 341174"/>
                      <a:gd name="connsiteY9" fmla="*/ 915648 h 979329"/>
                      <a:gd name="connsiteX10" fmla="*/ 47870 w 341174"/>
                      <a:gd name="connsiteY10" fmla="*/ 497121 h 979329"/>
                      <a:gd name="connsiteX11" fmla="*/ 1810 w 341174"/>
                      <a:gd name="connsiteY11" fmla="*/ 31103 h 979329"/>
                      <a:gd name="connsiteX0" fmla="*/ 1810 w 344398"/>
                      <a:gd name="connsiteY0" fmla="*/ 31103 h 979329"/>
                      <a:gd name="connsiteX1" fmla="*/ 84201 w 344398"/>
                      <a:gd name="connsiteY1" fmla="*/ 0 h 979329"/>
                      <a:gd name="connsiteX2" fmla="*/ 210446 w 344398"/>
                      <a:gd name="connsiteY2" fmla="*/ 40325 h 979329"/>
                      <a:gd name="connsiteX3" fmla="*/ 272669 w 344398"/>
                      <a:gd name="connsiteY3" fmla="*/ 96893 h 979329"/>
                      <a:gd name="connsiteX4" fmla="*/ 314748 w 344398"/>
                      <a:gd name="connsiteY4" fmla="*/ 186161 h 979329"/>
                      <a:gd name="connsiteX5" fmla="*/ 341174 w 344398"/>
                      <a:gd name="connsiteY5" fmla="*/ 441499 h 979329"/>
                      <a:gd name="connsiteX6" fmla="*/ 343056 w 344398"/>
                      <a:gd name="connsiteY6" fmla="*/ 672286 h 979329"/>
                      <a:gd name="connsiteX7" fmla="*/ 307537 w 344398"/>
                      <a:gd name="connsiteY7" fmla="*/ 882795 h 979329"/>
                      <a:gd name="connsiteX8" fmla="*/ 235813 w 344398"/>
                      <a:gd name="connsiteY8" fmla="*/ 979329 h 979329"/>
                      <a:gd name="connsiteX9" fmla="*/ 57637 w 344398"/>
                      <a:gd name="connsiteY9" fmla="*/ 977052 h 979329"/>
                      <a:gd name="connsiteX10" fmla="*/ 23795 w 344398"/>
                      <a:gd name="connsiteY10" fmla="*/ 915648 h 979329"/>
                      <a:gd name="connsiteX11" fmla="*/ 47870 w 344398"/>
                      <a:gd name="connsiteY11" fmla="*/ 497121 h 979329"/>
                      <a:gd name="connsiteX12" fmla="*/ 1810 w 344398"/>
                      <a:gd name="connsiteY12" fmla="*/ 31103 h 979329"/>
                      <a:gd name="connsiteX0" fmla="*/ 1810 w 353134"/>
                      <a:gd name="connsiteY0" fmla="*/ 31103 h 979329"/>
                      <a:gd name="connsiteX1" fmla="*/ 84201 w 353134"/>
                      <a:gd name="connsiteY1" fmla="*/ 0 h 979329"/>
                      <a:gd name="connsiteX2" fmla="*/ 210446 w 353134"/>
                      <a:gd name="connsiteY2" fmla="*/ 40325 h 979329"/>
                      <a:gd name="connsiteX3" fmla="*/ 272669 w 353134"/>
                      <a:gd name="connsiteY3" fmla="*/ 96893 h 979329"/>
                      <a:gd name="connsiteX4" fmla="*/ 314748 w 353134"/>
                      <a:gd name="connsiteY4" fmla="*/ 186161 h 979329"/>
                      <a:gd name="connsiteX5" fmla="*/ 341174 w 353134"/>
                      <a:gd name="connsiteY5" fmla="*/ 441499 h 979329"/>
                      <a:gd name="connsiteX6" fmla="*/ 353118 w 353134"/>
                      <a:gd name="connsiteY6" fmla="*/ 513502 h 979329"/>
                      <a:gd name="connsiteX7" fmla="*/ 343056 w 353134"/>
                      <a:gd name="connsiteY7" fmla="*/ 672286 h 979329"/>
                      <a:gd name="connsiteX8" fmla="*/ 307537 w 353134"/>
                      <a:gd name="connsiteY8" fmla="*/ 882795 h 979329"/>
                      <a:gd name="connsiteX9" fmla="*/ 235813 w 353134"/>
                      <a:gd name="connsiteY9" fmla="*/ 979329 h 979329"/>
                      <a:gd name="connsiteX10" fmla="*/ 57637 w 353134"/>
                      <a:gd name="connsiteY10" fmla="*/ 977052 h 979329"/>
                      <a:gd name="connsiteX11" fmla="*/ 23795 w 353134"/>
                      <a:gd name="connsiteY11" fmla="*/ 915648 h 979329"/>
                      <a:gd name="connsiteX12" fmla="*/ 47870 w 353134"/>
                      <a:gd name="connsiteY12" fmla="*/ 497121 h 979329"/>
                      <a:gd name="connsiteX13" fmla="*/ 1810 w 353134"/>
                      <a:gd name="connsiteY13" fmla="*/ 31103 h 979329"/>
                      <a:gd name="connsiteX0" fmla="*/ 1810 w 365044"/>
                      <a:gd name="connsiteY0" fmla="*/ 31103 h 979329"/>
                      <a:gd name="connsiteX1" fmla="*/ 84201 w 365044"/>
                      <a:gd name="connsiteY1" fmla="*/ 0 h 979329"/>
                      <a:gd name="connsiteX2" fmla="*/ 210446 w 365044"/>
                      <a:gd name="connsiteY2" fmla="*/ 40325 h 979329"/>
                      <a:gd name="connsiteX3" fmla="*/ 272669 w 365044"/>
                      <a:gd name="connsiteY3" fmla="*/ 96893 h 979329"/>
                      <a:gd name="connsiteX4" fmla="*/ 314748 w 365044"/>
                      <a:gd name="connsiteY4" fmla="*/ 186161 h 979329"/>
                      <a:gd name="connsiteX5" fmla="*/ 364082 w 365044"/>
                      <a:gd name="connsiteY5" fmla="*/ 429548 h 979329"/>
                      <a:gd name="connsiteX6" fmla="*/ 353118 w 365044"/>
                      <a:gd name="connsiteY6" fmla="*/ 513502 h 979329"/>
                      <a:gd name="connsiteX7" fmla="*/ 343056 w 365044"/>
                      <a:gd name="connsiteY7" fmla="*/ 672286 h 979329"/>
                      <a:gd name="connsiteX8" fmla="*/ 307537 w 365044"/>
                      <a:gd name="connsiteY8" fmla="*/ 882795 h 979329"/>
                      <a:gd name="connsiteX9" fmla="*/ 235813 w 365044"/>
                      <a:gd name="connsiteY9" fmla="*/ 979329 h 979329"/>
                      <a:gd name="connsiteX10" fmla="*/ 57637 w 365044"/>
                      <a:gd name="connsiteY10" fmla="*/ 977052 h 979329"/>
                      <a:gd name="connsiteX11" fmla="*/ 23795 w 365044"/>
                      <a:gd name="connsiteY11" fmla="*/ 915648 h 979329"/>
                      <a:gd name="connsiteX12" fmla="*/ 47870 w 365044"/>
                      <a:gd name="connsiteY12" fmla="*/ 497121 h 979329"/>
                      <a:gd name="connsiteX13" fmla="*/ 1810 w 365044"/>
                      <a:gd name="connsiteY13" fmla="*/ 31103 h 9793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65044" h="979329">
                        <a:moveTo>
                          <a:pt x="1810" y="31103"/>
                        </a:moveTo>
                        <a:cubicBezTo>
                          <a:pt x="1810" y="4397"/>
                          <a:pt x="57495" y="0"/>
                          <a:pt x="84201" y="0"/>
                        </a:cubicBezTo>
                        <a:lnTo>
                          <a:pt x="210446" y="40325"/>
                        </a:lnTo>
                        <a:cubicBezTo>
                          <a:pt x="237152" y="40325"/>
                          <a:pt x="272669" y="70187"/>
                          <a:pt x="272669" y="96893"/>
                        </a:cubicBezTo>
                        <a:cubicBezTo>
                          <a:pt x="285626" y="122400"/>
                          <a:pt x="303331" y="128727"/>
                          <a:pt x="314748" y="186161"/>
                        </a:cubicBezTo>
                        <a:cubicBezTo>
                          <a:pt x="326165" y="243595"/>
                          <a:pt x="359056" y="372680"/>
                          <a:pt x="364082" y="429548"/>
                        </a:cubicBezTo>
                        <a:cubicBezTo>
                          <a:pt x="369108" y="486416"/>
                          <a:pt x="352804" y="475038"/>
                          <a:pt x="353118" y="513502"/>
                        </a:cubicBezTo>
                        <a:cubicBezTo>
                          <a:pt x="353432" y="551966"/>
                          <a:pt x="349284" y="613049"/>
                          <a:pt x="343056" y="672286"/>
                        </a:cubicBezTo>
                        <a:lnTo>
                          <a:pt x="307537" y="882795"/>
                        </a:lnTo>
                        <a:cubicBezTo>
                          <a:pt x="307537" y="909501"/>
                          <a:pt x="262519" y="979329"/>
                          <a:pt x="235813" y="979329"/>
                        </a:cubicBezTo>
                        <a:lnTo>
                          <a:pt x="57637" y="977052"/>
                        </a:lnTo>
                        <a:cubicBezTo>
                          <a:pt x="30931" y="977052"/>
                          <a:pt x="23795" y="942354"/>
                          <a:pt x="23795" y="915648"/>
                        </a:cubicBezTo>
                        <a:cubicBezTo>
                          <a:pt x="15871" y="834837"/>
                          <a:pt x="51534" y="644545"/>
                          <a:pt x="47870" y="497121"/>
                        </a:cubicBezTo>
                        <a:cubicBezTo>
                          <a:pt x="44206" y="349697"/>
                          <a:pt x="-10542" y="113134"/>
                          <a:pt x="1810" y="31103"/>
                        </a:cubicBezTo>
                        <a:close/>
                      </a:path>
                    </a:pathLst>
                  </a:cu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64" name="Rechthoek: afgeronde hoeken 14">
            <a:extLst>
              <a:ext uri="{FF2B5EF4-FFF2-40B4-BE49-F238E27FC236}">
                <a16:creationId xmlns:a16="http://schemas.microsoft.com/office/drawing/2014/main" id="{979B2144-B475-4D5D-A112-FE72D4528388}"/>
              </a:ext>
            </a:extLst>
          </p:cNvPr>
          <p:cNvSpPr/>
          <p:nvPr/>
        </p:nvSpPr>
        <p:spPr>
          <a:xfrm rot="646931">
            <a:off x="7566996" y="2444231"/>
            <a:ext cx="326633" cy="699313"/>
          </a:xfrm>
          <a:custGeom>
            <a:avLst/>
            <a:gdLst>
              <a:gd name="connsiteX0" fmla="*/ 41215 w 326633"/>
              <a:gd name="connsiteY0" fmla="*/ 41142 h 699313"/>
              <a:gd name="connsiteX1" fmla="*/ 83166 w 326633"/>
              <a:gd name="connsiteY1" fmla="*/ 304 h 699313"/>
              <a:gd name="connsiteX2" fmla="*/ 264579 w 326633"/>
              <a:gd name="connsiteY2" fmla="*/ 0 h 699313"/>
              <a:gd name="connsiteX3" fmla="*/ 292919 w 326633"/>
              <a:gd name="connsiteY3" fmla="*/ 41142 h 699313"/>
              <a:gd name="connsiteX4" fmla="*/ 326633 w 326633"/>
              <a:gd name="connsiteY4" fmla="*/ 667751 h 699313"/>
              <a:gd name="connsiteX5" fmla="*/ 250967 w 326633"/>
              <a:gd name="connsiteY5" fmla="*/ 699313 h 699313"/>
              <a:gd name="connsiteX6" fmla="*/ 83166 w 326633"/>
              <a:gd name="connsiteY6" fmla="*/ 699313 h 699313"/>
              <a:gd name="connsiteX7" fmla="*/ 41215 w 326633"/>
              <a:gd name="connsiteY7" fmla="*/ 658474 h 699313"/>
              <a:gd name="connsiteX8" fmla="*/ 0 w 326633"/>
              <a:gd name="connsiteY8" fmla="*/ 292059 h 699313"/>
              <a:gd name="connsiteX9" fmla="*/ 41215 w 326633"/>
              <a:gd name="connsiteY9" fmla="*/ 41142 h 6993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26633" h="699313" fill="none" extrusionOk="0">
                <a:moveTo>
                  <a:pt x="41215" y="41142"/>
                </a:moveTo>
                <a:cubicBezTo>
                  <a:pt x="46527" y="19365"/>
                  <a:pt x="57739" y="-2106"/>
                  <a:pt x="83166" y="304"/>
                </a:cubicBezTo>
                <a:cubicBezTo>
                  <a:pt x="146510" y="294"/>
                  <a:pt x="211190" y="-4990"/>
                  <a:pt x="264579" y="0"/>
                </a:cubicBezTo>
                <a:cubicBezTo>
                  <a:pt x="287761" y="1207"/>
                  <a:pt x="290626" y="18176"/>
                  <a:pt x="292919" y="41142"/>
                </a:cubicBezTo>
                <a:cubicBezTo>
                  <a:pt x="313461" y="296224"/>
                  <a:pt x="267889" y="441194"/>
                  <a:pt x="326633" y="667751"/>
                </a:cubicBezTo>
                <a:cubicBezTo>
                  <a:pt x="330276" y="693907"/>
                  <a:pt x="270706" y="699095"/>
                  <a:pt x="250967" y="699313"/>
                </a:cubicBezTo>
                <a:cubicBezTo>
                  <a:pt x="210763" y="698781"/>
                  <a:pt x="130077" y="697708"/>
                  <a:pt x="83166" y="699313"/>
                </a:cubicBezTo>
                <a:cubicBezTo>
                  <a:pt x="60123" y="700529"/>
                  <a:pt x="42584" y="681779"/>
                  <a:pt x="41215" y="658474"/>
                </a:cubicBezTo>
                <a:cubicBezTo>
                  <a:pt x="31787" y="520597"/>
                  <a:pt x="9069" y="399299"/>
                  <a:pt x="0" y="292059"/>
                </a:cubicBezTo>
                <a:cubicBezTo>
                  <a:pt x="23567" y="215025"/>
                  <a:pt x="19997" y="119162"/>
                  <a:pt x="41215" y="41142"/>
                </a:cubicBezTo>
                <a:close/>
              </a:path>
              <a:path w="326633" h="699313" stroke="0" extrusionOk="0">
                <a:moveTo>
                  <a:pt x="41215" y="41142"/>
                </a:moveTo>
                <a:cubicBezTo>
                  <a:pt x="41379" y="17857"/>
                  <a:pt x="55452" y="2229"/>
                  <a:pt x="83166" y="304"/>
                </a:cubicBezTo>
                <a:cubicBezTo>
                  <a:pt x="134729" y="-2620"/>
                  <a:pt x="218615" y="8385"/>
                  <a:pt x="264579" y="0"/>
                </a:cubicBezTo>
                <a:cubicBezTo>
                  <a:pt x="290869" y="2605"/>
                  <a:pt x="292126" y="20255"/>
                  <a:pt x="292919" y="41142"/>
                </a:cubicBezTo>
                <a:cubicBezTo>
                  <a:pt x="334447" y="250029"/>
                  <a:pt x="252114" y="463463"/>
                  <a:pt x="326633" y="667751"/>
                </a:cubicBezTo>
                <a:cubicBezTo>
                  <a:pt x="329251" y="686496"/>
                  <a:pt x="272724" y="695847"/>
                  <a:pt x="250967" y="699313"/>
                </a:cubicBezTo>
                <a:cubicBezTo>
                  <a:pt x="195632" y="695766"/>
                  <a:pt x="134634" y="703016"/>
                  <a:pt x="83166" y="699313"/>
                </a:cubicBezTo>
                <a:cubicBezTo>
                  <a:pt x="59285" y="701873"/>
                  <a:pt x="40460" y="679606"/>
                  <a:pt x="41215" y="658474"/>
                </a:cubicBezTo>
                <a:cubicBezTo>
                  <a:pt x="34037" y="526091"/>
                  <a:pt x="-1268" y="416179"/>
                  <a:pt x="0" y="292059"/>
                </a:cubicBezTo>
                <a:cubicBezTo>
                  <a:pt x="3224" y="236970"/>
                  <a:pt x="33350" y="147320"/>
                  <a:pt x="41215" y="41142"/>
                </a:cubicBezTo>
                <a:close/>
              </a:path>
            </a:pathLst>
          </a:custGeom>
          <a:solidFill>
            <a:schemeClr val="accent3">
              <a:lumMod val="75000"/>
              <a:alpha val="50196"/>
            </a:schemeClr>
          </a:solidFill>
          <a:ln w="19050">
            <a:solidFill>
              <a:schemeClr val="accent3">
                <a:lumMod val="50000"/>
              </a:schemeClr>
            </a:solidFill>
            <a:prstDash val="lgDash"/>
            <a:extLst>
              <a:ext uri="{C807C97D-BFC1-408E-A445-0C87EB9F89A2}">
                <ask:lineSketchStyleProps xmlns:ask="http://schemas.microsoft.com/office/drawing/2018/sketchyshapes" sd="1343802768">
                  <a:custGeom>
                    <a:avLst/>
                    <a:gdLst>
                      <a:gd name="connsiteX0" fmla="*/ 0 w 303332"/>
                      <a:gd name="connsiteY0" fmla="*/ 50556 h 865339"/>
                      <a:gd name="connsiteX1" fmla="*/ 50556 w 303332"/>
                      <a:gd name="connsiteY1" fmla="*/ 0 h 865339"/>
                      <a:gd name="connsiteX2" fmla="*/ 252776 w 303332"/>
                      <a:gd name="connsiteY2" fmla="*/ 0 h 865339"/>
                      <a:gd name="connsiteX3" fmla="*/ 303332 w 303332"/>
                      <a:gd name="connsiteY3" fmla="*/ 50556 h 865339"/>
                      <a:gd name="connsiteX4" fmla="*/ 303332 w 303332"/>
                      <a:gd name="connsiteY4" fmla="*/ 814783 h 865339"/>
                      <a:gd name="connsiteX5" fmla="*/ 252776 w 303332"/>
                      <a:gd name="connsiteY5" fmla="*/ 865339 h 865339"/>
                      <a:gd name="connsiteX6" fmla="*/ 50556 w 303332"/>
                      <a:gd name="connsiteY6" fmla="*/ 865339 h 865339"/>
                      <a:gd name="connsiteX7" fmla="*/ 0 w 303332"/>
                      <a:gd name="connsiteY7" fmla="*/ 814783 h 865339"/>
                      <a:gd name="connsiteX8" fmla="*/ 0 w 303332"/>
                      <a:gd name="connsiteY8" fmla="*/ 50556 h 865339"/>
                      <a:gd name="connsiteX0" fmla="*/ 0 w 303332"/>
                      <a:gd name="connsiteY0" fmla="*/ 50933 h 865716"/>
                      <a:gd name="connsiteX1" fmla="*/ 50556 w 303332"/>
                      <a:gd name="connsiteY1" fmla="*/ 377 h 865716"/>
                      <a:gd name="connsiteX2" fmla="*/ 269179 w 303332"/>
                      <a:gd name="connsiteY2" fmla="*/ 0 h 865716"/>
                      <a:gd name="connsiteX3" fmla="*/ 303332 w 303332"/>
                      <a:gd name="connsiteY3" fmla="*/ 50933 h 865716"/>
                      <a:gd name="connsiteX4" fmla="*/ 303332 w 303332"/>
                      <a:gd name="connsiteY4" fmla="*/ 815160 h 865716"/>
                      <a:gd name="connsiteX5" fmla="*/ 252776 w 303332"/>
                      <a:gd name="connsiteY5" fmla="*/ 865716 h 865716"/>
                      <a:gd name="connsiteX6" fmla="*/ 50556 w 303332"/>
                      <a:gd name="connsiteY6" fmla="*/ 865716 h 865716"/>
                      <a:gd name="connsiteX7" fmla="*/ 0 w 303332"/>
                      <a:gd name="connsiteY7" fmla="*/ 815160 h 865716"/>
                      <a:gd name="connsiteX8" fmla="*/ 0 w 303332"/>
                      <a:gd name="connsiteY8" fmla="*/ 50933 h 865716"/>
                      <a:gd name="connsiteX0" fmla="*/ 49669 w 353001"/>
                      <a:gd name="connsiteY0" fmla="*/ 50933 h 865716"/>
                      <a:gd name="connsiteX1" fmla="*/ 100225 w 353001"/>
                      <a:gd name="connsiteY1" fmla="*/ 377 h 865716"/>
                      <a:gd name="connsiteX2" fmla="*/ 318848 w 353001"/>
                      <a:gd name="connsiteY2" fmla="*/ 0 h 865716"/>
                      <a:gd name="connsiteX3" fmla="*/ 353001 w 353001"/>
                      <a:gd name="connsiteY3" fmla="*/ 50933 h 865716"/>
                      <a:gd name="connsiteX4" fmla="*/ 353001 w 353001"/>
                      <a:gd name="connsiteY4" fmla="*/ 815160 h 865716"/>
                      <a:gd name="connsiteX5" fmla="*/ 302445 w 353001"/>
                      <a:gd name="connsiteY5" fmla="*/ 865716 h 865716"/>
                      <a:gd name="connsiteX6" fmla="*/ 100225 w 353001"/>
                      <a:gd name="connsiteY6" fmla="*/ 865716 h 865716"/>
                      <a:gd name="connsiteX7" fmla="*/ 49669 w 353001"/>
                      <a:gd name="connsiteY7" fmla="*/ 815160 h 865716"/>
                      <a:gd name="connsiteX8" fmla="*/ 0 w 353001"/>
                      <a:gd name="connsiteY8" fmla="*/ 361556 h 865716"/>
                      <a:gd name="connsiteX9" fmla="*/ 49669 w 353001"/>
                      <a:gd name="connsiteY9" fmla="*/ 50933 h 865716"/>
                      <a:gd name="connsiteX0" fmla="*/ 49669 w 393630"/>
                      <a:gd name="connsiteY0" fmla="*/ 50933 h 865716"/>
                      <a:gd name="connsiteX1" fmla="*/ 100225 w 393630"/>
                      <a:gd name="connsiteY1" fmla="*/ 377 h 865716"/>
                      <a:gd name="connsiteX2" fmla="*/ 318848 w 393630"/>
                      <a:gd name="connsiteY2" fmla="*/ 0 h 865716"/>
                      <a:gd name="connsiteX3" fmla="*/ 353001 w 393630"/>
                      <a:gd name="connsiteY3" fmla="*/ 50933 h 865716"/>
                      <a:gd name="connsiteX4" fmla="*/ 393630 w 393630"/>
                      <a:gd name="connsiteY4" fmla="*/ 826644 h 865716"/>
                      <a:gd name="connsiteX5" fmla="*/ 302445 w 393630"/>
                      <a:gd name="connsiteY5" fmla="*/ 865716 h 865716"/>
                      <a:gd name="connsiteX6" fmla="*/ 100225 w 393630"/>
                      <a:gd name="connsiteY6" fmla="*/ 865716 h 865716"/>
                      <a:gd name="connsiteX7" fmla="*/ 49669 w 393630"/>
                      <a:gd name="connsiteY7" fmla="*/ 815160 h 865716"/>
                      <a:gd name="connsiteX8" fmla="*/ 0 w 393630"/>
                      <a:gd name="connsiteY8" fmla="*/ 361556 h 865716"/>
                      <a:gd name="connsiteX9" fmla="*/ 49669 w 393630"/>
                      <a:gd name="connsiteY9" fmla="*/ 50933 h 865716"/>
                      <a:gd name="connsiteX0" fmla="*/ 49669 w 393630"/>
                      <a:gd name="connsiteY0" fmla="*/ 50933 h 865716"/>
                      <a:gd name="connsiteX1" fmla="*/ 100225 w 393630"/>
                      <a:gd name="connsiteY1" fmla="*/ 377 h 865716"/>
                      <a:gd name="connsiteX2" fmla="*/ 318848 w 393630"/>
                      <a:gd name="connsiteY2" fmla="*/ 0 h 865716"/>
                      <a:gd name="connsiteX3" fmla="*/ 353001 w 393630"/>
                      <a:gd name="connsiteY3" fmla="*/ 50933 h 865716"/>
                      <a:gd name="connsiteX4" fmla="*/ 393630 w 393630"/>
                      <a:gd name="connsiteY4" fmla="*/ 826644 h 865716"/>
                      <a:gd name="connsiteX5" fmla="*/ 302445 w 393630"/>
                      <a:gd name="connsiteY5" fmla="*/ 865716 h 865716"/>
                      <a:gd name="connsiteX6" fmla="*/ 100225 w 393630"/>
                      <a:gd name="connsiteY6" fmla="*/ 865716 h 865716"/>
                      <a:gd name="connsiteX7" fmla="*/ 49669 w 393630"/>
                      <a:gd name="connsiteY7" fmla="*/ 815160 h 865716"/>
                      <a:gd name="connsiteX8" fmla="*/ 0 w 393630"/>
                      <a:gd name="connsiteY8" fmla="*/ 361556 h 865716"/>
                      <a:gd name="connsiteX9" fmla="*/ 49669 w 393630"/>
                      <a:gd name="connsiteY9" fmla="*/ 50933 h 8657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93630" h="865716">
                        <a:moveTo>
                          <a:pt x="49669" y="50933"/>
                        </a:moveTo>
                        <a:cubicBezTo>
                          <a:pt x="49669" y="23012"/>
                          <a:pt x="72304" y="377"/>
                          <a:pt x="100225" y="377"/>
                        </a:cubicBezTo>
                        <a:lnTo>
                          <a:pt x="318848" y="0"/>
                        </a:lnTo>
                        <a:cubicBezTo>
                          <a:pt x="346769" y="0"/>
                          <a:pt x="353001" y="23012"/>
                          <a:pt x="353001" y="50933"/>
                        </a:cubicBezTo>
                        <a:cubicBezTo>
                          <a:pt x="366544" y="309503"/>
                          <a:pt x="337945" y="548640"/>
                          <a:pt x="393630" y="826644"/>
                        </a:cubicBezTo>
                        <a:cubicBezTo>
                          <a:pt x="393630" y="854565"/>
                          <a:pt x="330366" y="865716"/>
                          <a:pt x="302445" y="865716"/>
                        </a:cubicBezTo>
                        <a:lnTo>
                          <a:pt x="100225" y="865716"/>
                        </a:lnTo>
                        <a:cubicBezTo>
                          <a:pt x="72304" y="865716"/>
                          <a:pt x="49669" y="843081"/>
                          <a:pt x="49669" y="815160"/>
                        </a:cubicBezTo>
                        <a:cubicBezTo>
                          <a:pt x="47076" y="660384"/>
                          <a:pt x="2593" y="516332"/>
                          <a:pt x="0" y="361556"/>
                        </a:cubicBezTo>
                        <a:lnTo>
                          <a:pt x="49669" y="50933"/>
                        </a:lnTo>
                        <a:close/>
                      </a:path>
                    </a:pathLst>
                  </a:cu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65" name="Rechthoek: afgeronde hoeken 202">
            <a:extLst>
              <a:ext uri="{FF2B5EF4-FFF2-40B4-BE49-F238E27FC236}">
                <a16:creationId xmlns:a16="http://schemas.microsoft.com/office/drawing/2014/main" id="{DAEDD438-3271-457B-9214-9833EB0F8450}"/>
              </a:ext>
            </a:extLst>
          </p:cNvPr>
          <p:cNvSpPr/>
          <p:nvPr/>
        </p:nvSpPr>
        <p:spPr>
          <a:xfrm rot="646931">
            <a:off x="7357547" y="3575166"/>
            <a:ext cx="289187" cy="724393"/>
          </a:xfrm>
          <a:custGeom>
            <a:avLst/>
            <a:gdLst>
              <a:gd name="connsiteX0" fmla="*/ 0 w 289187"/>
              <a:gd name="connsiteY0" fmla="*/ 48199 h 715183"/>
              <a:gd name="connsiteX1" fmla="*/ 48199 w 289187"/>
              <a:gd name="connsiteY1" fmla="*/ 0 h 715183"/>
              <a:gd name="connsiteX2" fmla="*/ 240988 w 289187"/>
              <a:gd name="connsiteY2" fmla="*/ 0 h 715183"/>
              <a:gd name="connsiteX3" fmla="*/ 289187 w 289187"/>
              <a:gd name="connsiteY3" fmla="*/ 48199 h 715183"/>
              <a:gd name="connsiteX4" fmla="*/ 289187 w 289187"/>
              <a:gd name="connsiteY4" fmla="*/ 666984 h 715183"/>
              <a:gd name="connsiteX5" fmla="*/ 240988 w 289187"/>
              <a:gd name="connsiteY5" fmla="*/ 715183 h 715183"/>
              <a:gd name="connsiteX6" fmla="*/ 48199 w 289187"/>
              <a:gd name="connsiteY6" fmla="*/ 715183 h 715183"/>
              <a:gd name="connsiteX7" fmla="*/ 0 w 289187"/>
              <a:gd name="connsiteY7" fmla="*/ 666984 h 715183"/>
              <a:gd name="connsiteX8" fmla="*/ 0 w 289187"/>
              <a:gd name="connsiteY8" fmla="*/ 48199 h 715183"/>
              <a:gd name="connsiteX0" fmla="*/ 0 w 289187"/>
              <a:gd name="connsiteY0" fmla="*/ 57409 h 724393"/>
              <a:gd name="connsiteX1" fmla="*/ 82140 w 289187"/>
              <a:gd name="connsiteY1" fmla="*/ 0 h 724393"/>
              <a:gd name="connsiteX2" fmla="*/ 240988 w 289187"/>
              <a:gd name="connsiteY2" fmla="*/ 9210 h 724393"/>
              <a:gd name="connsiteX3" fmla="*/ 289187 w 289187"/>
              <a:gd name="connsiteY3" fmla="*/ 57409 h 724393"/>
              <a:gd name="connsiteX4" fmla="*/ 289187 w 289187"/>
              <a:gd name="connsiteY4" fmla="*/ 676194 h 724393"/>
              <a:gd name="connsiteX5" fmla="*/ 240988 w 289187"/>
              <a:gd name="connsiteY5" fmla="*/ 724393 h 724393"/>
              <a:gd name="connsiteX6" fmla="*/ 48199 w 289187"/>
              <a:gd name="connsiteY6" fmla="*/ 724393 h 724393"/>
              <a:gd name="connsiteX7" fmla="*/ 0 w 289187"/>
              <a:gd name="connsiteY7" fmla="*/ 676194 h 724393"/>
              <a:gd name="connsiteX8" fmla="*/ 0 w 289187"/>
              <a:gd name="connsiteY8" fmla="*/ 57409 h 7243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9187" h="724393">
                <a:moveTo>
                  <a:pt x="0" y="57409"/>
                </a:moveTo>
                <a:cubicBezTo>
                  <a:pt x="0" y="30789"/>
                  <a:pt x="55520" y="0"/>
                  <a:pt x="82140" y="0"/>
                </a:cubicBezTo>
                <a:cubicBezTo>
                  <a:pt x="146403" y="0"/>
                  <a:pt x="176725" y="9210"/>
                  <a:pt x="240988" y="9210"/>
                </a:cubicBezTo>
                <a:cubicBezTo>
                  <a:pt x="267608" y="9210"/>
                  <a:pt x="289187" y="30789"/>
                  <a:pt x="289187" y="57409"/>
                </a:cubicBezTo>
                <a:lnTo>
                  <a:pt x="289187" y="676194"/>
                </a:lnTo>
                <a:cubicBezTo>
                  <a:pt x="289187" y="702814"/>
                  <a:pt x="267608" y="724393"/>
                  <a:pt x="240988" y="724393"/>
                </a:cubicBezTo>
                <a:lnTo>
                  <a:pt x="48199" y="724393"/>
                </a:lnTo>
                <a:cubicBezTo>
                  <a:pt x="21579" y="724393"/>
                  <a:pt x="0" y="702814"/>
                  <a:pt x="0" y="676194"/>
                </a:cubicBezTo>
                <a:lnTo>
                  <a:pt x="0" y="57409"/>
                </a:lnTo>
                <a:close/>
              </a:path>
            </a:pathLst>
          </a:custGeom>
          <a:solidFill>
            <a:schemeClr val="accent3">
              <a:lumMod val="75000"/>
              <a:alpha val="50196"/>
            </a:schemeClr>
          </a:solidFill>
          <a:ln w="19050">
            <a:solidFill>
              <a:schemeClr val="accent3">
                <a:lumMod val="50000"/>
              </a:schemeClr>
            </a:solidFill>
            <a:prstDash val="lgDash"/>
            <a:extLst>
              <a:ext uri="{C807C97D-BFC1-408E-A445-0C87EB9F89A2}">
                <ask:lineSketchStyleProps xmlns:ask="http://schemas.microsoft.com/office/drawing/2018/sketchyshapes" sd="690809821">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66" name="Rechthoek: afgeronde hoeken 105">
            <a:extLst>
              <a:ext uri="{FF2B5EF4-FFF2-40B4-BE49-F238E27FC236}">
                <a16:creationId xmlns:a16="http://schemas.microsoft.com/office/drawing/2014/main" id="{C50D8E36-6762-4967-9448-528E3EE9A538}"/>
              </a:ext>
            </a:extLst>
          </p:cNvPr>
          <p:cNvSpPr/>
          <p:nvPr/>
        </p:nvSpPr>
        <p:spPr>
          <a:xfrm rot="646931">
            <a:off x="9693942" y="2998226"/>
            <a:ext cx="297940" cy="564150"/>
          </a:xfrm>
          <a:solidFill>
            <a:schemeClr val="accent3">
              <a:lumMod val="75000"/>
              <a:alpha val="50196"/>
            </a:schemeClr>
          </a:solidFill>
          <a:ln w="19050">
            <a:solidFill>
              <a:schemeClr val="accent3">
                <a:lumMod val="50000"/>
              </a:schemeClr>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67" name="Rechthoek: afgeronde hoeken 106">
            <a:extLst>
              <a:ext uri="{FF2B5EF4-FFF2-40B4-BE49-F238E27FC236}">
                <a16:creationId xmlns:a16="http://schemas.microsoft.com/office/drawing/2014/main" id="{3B201D28-2AA6-4D64-8EEE-F22366037A41}"/>
              </a:ext>
            </a:extLst>
          </p:cNvPr>
          <p:cNvSpPr/>
          <p:nvPr/>
        </p:nvSpPr>
        <p:spPr>
          <a:xfrm rot="646931">
            <a:off x="9427230" y="4087662"/>
            <a:ext cx="296543" cy="826980"/>
          </a:xfrm>
          <a:solidFill>
            <a:schemeClr val="accent3">
              <a:lumMod val="75000"/>
              <a:alpha val="50196"/>
            </a:schemeClr>
          </a:solidFill>
          <a:ln w="19050">
            <a:solidFill>
              <a:schemeClr val="accent3">
                <a:lumMod val="50000"/>
              </a:schemeClr>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68" name="Ovaal 167">
            <a:extLst>
              <a:ext uri="{FF2B5EF4-FFF2-40B4-BE49-F238E27FC236}">
                <a16:creationId xmlns:a16="http://schemas.microsoft.com/office/drawing/2014/main" id="{01DDB42E-7C87-42A4-9860-91A59374DBF3}"/>
              </a:ext>
            </a:extLst>
          </p:cNvPr>
          <p:cNvSpPr/>
          <p:nvPr/>
        </p:nvSpPr>
        <p:spPr>
          <a:xfrm rot="768690">
            <a:off x="8886762" y="3480414"/>
            <a:ext cx="1121630" cy="571818"/>
          </a:xfrm>
          <a:custGeom>
            <a:avLst/>
            <a:gdLst>
              <a:gd name="connsiteX0" fmla="*/ 0 w 1121630"/>
              <a:gd name="connsiteY0" fmla="*/ 285909 h 571818"/>
              <a:gd name="connsiteX1" fmla="*/ 560815 w 1121630"/>
              <a:gd name="connsiteY1" fmla="*/ 0 h 571818"/>
              <a:gd name="connsiteX2" fmla="*/ 1121630 w 1121630"/>
              <a:gd name="connsiteY2" fmla="*/ 285909 h 571818"/>
              <a:gd name="connsiteX3" fmla="*/ 560815 w 1121630"/>
              <a:gd name="connsiteY3" fmla="*/ 571818 h 571818"/>
              <a:gd name="connsiteX4" fmla="*/ 0 w 1121630"/>
              <a:gd name="connsiteY4" fmla="*/ 285909 h 5718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21630" h="571818" fill="none" extrusionOk="0">
                <a:moveTo>
                  <a:pt x="0" y="285909"/>
                </a:moveTo>
                <a:cubicBezTo>
                  <a:pt x="8089" y="135502"/>
                  <a:pt x="313266" y="-9009"/>
                  <a:pt x="560815" y="0"/>
                </a:cubicBezTo>
                <a:cubicBezTo>
                  <a:pt x="856664" y="-2341"/>
                  <a:pt x="1127635" y="130908"/>
                  <a:pt x="1121630" y="285909"/>
                </a:cubicBezTo>
                <a:cubicBezTo>
                  <a:pt x="1101282" y="438383"/>
                  <a:pt x="855147" y="570424"/>
                  <a:pt x="560815" y="571818"/>
                </a:cubicBezTo>
                <a:cubicBezTo>
                  <a:pt x="245421" y="597322"/>
                  <a:pt x="-25720" y="437231"/>
                  <a:pt x="0" y="285909"/>
                </a:cubicBezTo>
                <a:close/>
              </a:path>
              <a:path w="1121630" h="571818" stroke="0" extrusionOk="0">
                <a:moveTo>
                  <a:pt x="0" y="285909"/>
                </a:moveTo>
                <a:cubicBezTo>
                  <a:pt x="-5311" y="92403"/>
                  <a:pt x="232983" y="-37938"/>
                  <a:pt x="560815" y="0"/>
                </a:cubicBezTo>
                <a:cubicBezTo>
                  <a:pt x="898933" y="-1223"/>
                  <a:pt x="1128296" y="156655"/>
                  <a:pt x="1121630" y="285909"/>
                </a:cubicBezTo>
                <a:cubicBezTo>
                  <a:pt x="1155242" y="425001"/>
                  <a:pt x="834319" y="604844"/>
                  <a:pt x="560815" y="571818"/>
                </a:cubicBezTo>
                <a:cubicBezTo>
                  <a:pt x="278742" y="580641"/>
                  <a:pt x="-1759" y="457399"/>
                  <a:pt x="0" y="285909"/>
                </a:cubicBezTo>
                <a:close/>
              </a:path>
            </a:pathLst>
          </a:custGeom>
          <a:solidFill>
            <a:srgbClr val="FFC000">
              <a:alpha val="50196"/>
            </a:srgbClr>
          </a:solidFill>
          <a:ln w="19050">
            <a:solidFill>
              <a:srgbClr val="A27402"/>
            </a:solidFill>
            <a:prstDash val="lgDash"/>
            <a:extLst>
              <a:ext uri="{C807C97D-BFC1-408E-A445-0C87EB9F89A2}">
                <ask:lineSketchStyleProps xmlns:ask="http://schemas.microsoft.com/office/drawing/2018/sketchyshapes" sd="1688614087">
                  <a:prstGeom prst="ellipse">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69" name="Rechthoek: afgeronde hoeken 19">
            <a:extLst>
              <a:ext uri="{FF2B5EF4-FFF2-40B4-BE49-F238E27FC236}">
                <a16:creationId xmlns:a16="http://schemas.microsoft.com/office/drawing/2014/main" id="{037CC1BA-CCA9-4BD2-BA22-B5C2E2B8A014}"/>
              </a:ext>
            </a:extLst>
          </p:cNvPr>
          <p:cNvSpPr/>
          <p:nvPr/>
        </p:nvSpPr>
        <p:spPr>
          <a:xfrm rot="21152301">
            <a:off x="9460012" y="840129"/>
            <a:ext cx="602403" cy="967251"/>
          </a:xfrm>
          <a:custGeom>
            <a:avLst/>
            <a:gdLst>
              <a:gd name="connsiteX0" fmla="*/ 0 w 602403"/>
              <a:gd name="connsiteY0" fmla="*/ 100403 h 966899"/>
              <a:gd name="connsiteX1" fmla="*/ 100403 w 602403"/>
              <a:gd name="connsiteY1" fmla="*/ 0 h 966899"/>
              <a:gd name="connsiteX2" fmla="*/ 502000 w 602403"/>
              <a:gd name="connsiteY2" fmla="*/ 0 h 966899"/>
              <a:gd name="connsiteX3" fmla="*/ 602403 w 602403"/>
              <a:gd name="connsiteY3" fmla="*/ 100403 h 966899"/>
              <a:gd name="connsiteX4" fmla="*/ 602403 w 602403"/>
              <a:gd name="connsiteY4" fmla="*/ 866496 h 966899"/>
              <a:gd name="connsiteX5" fmla="*/ 502000 w 602403"/>
              <a:gd name="connsiteY5" fmla="*/ 966899 h 966899"/>
              <a:gd name="connsiteX6" fmla="*/ 100403 w 602403"/>
              <a:gd name="connsiteY6" fmla="*/ 966899 h 966899"/>
              <a:gd name="connsiteX7" fmla="*/ 0 w 602403"/>
              <a:gd name="connsiteY7" fmla="*/ 866496 h 966899"/>
              <a:gd name="connsiteX8" fmla="*/ 0 w 602403"/>
              <a:gd name="connsiteY8" fmla="*/ 100403 h 966899"/>
              <a:gd name="connsiteX0" fmla="*/ 0 w 602403"/>
              <a:gd name="connsiteY0" fmla="*/ 100403 h 966899"/>
              <a:gd name="connsiteX1" fmla="*/ 200541 w 602403"/>
              <a:gd name="connsiteY1" fmla="*/ 115583 h 966899"/>
              <a:gd name="connsiteX2" fmla="*/ 502000 w 602403"/>
              <a:gd name="connsiteY2" fmla="*/ 0 h 966899"/>
              <a:gd name="connsiteX3" fmla="*/ 602403 w 602403"/>
              <a:gd name="connsiteY3" fmla="*/ 100403 h 966899"/>
              <a:gd name="connsiteX4" fmla="*/ 602403 w 602403"/>
              <a:gd name="connsiteY4" fmla="*/ 866496 h 966899"/>
              <a:gd name="connsiteX5" fmla="*/ 502000 w 602403"/>
              <a:gd name="connsiteY5" fmla="*/ 966899 h 966899"/>
              <a:gd name="connsiteX6" fmla="*/ 100403 w 602403"/>
              <a:gd name="connsiteY6" fmla="*/ 966899 h 966899"/>
              <a:gd name="connsiteX7" fmla="*/ 0 w 602403"/>
              <a:gd name="connsiteY7" fmla="*/ 866496 h 966899"/>
              <a:gd name="connsiteX8" fmla="*/ 0 w 602403"/>
              <a:gd name="connsiteY8" fmla="*/ 100403 h 966899"/>
              <a:gd name="connsiteX0" fmla="*/ 6442 w 602403"/>
              <a:gd name="connsiteY0" fmla="*/ 344607 h 966899"/>
              <a:gd name="connsiteX1" fmla="*/ 200541 w 602403"/>
              <a:gd name="connsiteY1" fmla="*/ 115583 h 966899"/>
              <a:gd name="connsiteX2" fmla="*/ 502000 w 602403"/>
              <a:gd name="connsiteY2" fmla="*/ 0 h 966899"/>
              <a:gd name="connsiteX3" fmla="*/ 602403 w 602403"/>
              <a:gd name="connsiteY3" fmla="*/ 100403 h 966899"/>
              <a:gd name="connsiteX4" fmla="*/ 602403 w 602403"/>
              <a:gd name="connsiteY4" fmla="*/ 866496 h 966899"/>
              <a:gd name="connsiteX5" fmla="*/ 502000 w 602403"/>
              <a:gd name="connsiteY5" fmla="*/ 966899 h 966899"/>
              <a:gd name="connsiteX6" fmla="*/ 100403 w 602403"/>
              <a:gd name="connsiteY6" fmla="*/ 966899 h 966899"/>
              <a:gd name="connsiteX7" fmla="*/ 0 w 602403"/>
              <a:gd name="connsiteY7" fmla="*/ 866496 h 966899"/>
              <a:gd name="connsiteX8" fmla="*/ 6442 w 602403"/>
              <a:gd name="connsiteY8" fmla="*/ 344607 h 966899"/>
              <a:gd name="connsiteX0" fmla="*/ 6442 w 602403"/>
              <a:gd name="connsiteY0" fmla="*/ 344959 h 967251"/>
              <a:gd name="connsiteX1" fmla="*/ 200541 w 602403"/>
              <a:gd name="connsiteY1" fmla="*/ 115935 h 967251"/>
              <a:gd name="connsiteX2" fmla="*/ 303695 w 602403"/>
              <a:gd name="connsiteY2" fmla="*/ 32315 h 967251"/>
              <a:gd name="connsiteX3" fmla="*/ 502000 w 602403"/>
              <a:gd name="connsiteY3" fmla="*/ 352 h 967251"/>
              <a:gd name="connsiteX4" fmla="*/ 602403 w 602403"/>
              <a:gd name="connsiteY4" fmla="*/ 100755 h 967251"/>
              <a:gd name="connsiteX5" fmla="*/ 602403 w 602403"/>
              <a:gd name="connsiteY5" fmla="*/ 866848 h 967251"/>
              <a:gd name="connsiteX6" fmla="*/ 502000 w 602403"/>
              <a:gd name="connsiteY6" fmla="*/ 967251 h 967251"/>
              <a:gd name="connsiteX7" fmla="*/ 100403 w 602403"/>
              <a:gd name="connsiteY7" fmla="*/ 967251 h 967251"/>
              <a:gd name="connsiteX8" fmla="*/ 0 w 602403"/>
              <a:gd name="connsiteY8" fmla="*/ 866848 h 967251"/>
              <a:gd name="connsiteX9" fmla="*/ 6442 w 602403"/>
              <a:gd name="connsiteY9" fmla="*/ 344959 h 9672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02403" h="967251">
                <a:moveTo>
                  <a:pt x="6442" y="344959"/>
                </a:moveTo>
                <a:cubicBezTo>
                  <a:pt x="6442" y="289508"/>
                  <a:pt x="145090" y="115935"/>
                  <a:pt x="200541" y="115935"/>
                </a:cubicBezTo>
                <a:cubicBezTo>
                  <a:pt x="249683" y="72314"/>
                  <a:pt x="253452" y="51579"/>
                  <a:pt x="303695" y="32315"/>
                </a:cubicBezTo>
                <a:cubicBezTo>
                  <a:pt x="353938" y="13051"/>
                  <a:pt x="451815" y="-2568"/>
                  <a:pt x="502000" y="352"/>
                </a:cubicBezTo>
                <a:cubicBezTo>
                  <a:pt x="557451" y="352"/>
                  <a:pt x="602403" y="45304"/>
                  <a:pt x="602403" y="100755"/>
                </a:cubicBezTo>
                <a:lnTo>
                  <a:pt x="602403" y="866848"/>
                </a:lnTo>
                <a:cubicBezTo>
                  <a:pt x="602403" y="922299"/>
                  <a:pt x="557451" y="967251"/>
                  <a:pt x="502000" y="967251"/>
                </a:cubicBezTo>
                <a:lnTo>
                  <a:pt x="100403" y="967251"/>
                </a:lnTo>
                <a:cubicBezTo>
                  <a:pt x="44952" y="967251"/>
                  <a:pt x="0" y="922299"/>
                  <a:pt x="0" y="866848"/>
                </a:cubicBezTo>
                <a:cubicBezTo>
                  <a:pt x="2147" y="692885"/>
                  <a:pt x="4295" y="518922"/>
                  <a:pt x="6442" y="344959"/>
                </a:cubicBezTo>
                <a:close/>
              </a:path>
            </a:pathLst>
          </a:custGeom>
          <a:solidFill>
            <a:srgbClr val="62366E">
              <a:alpha val="50196"/>
            </a:srgbClr>
          </a:solidFill>
          <a:ln w="19050">
            <a:solidFill>
              <a:schemeClr val="accent1"/>
            </a:solidFill>
            <a:prstDash val="lgDash"/>
            <a:extLst>
              <a:ext uri="{C807C97D-BFC1-408E-A445-0C87EB9F89A2}">
                <ask:lineSketchStyleProps xmlns:ask="http://schemas.microsoft.com/office/drawing/2018/sketchyshapes" sd="3986773996">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70" name="Ovaal 216">
            <a:extLst>
              <a:ext uri="{FF2B5EF4-FFF2-40B4-BE49-F238E27FC236}">
                <a16:creationId xmlns:a16="http://schemas.microsoft.com/office/drawing/2014/main" id="{53F0FFBA-3AA8-47AA-920E-B1A12AA68E41}"/>
              </a:ext>
            </a:extLst>
          </p:cNvPr>
          <p:cNvSpPr/>
          <p:nvPr/>
        </p:nvSpPr>
        <p:spPr>
          <a:xfrm rot="2334895">
            <a:off x="8577667" y="4817765"/>
            <a:ext cx="977943" cy="1448917"/>
          </a:xfrm>
          <a:custGeom>
            <a:avLst/>
            <a:gdLst>
              <a:gd name="connsiteX0" fmla="*/ 0 w 951616"/>
              <a:gd name="connsiteY0" fmla="*/ 601230 h 1202460"/>
              <a:gd name="connsiteX1" fmla="*/ 475808 w 951616"/>
              <a:gd name="connsiteY1" fmla="*/ 0 h 1202460"/>
              <a:gd name="connsiteX2" fmla="*/ 951616 w 951616"/>
              <a:gd name="connsiteY2" fmla="*/ 601230 h 1202460"/>
              <a:gd name="connsiteX3" fmla="*/ 475808 w 951616"/>
              <a:gd name="connsiteY3" fmla="*/ 1202460 h 1202460"/>
              <a:gd name="connsiteX4" fmla="*/ 0 w 951616"/>
              <a:gd name="connsiteY4" fmla="*/ 601230 h 1202460"/>
              <a:gd name="connsiteX0" fmla="*/ 37983 w 989599"/>
              <a:gd name="connsiteY0" fmla="*/ 601230 h 1318861"/>
              <a:gd name="connsiteX1" fmla="*/ 513791 w 989599"/>
              <a:gd name="connsiteY1" fmla="*/ 0 h 1318861"/>
              <a:gd name="connsiteX2" fmla="*/ 989599 w 989599"/>
              <a:gd name="connsiteY2" fmla="*/ 601230 h 1318861"/>
              <a:gd name="connsiteX3" fmla="*/ 207870 w 989599"/>
              <a:gd name="connsiteY3" fmla="*/ 1318861 h 1318861"/>
              <a:gd name="connsiteX4" fmla="*/ 37983 w 989599"/>
              <a:gd name="connsiteY4" fmla="*/ 601230 h 1318861"/>
              <a:gd name="connsiteX0" fmla="*/ 46258 w 877800"/>
              <a:gd name="connsiteY0" fmla="*/ 618569 h 1318895"/>
              <a:gd name="connsiteX1" fmla="*/ 401992 w 877800"/>
              <a:gd name="connsiteY1" fmla="*/ 22 h 1318895"/>
              <a:gd name="connsiteX2" fmla="*/ 877800 w 877800"/>
              <a:gd name="connsiteY2" fmla="*/ 601252 h 1318895"/>
              <a:gd name="connsiteX3" fmla="*/ 96071 w 877800"/>
              <a:gd name="connsiteY3" fmla="*/ 1318883 h 1318895"/>
              <a:gd name="connsiteX4" fmla="*/ 46258 w 877800"/>
              <a:gd name="connsiteY4" fmla="*/ 618569 h 1318895"/>
              <a:gd name="connsiteX0" fmla="*/ 145976 w 977518"/>
              <a:gd name="connsiteY0" fmla="*/ 618569 h 1337824"/>
              <a:gd name="connsiteX1" fmla="*/ 501710 w 977518"/>
              <a:gd name="connsiteY1" fmla="*/ 22 h 1337824"/>
              <a:gd name="connsiteX2" fmla="*/ 977518 w 977518"/>
              <a:gd name="connsiteY2" fmla="*/ 601252 h 1337824"/>
              <a:gd name="connsiteX3" fmla="*/ 195789 w 977518"/>
              <a:gd name="connsiteY3" fmla="*/ 1318883 h 1337824"/>
              <a:gd name="connsiteX4" fmla="*/ 669 w 977518"/>
              <a:gd name="connsiteY4" fmla="*/ 1086179 h 1337824"/>
              <a:gd name="connsiteX5" fmla="*/ 145976 w 977518"/>
              <a:gd name="connsiteY5" fmla="*/ 618569 h 1337824"/>
              <a:gd name="connsiteX0" fmla="*/ 246862 w 977141"/>
              <a:gd name="connsiteY0" fmla="*/ 643017 h 1337930"/>
              <a:gd name="connsiteX1" fmla="*/ 501333 w 977141"/>
              <a:gd name="connsiteY1" fmla="*/ 128 h 1337930"/>
              <a:gd name="connsiteX2" fmla="*/ 977141 w 977141"/>
              <a:gd name="connsiteY2" fmla="*/ 601358 h 1337930"/>
              <a:gd name="connsiteX3" fmla="*/ 195412 w 977141"/>
              <a:gd name="connsiteY3" fmla="*/ 1318989 h 1337930"/>
              <a:gd name="connsiteX4" fmla="*/ 292 w 977141"/>
              <a:gd name="connsiteY4" fmla="*/ 1086285 h 1337930"/>
              <a:gd name="connsiteX5" fmla="*/ 246862 w 977141"/>
              <a:gd name="connsiteY5" fmla="*/ 643017 h 1337930"/>
              <a:gd name="connsiteX0" fmla="*/ 246814 w 977093"/>
              <a:gd name="connsiteY0" fmla="*/ 688278 h 1383191"/>
              <a:gd name="connsiteX1" fmla="*/ 289264 w 977093"/>
              <a:gd name="connsiteY1" fmla="*/ 114745 h 1383191"/>
              <a:gd name="connsiteX2" fmla="*/ 501285 w 977093"/>
              <a:gd name="connsiteY2" fmla="*/ 45389 h 1383191"/>
              <a:gd name="connsiteX3" fmla="*/ 977093 w 977093"/>
              <a:gd name="connsiteY3" fmla="*/ 646619 h 1383191"/>
              <a:gd name="connsiteX4" fmla="*/ 195364 w 977093"/>
              <a:gd name="connsiteY4" fmla="*/ 1364250 h 1383191"/>
              <a:gd name="connsiteX5" fmla="*/ 244 w 977093"/>
              <a:gd name="connsiteY5" fmla="*/ 1131546 h 1383191"/>
              <a:gd name="connsiteX6" fmla="*/ 246814 w 977093"/>
              <a:gd name="connsiteY6" fmla="*/ 688278 h 1383191"/>
              <a:gd name="connsiteX0" fmla="*/ 246814 w 984760"/>
              <a:gd name="connsiteY0" fmla="*/ 762162 h 1457075"/>
              <a:gd name="connsiteX1" fmla="*/ 289264 w 984760"/>
              <a:gd name="connsiteY1" fmla="*/ 188629 h 1457075"/>
              <a:gd name="connsiteX2" fmla="*/ 501285 w 984760"/>
              <a:gd name="connsiteY2" fmla="*/ 119273 h 1457075"/>
              <a:gd name="connsiteX3" fmla="*/ 603934 w 984760"/>
              <a:gd name="connsiteY3" fmla="*/ 32521 h 1457075"/>
              <a:gd name="connsiteX4" fmla="*/ 977093 w 984760"/>
              <a:gd name="connsiteY4" fmla="*/ 720503 h 1457075"/>
              <a:gd name="connsiteX5" fmla="*/ 195364 w 984760"/>
              <a:gd name="connsiteY5" fmla="*/ 1438134 h 1457075"/>
              <a:gd name="connsiteX6" fmla="*/ 244 w 984760"/>
              <a:gd name="connsiteY6" fmla="*/ 1205430 h 1457075"/>
              <a:gd name="connsiteX7" fmla="*/ 246814 w 984760"/>
              <a:gd name="connsiteY7" fmla="*/ 762162 h 1457075"/>
              <a:gd name="connsiteX0" fmla="*/ 246814 w 984760"/>
              <a:gd name="connsiteY0" fmla="*/ 772210 h 1467123"/>
              <a:gd name="connsiteX1" fmla="*/ 289264 w 984760"/>
              <a:gd name="connsiteY1" fmla="*/ 198677 h 1467123"/>
              <a:gd name="connsiteX2" fmla="*/ 439548 w 984760"/>
              <a:gd name="connsiteY2" fmla="*/ 73068 h 1467123"/>
              <a:gd name="connsiteX3" fmla="*/ 603934 w 984760"/>
              <a:gd name="connsiteY3" fmla="*/ 42569 h 1467123"/>
              <a:gd name="connsiteX4" fmla="*/ 977093 w 984760"/>
              <a:gd name="connsiteY4" fmla="*/ 730551 h 1467123"/>
              <a:gd name="connsiteX5" fmla="*/ 195364 w 984760"/>
              <a:gd name="connsiteY5" fmla="*/ 1448182 h 1467123"/>
              <a:gd name="connsiteX6" fmla="*/ 244 w 984760"/>
              <a:gd name="connsiteY6" fmla="*/ 1215478 h 1467123"/>
              <a:gd name="connsiteX7" fmla="*/ 246814 w 984760"/>
              <a:gd name="connsiteY7" fmla="*/ 772210 h 1467123"/>
              <a:gd name="connsiteX0" fmla="*/ 246814 w 977943"/>
              <a:gd name="connsiteY0" fmla="*/ 772210 h 1448917"/>
              <a:gd name="connsiteX1" fmla="*/ 289264 w 977943"/>
              <a:gd name="connsiteY1" fmla="*/ 198677 h 1448917"/>
              <a:gd name="connsiteX2" fmla="*/ 439548 w 977943"/>
              <a:gd name="connsiteY2" fmla="*/ 73068 h 1448917"/>
              <a:gd name="connsiteX3" fmla="*/ 603934 w 977943"/>
              <a:gd name="connsiteY3" fmla="*/ 42569 h 1448917"/>
              <a:gd name="connsiteX4" fmla="*/ 977093 w 977943"/>
              <a:gd name="connsiteY4" fmla="*/ 730551 h 1448917"/>
              <a:gd name="connsiteX5" fmla="*/ 703059 w 977943"/>
              <a:gd name="connsiteY5" fmla="*/ 1145905 h 1448917"/>
              <a:gd name="connsiteX6" fmla="*/ 195364 w 977943"/>
              <a:gd name="connsiteY6" fmla="*/ 1448182 h 1448917"/>
              <a:gd name="connsiteX7" fmla="*/ 244 w 977943"/>
              <a:gd name="connsiteY7" fmla="*/ 1215478 h 1448917"/>
              <a:gd name="connsiteX8" fmla="*/ 246814 w 977943"/>
              <a:gd name="connsiteY8" fmla="*/ 772210 h 14489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77943" h="1448917">
                <a:moveTo>
                  <a:pt x="246814" y="772210"/>
                </a:moveTo>
                <a:cubicBezTo>
                  <a:pt x="294984" y="602743"/>
                  <a:pt x="246852" y="305825"/>
                  <a:pt x="289264" y="198677"/>
                </a:cubicBezTo>
                <a:cubicBezTo>
                  <a:pt x="331676" y="91529"/>
                  <a:pt x="387103" y="99086"/>
                  <a:pt x="439548" y="73068"/>
                </a:cubicBezTo>
                <a:cubicBezTo>
                  <a:pt x="491993" y="47050"/>
                  <a:pt x="524633" y="-57636"/>
                  <a:pt x="603934" y="42569"/>
                </a:cubicBezTo>
                <a:cubicBezTo>
                  <a:pt x="683235" y="142774"/>
                  <a:pt x="963262" y="556732"/>
                  <a:pt x="977093" y="730551"/>
                </a:cubicBezTo>
                <a:cubicBezTo>
                  <a:pt x="990924" y="904370"/>
                  <a:pt x="833347" y="1026300"/>
                  <a:pt x="703059" y="1145905"/>
                </a:cubicBezTo>
                <a:cubicBezTo>
                  <a:pt x="572771" y="1265510"/>
                  <a:pt x="312500" y="1436586"/>
                  <a:pt x="195364" y="1448182"/>
                </a:cubicBezTo>
                <a:cubicBezTo>
                  <a:pt x="78228" y="1459778"/>
                  <a:pt x="8546" y="1332197"/>
                  <a:pt x="244" y="1215478"/>
                </a:cubicBezTo>
                <a:cubicBezTo>
                  <a:pt x="-8058" y="1098759"/>
                  <a:pt x="198644" y="941677"/>
                  <a:pt x="246814" y="772210"/>
                </a:cubicBezTo>
                <a:close/>
              </a:path>
            </a:pathLst>
          </a:custGeom>
          <a:solidFill>
            <a:srgbClr val="62366E">
              <a:alpha val="50196"/>
            </a:srgbClr>
          </a:solidFill>
          <a:ln w="19050">
            <a:solidFill>
              <a:schemeClr val="accent1"/>
            </a:solidFill>
            <a:prstDash val="lgDash"/>
            <a:extLst>
              <a:ext uri="{C807C97D-BFC1-408E-A445-0C87EB9F89A2}">
                <ask:lineSketchStyleProps xmlns:ask="http://schemas.microsoft.com/office/drawing/2018/sketchyshapes" sd="3968125672">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grpSp>
        <p:nvGrpSpPr>
          <p:cNvPr id="171" name="Groep 170">
            <a:extLst>
              <a:ext uri="{FF2B5EF4-FFF2-40B4-BE49-F238E27FC236}">
                <a16:creationId xmlns:a16="http://schemas.microsoft.com/office/drawing/2014/main" id="{CE60DF27-A604-4194-A44A-38476A56031D}"/>
              </a:ext>
            </a:extLst>
          </p:cNvPr>
          <p:cNvGrpSpPr/>
          <p:nvPr/>
        </p:nvGrpSpPr>
        <p:grpSpPr>
          <a:xfrm>
            <a:off x="8149634" y="5746194"/>
            <a:ext cx="288000" cy="288000"/>
            <a:chOff x="7690156" y="5602619"/>
            <a:chExt cx="329184" cy="329184"/>
          </a:xfrm>
        </p:grpSpPr>
        <p:sp>
          <p:nvSpPr>
            <p:cNvPr id="172" name="Oval 53">
              <a:extLst>
                <a:ext uri="{FF2B5EF4-FFF2-40B4-BE49-F238E27FC236}">
                  <a16:creationId xmlns:a16="http://schemas.microsoft.com/office/drawing/2014/main" id="{E77D94BE-96E0-458C-8800-A234158AA06F}"/>
                </a:ext>
              </a:extLst>
            </p:cNvPr>
            <p:cNvSpPr/>
            <p:nvPr/>
          </p:nvSpPr>
          <p:spPr>
            <a:xfrm>
              <a:off x="7690156" y="5602619"/>
              <a:ext cx="329184" cy="329184"/>
            </a:xfrm>
            <a:prstGeom prst="ellipse">
              <a:avLst/>
            </a:prstGeom>
            <a:solidFill>
              <a:srgbClr val="62366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73" name="Shopping_cart" descr="{&quot;Key&quot;:&quot;POWER_USER_SHAPE_ICON&quot;,&quot;Value&quot;:&quot;POWER_USER_SHAPE_ICON_STYLE_1&quot;}">
              <a:extLst>
                <a:ext uri="{FF2B5EF4-FFF2-40B4-BE49-F238E27FC236}">
                  <a16:creationId xmlns:a16="http://schemas.microsoft.com/office/drawing/2014/main" id="{8AF40BA9-213B-4EC0-B0EB-B4DB4CA5C6B9}"/>
                </a:ext>
              </a:extLst>
            </p:cNvPr>
            <p:cNvGrpSpPr>
              <a:grpSpLocks noChangeAspect="1"/>
            </p:cNvGrpSpPr>
            <p:nvPr>
              <p:custDataLst>
                <p:tags r:id="rId53"/>
              </p:custDataLst>
            </p:nvPr>
          </p:nvGrpSpPr>
          <p:grpSpPr>
            <a:xfrm>
              <a:off x="7727679" y="5660649"/>
              <a:ext cx="235088" cy="232174"/>
              <a:chOff x="4646614" y="2062164"/>
              <a:chExt cx="384175" cy="379413"/>
            </a:xfrm>
            <a:solidFill>
              <a:schemeClr val="bg1"/>
            </a:solidFill>
          </p:grpSpPr>
          <p:sp>
            <p:nvSpPr>
              <p:cNvPr id="174" name="Freeform 198">
                <a:extLst>
                  <a:ext uri="{FF2B5EF4-FFF2-40B4-BE49-F238E27FC236}">
                    <a16:creationId xmlns:a16="http://schemas.microsoft.com/office/drawing/2014/main" id="{BBCCCE1D-23CB-4E50-A19A-D83D8E896914}"/>
                  </a:ext>
                </a:extLst>
              </p:cNvPr>
              <p:cNvSpPr>
                <a:spLocks noEditPoints="1"/>
              </p:cNvSpPr>
              <p:nvPr/>
            </p:nvSpPr>
            <p:spPr bwMode="auto">
              <a:xfrm>
                <a:off x="4773614" y="2386014"/>
                <a:ext cx="55563" cy="55563"/>
              </a:xfrm>
              <a:custGeom>
                <a:avLst/>
                <a:gdLst>
                  <a:gd name="T0" fmla="*/ 40 w 80"/>
                  <a:gd name="T1" fmla="*/ 55 h 80"/>
                  <a:gd name="T2" fmla="*/ 25 w 80"/>
                  <a:gd name="T3" fmla="*/ 40 h 80"/>
                  <a:gd name="T4" fmla="*/ 40 w 80"/>
                  <a:gd name="T5" fmla="*/ 25 h 80"/>
                  <a:gd name="T6" fmla="*/ 55 w 80"/>
                  <a:gd name="T7" fmla="*/ 40 h 80"/>
                  <a:gd name="T8" fmla="*/ 40 w 80"/>
                  <a:gd name="T9" fmla="*/ 55 h 80"/>
                  <a:gd name="T10" fmla="*/ 40 w 80"/>
                  <a:gd name="T11" fmla="*/ 0 h 80"/>
                  <a:gd name="T12" fmla="*/ 0 w 80"/>
                  <a:gd name="T13" fmla="*/ 40 h 80"/>
                  <a:gd name="T14" fmla="*/ 40 w 80"/>
                  <a:gd name="T15" fmla="*/ 80 h 80"/>
                  <a:gd name="T16" fmla="*/ 80 w 80"/>
                  <a:gd name="T17" fmla="*/ 40 h 80"/>
                  <a:gd name="T18" fmla="*/ 40 w 80"/>
                  <a:gd name="T19"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0" h="80">
                    <a:moveTo>
                      <a:pt x="40" y="55"/>
                    </a:moveTo>
                    <a:cubicBezTo>
                      <a:pt x="32" y="55"/>
                      <a:pt x="25" y="48"/>
                      <a:pt x="25" y="40"/>
                    </a:cubicBezTo>
                    <a:cubicBezTo>
                      <a:pt x="25" y="32"/>
                      <a:pt x="32" y="25"/>
                      <a:pt x="40" y="25"/>
                    </a:cubicBezTo>
                    <a:cubicBezTo>
                      <a:pt x="48" y="25"/>
                      <a:pt x="55" y="32"/>
                      <a:pt x="55" y="40"/>
                    </a:cubicBezTo>
                    <a:cubicBezTo>
                      <a:pt x="55" y="48"/>
                      <a:pt x="48" y="55"/>
                      <a:pt x="40" y="55"/>
                    </a:cubicBezTo>
                    <a:close/>
                    <a:moveTo>
                      <a:pt x="40" y="0"/>
                    </a:moveTo>
                    <a:cubicBezTo>
                      <a:pt x="18" y="0"/>
                      <a:pt x="0" y="18"/>
                      <a:pt x="0" y="40"/>
                    </a:cubicBezTo>
                    <a:cubicBezTo>
                      <a:pt x="0" y="62"/>
                      <a:pt x="18" y="80"/>
                      <a:pt x="40" y="80"/>
                    </a:cubicBezTo>
                    <a:cubicBezTo>
                      <a:pt x="62" y="80"/>
                      <a:pt x="80" y="62"/>
                      <a:pt x="80" y="40"/>
                    </a:cubicBezTo>
                    <a:cubicBezTo>
                      <a:pt x="80" y="18"/>
                      <a:pt x="62" y="0"/>
                      <a:pt x="40"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5" name="Freeform 199">
                <a:extLst>
                  <a:ext uri="{FF2B5EF4-FFF2-40B4-BE49-F238E27FC236}">
                    <a16:creationId xmlns:a16="http://schemas.microsoft.com/office/drawing/2014/main" id="{5FD70744-85D5-4B1A-B31B-CD38F7E1A055}"/>
                  </a:ext>
                </a:extLst>
              </p:cNvPr>
              <p:cNvSpPr>
                <a:spLocks noEditPoints="1"/>
              </p:cNvSpPr>
              <p:nvPr/>
            </p:nvSpPr>
            <p:spPr bwMode="auto">
              <a:xfrm>
                <a:off x="4929189" y="2386014"/>
                <a:ext cx="55563" cy="55563"/>
              </a:xfrm>
              <a:custGeom>
                <a:avLst/>
                <a:gdLst>
                  <a:gd name="T0" fmla="*/ 40 w 80"/>
                  <a:gd name="T1" fmla="*/ 55 h 80"/>
                  <a:gd name="T2" fmla="*/ 25 w 80"/>
                  <a:gd name="T3" fmla="*/ 40 h 80"/>
                  <a:gd name="T4" fmla="*/ 40 w 80"/>
                  <a:gd name="T5" fmla="*/ 25 h 80"/>
                  <a:gd name="T6" fmla="*/ 55 w 80"/>
                  <a:gd name="T7" fmla="*/ 40 h 80"/>
                  <a:gd name="T8" fmla="*/ 40 w 80"/>
                  <a:gd name="T9" fmla="*/ 55 h 80"/>
                  <a:gd name="T10" fmla="*/ 40 w 80"/>
                  <a:gd name="T11" fmla="*/ 0 h 80"/>
                  <a:gd name="T12" fmla="*/ 0 w 80"/>
                  <a:gd name="T13" fmla="*/ 40 h 80"/>
                  <a:gd name="T14" fmla="*/ 40 w 80"/>
                  <a:gd name="T15" fmla="*/ 80 h 80"/>
                  <a:gd name="T16" fmla="*/ 80 w 80"/>
                  <a:gd name="T17" fmla="*/ 40 h 80"/>
                  <a:gd name="T18" fmla="*/ 40 w 80"/>
                  <a:gd name="T19"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0" h="80">
                    <a:moveTo>
                      <a:pt x="40" y="55"/>
                    </a:moveTo>
                    <a:cubicBezTo>
                      <a:pt x="32" y="55"/>
                      <a:pt x="25" y="48"/>
                      <a:pt x="25" y="40"/>
                    </a:cubicBezTo>
                    <a:cubicBezTo>
                      <a:pt x="25" y="32"/>
                      <a:pt x="32" y="25"/>
                      <a:pt x="40" y="25"/>
                    </a:cubicBezTo>
                    <a:cubicBezTo>
                      <a:pt x="48" y="25"/>
                      <a:pt x="55" y="32"/>
                      <a:pt x="55" y="40"/>
                    </a:cubicBezTo>
                    <a:cubicBezTo>
                      <a:pt x="55" y="48"/>
                      <a:pt x="48" y="55"/>
                      <a:pt x="40" y="55"/>
                    </a:cubicBezTo>
                    <a:close/>
                    <a:moveTo>
                      <a:pt x="40" y="0"/>
                    </a:moveTo>
                    <a:cubicBezTo>
                      <a:pt x="18" y="0"/>
                      <a:pt x="0" y="18"/>
                      <a:pt x="0" y="40"/>
                    </a:cubicBezTo>
                    <a:cubicBezTo>
                      <a:pt x="0" y="62"/>
                      <a:pt x="18" y="80"/>
                      <a:pt x="40" y="80"/>
                    </a:cubicBezTo>
                    <a:cubicBezTo>
                      <a:pt x="62" y="80"/>
                      <a:pt x="80" y="62"/>
                      <a:pt x="80" y="40"/>
                    </a:cubicBezTo>
                    <a:cubicBezTo>
                      <a:pt x="80" y="18"/>
                      <a:pt x="62" y="0"/>
                      <a:pt x="40"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6" name="Freeform 200">
                <a:extLst>
                  <a:ext uri="{FF2B5EF4-FFF2-40B4-BE49-F238E27FC236}">
                    <a16:creationId xmlns:a16="http://schemas.microsoft.com/office/drawing/2014/main" id="{51DAE8F9-AB7D-43F1-890A-DB709E36FC1F}"/>
                  </a:ext>
                </a:extLst>
              </p:cNvPr>
              <p:cNvSpPr>
                <a:spLocks noEditPoints="1"/>
              </p:cNvSpPr>
              <p:nvPr/>
            </p:nvSpPr>
            <p:spPr bwMode="auto">
              <a:xfrm>
                <a:off x="4646614" y="2062164"/>
                <a:ext cx="384175" cy="311150"/>
              </a:xfrm>
              <a:custGeom>
                <a:avLst/>
                <a:gdLst>
                  <a:gd name="T0" fmla="*/ 465 w 554"/>
                  <a:gd name="T1" fmla="*/ 168 h 450"/>
                  <a:gd name="T2" fmla="*/ 530 w 554"/>
                  <a:gd name="T3" fmla="*/ 88 h 450"/>
                  <a:gd name="T4" fmla="*/ 483 w 554"/>
                  <a:gd name="T5" fmla="*/ 257 h 450"/>
                  <a:gd name="T6" fmla="*/ 447 w 554"/>
                  <a:gd name="T7" fmla="*/ 273 h 450"/>
                  <a:gd name="T8" fmla="*/ 505 w 554"/>
                  <a:gd name="T9" fmla="*/ 177 h 450"/>
                  <a:gd name="T10" fmla="*/ 432 w 554"/>
                  <a:gd name="T11" fmla="*/ 273 h 450"/>
                  <a:gd name="T12" fmla="*/ 407 w 554"/>
                  <a:gd name="T13" fmla="*/ 177 h 450"/>
                  <a:gd name="T14" fmla="*/ 432 w 554"/>
                  <a:gd name="T15" fmla="*/ 273 h 450"/>
                  <a:gd name="T16" fmla="*/ 352 w 554"/>
                  <a:gd name="T17" fmla="*/ 88 h 450"/>
                  <a:gd name="T18" fmla="*/ 393 w 554"/>
                  <a:gd name="T19" fmla="*/ 168 h 450"/>
                  <a:gd name="T20" fmla="*/ 383 w 554"/>
                  <a:gd name="T21" fmla="*/ 273 h 450"/>
                  <a:gd name="T22" fmla="*/ 352 w 554"/>
                  <a:gd name="T23" fmla="*/ 177 h 450"/>
                  <a:gd name="T24" fmla="*/ 383 w 554"/>
                  <a:gd name="T25" fmla="*/ 273 h 450"/>
                  <a:gd name="T26" fmla="*/ 297 w 554"/>
                  <a:gd name="T27" fmla="*/ 168 h 450"/>
                  <a:gd name="T28" fmla="*/ 337 w 554"/>
                  <a:gd name="T29" fmla="*/ 88 h 450"/>
                  <a:gd name="T30" fmla="*/ 337 w 554"/>
                  <a:gd name="T31" fmla="*/ 273 h 450"/>
                  <a:gd name="T32" fmla="*/ 298 w 554"/>
                  <a:gd name="T33" fmla="*/ 177 h 450"/>
                  <a:gd name="T34" fmla="*/ 337 w 554"/>
                  <a:gd name="T35" fmla="*/ 273 h 450"/>
                  <a:gd name="T36" fmla="*/ 242 w 554"/>
                  <a:gd name="T37" fmla="*/ 177 h 450"/>
                  <a:gd name="T38" fmla="*/ 292 w 554"/>
                  <a:gd name="T39" fmla="*/ 273 h 450"/>
                  <a:gd name="T40" fmla="*/ 210 w 554"/>
                  <a:gd name="T41" fmla="*/ 273 h 450"/>
                  <a:gd name="T42" fmla="*/ 227 w 554"/>
                  <a:gd name="T43" fmla="*/ 177 h 450"/>
                  <a:gd name="T44" fmla="*/ 210 w 554"/>
                  <a:gd name="T45" fmla="*/ 273 h 450"/>
                  <a:gd name="T46" fmla="*/ 157 w 554"/>
                  <a:gd name="T47" fmla="*/ 268 h 450"/>
                  <a:gd name="T48" fmla="*/ 173 w 554"/>
                  <a:gd name="T49" fmla="*/ 177 h 450"/>
                  <a:gd name="T50" fmla="*/ 170 w 554"/>
                  <a:gd name="T51" fmla="*/ 273 h 450"/>
                  <a:gd name="T52" fmla="*/ 106 w 554"/>
                  <a:gd name="T53" fmla="*/ 88 h 450"/>
                  <a:gd name="T54" fmla="*/ 171 w 554"/>
                  <a:gd name="T55" fmla="*/ 168 h 450"/>
                  <a:gd name="T56" fmla="*/ 126 w 554"/>
                  <a:gd name="T57" fmla="*/ 156 h 450"/>
                  <a:gd name="T58" fmla="*/ 225 w 554"/>
                  <a:gd name="T59" fmla="*/ 168 h 450"/>
                  <a:gd name="T60" fmla="*/ 168 w 554"/>
                  <a:gd name="T61" fmla="*/ 88 h 450"/>
                  <a:gd name="T62" fmla="*/ 274 w 554"/>
                  <a:gd name="T63" fmla="*/ 88 h 450"/>
                  <a:gd name="T64" fmla="*/ 241 w 554"/>
                  <a:gd name="T65" fmla="*/ 168 h 450"/>
                  <a:gd name="T66" fmla="*/ 274 w 554"/>
                  <a:gd name="T67" fmla="*/ 88 h 450"/>
                  <a:gd name="T68" fmla="*/ 462 w 554"/>
                  <a:gd name="T69" fmla="*/ 88 h 450"/>
                  <a:gd name="T70" fmla="*/ 408 w 554"/>
                  <a:gd name="T71" fmla="*/ 168 h 450"/>
                  <a:gd name="T72" fmla="*/ 24 w 554"/>
                  <a:gd name="T73" fmla="*/ 29 h 450"/>
                  <a:gd name="T74" fmla="*/ 19 w 554"/>
                  <a:gd name="T75" fmla="*/ 13 h 450"/>
                  <a:gd name="T76" fmla="*/ 24 w 554"/>
                  <a:gd name="T77" fmla="*/ 29 h 450"/>
                  <a:gd name="T78" fmla="*/ 110 w 554"/>
                  <a:gd name="T79" fmla="*/ 63 h 450"/>
                  <a:gd name="T80" fmla="*/ 91 w 554"/>
                  <a:gd name="T81" fmla="*/ 34 h 450"/>
                  <a:gd name="T82" fmla="*/ 39 w 554"/>
                  <a:gd name="T83" fmla="*/ 12 h 450"/>
                  <a:gd name="T84" fmla="*/ 3 w 554"/>
                  <a:gd name="T85" fmla="*/ 27 h 450"/>
                  <a:gd name="T86" fmla="*/ 38 w 554"/>
                  <a:gd name="T87" fmla="*/ 31 h 450"/>
                  <a:gd name="T88" fmla="*/ 67 w 554"/>
                  <a:gd name="T89" fmla="*/ 40 h 450"/>
                  <a:gd name="T90" fmla="*/ 209 w 554"/>
                  <a:gd name="T91" fmla="*/ 450 h 450"/>
                  <a:gd name="T92" fmla="*/ 496 w 554"/>
                  <a:gd name="T93" fmla="*/ 437 h 450"/>
                  <a:gd name="T94" fmla="*/ 212 w 554"/>
                  <a:gd name="T95" fmla="*/ 420 h 450"/>
                  <a:gd name="T96" fmla="*/ 168 w 554"/>
                  <a:gd name="T97" fmla="*/ 309 h 450"/>
                  <a:gd name="T98" fmla="*/ 451 w 554"/>
                  <a:gd name="T99" fmla="*/ 314 h 450"/>
                  <a:gd name="T100" fmla="*/ 552 w 554"/>
                  <a:gd name="T101" fmla="*/ 88 h 4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54" h="450">
                    <a:moveTo>
                      <a:pt x="508" y="168"/>
                    </a:moveTo>
                    <a:lnTo>
                      <a:pt x="465" y="168"/>
                    </a:lnTo>
                    <a:lnTo>
                      <a:pt x="478" y="88"/>
                    </a:lnTo>
                    <a:lnTo>
                      <a:pt x="530" y="88"/>
                    </a:lnTo>
                    <a:lnTo>
                      <a:pt x="508" y="168"/>
                    </a:lnTo>
                    <a:close/>
                    <a:moveTo>
                      <a:pt x="483" y="257"/>
                    </a:moveTo>
                    <a:cubicBezTo>
                      <a:pt x="480" y="265"/>
                      <a:pt x="471" y="273"/>
                      <a:pt x="462" y="273"/>
                    </a:cubicBezTo>
                    <a:lnTo>
                      <a:pt x="447" y="273"/>
                    </a:lnTo>
                    <a:lnTo>
                      <a:pt x="463" y="177"/>
                    </a:lnTo>
                    <a:lnTo>
                      <a:pt x="505" y="177"/>
                    </a:lnTo>
                    <a:lnTo>
                      <a:pt x="483" y="257"/>
                    </a:lnTo>
                    <a:close/>
                    <a:moveTo>
                      <a:pt x="432" y="273"/>
                    </a:moveTo>
                    <a:lnTo>
                      <a:pt x="398" y="273"/>
                    </a:lnTo>
                    <a:lnTo>
                      <a:pt x="407" y="177"/>
                    </a:lnTo>
                    <a:lnTo>
                      <a:pt x="447" y="177"/>
                    </a:lnTo>
                    <a:lnTo>
                      <a:pt x="432" y="273"/>
                    </a:lnTo>
                    <a:close/>
                    <a:moveTo>
                      <a:pt x="352" y="168"/>
                    </a:moveTo>
                    <a:lnTo>
                      <a:pt x="352" y="88"/>
                    </a:lnTo>
                    <a:lnTo>
                      <a:pt x="401" y="88"/>
                    </a:lnTo>
                    <a:lnTo>
                      <a:pt x="393" y="168"/>
                    </a:lnTo>
                    <a:lnTo>
                      <a:pt x="352" y="168"/>
                    </a:lnTo>
                    <a:close/>
                    <a:moveTo>
                      <a:pt x="383" y="273"/>
                    </a:moveTo>
                    <a:lnTo>
                      <a:pt x="352" y="273"/>
                    </a:lnTo>
                    <a:lnTo>
                      <a:pt x="352" y="177"/>
                    </a:lnTo>
                    <a:lnTo>
                      <a:pt x="392" y="177"/>
                    </a:lnTo>
                    <a:lnTo>
                      <a:pt x="383" y="273"/>
                    </a:lnTo>
                    <a:close/>
                    <a:moveTo>
                      <a:pt x="337" y="168"/>
                    </a:moveTo>
                    <a:lnTo>
                      <a:pt x="297" y="168"/>
                    </a:lnTo>
                    <a:lnTo>
                      <a:pt x="289" y="88"/>
                    </a:lnTo>
                    <a:lnTo>
                      <a:pt x="337" y="88"/>
                    </a:lnTo>
                    <a:lnTo>
                      <a:pt x="337" y="168"/>
                    </a:lnTo>
                    <a:close/>
                    <a:moveTo>
                      <a:pt x="337" y="273"/>
                    </a:moveTo>
                    <a:lnTo>
                      <a:pt x="307" y="273"/>
                    </a:lnTo>
                    <a:lnTo>
                      <a:pt x="298" y="177"/>
                    </a:lnTo>
                    <a:lnTo>
                      <a:pt x="337" y="177"/>
                    </a:lnTo>
                    <a:lnTo>
                      <a:pt x="337" y="273"/>
                    </a:lnTo>
                    <a:close/>
                    <a:moveTo>
                      <a:pt x="258" y="273"/>
                    </a:moveTo>
                    <a:lnTo>
                      <a:pt x="242" y="177"/>
                    </a:lnTo>
                    <a:lnTo>
                      <a:pt x="282" y="177"/>
                    </a:lnTo>
                    <a:lnTo>
                      <a:pt x="292" y="273"/>
                    </a:lnTo>
                    <a:lnTo>
                      <a:pt x="258" y="273"/>
                    </a:lnTo>
                    <a:close/>
                    <a:moveTo>
                      <a:pt x="210" y="273"/>
                    </a:moveTo>
                    <a:lnTo>
                      <a:pt x="188" y="177"/>
                    </a:lnTo>
                    <a:lnTo>
                      <a:pt x="227" y="177"/>
                    </a:lnTo>
                    <a:lnTo>
                      <a:pt x="242" y="273"/>
                    </a:lnTo>
                    <a:lnTo>
                      <a:pt x="210" y="273"/>
                    </a:lnTo>
                    <a:close/>
                    <a:moveTo>
                      <a:pt x="170" y="273"/>
                    </a:moveTo>
                    <a:cubicBezTo>
                      <a:pt x="165" y="273"/>
                      <a:pt x="161" y="271"/>
                      <a:pt x="157" y="268"/>
                    </a:cubicBezTo>
                    <a:cubicBezTo>
                      <a:pt x="150" y="244"/>
                      <a:pt x="141" y="211"/>
                      <a:pt x="131" y="177"/>
                    </a:cubicBezTo>
                    <a:lnTo>
                      <a:pt x="173" y="177"/>
                    </a:lnTo>
                    <a:lnTo>
                      <a:pt x="194" y="273"/>
                    </a:lnTo>
                    <a:lnTo>
                      <a:pt x="170" y="273"/>
                    </a:lnTo>
                    <a:close/>
                    <a:moveTo>
                      <a:pt x="126" y="156"/>
                    </a:moveTo>
                    <a:cubicBezTo>
                      <a:pt x="119" y="133"/>
                      <a:pt x="112" y="109"/>
                      <a:pt x="106" y="88"/>
                    </a:cubicBezTo>
                    <a:lnTo>
                      <a:pt x="153" y="88"/>
                    </a:lnTo>
                    <a:lnTo>
                      <a:pt x="171" y="168"/>
                    </a:lnTo>
                    <a:lnTo>
                      <a:pt x="129" y="168"/>
                    </a:lnTo>
                    <a:cubicBezTo>
                      <a:pt x="128" y="164"/>
                      <a:pt x="127" y="160"/>
                      <a:pt x="126" y="156"/>
                    </a:cubicBezTo>
                    <a:close/>
                    <a:moveTo>
                      <a:pt x="212" y="88"/>
                    </a:moveTo>
                    <a:lnTo>
                      <a:pt x="225" y="168"/>
                    </a:lnTo>
                    <a:lnTo>
                      <a:pt x="186" y="168"/>
                    </a:lnTo>
                    <a:lnTo>
                      <a:pt x="168" y="88"/>
                    </a:lnTo>
                    <a:lnTo>
                      <a:pt x="212" y="88"/>
                    </a:lnTo>
                    <a:close/>
                    <a:moveTo>
                      <a:pt x="274" y="88"/>
                    </a:moveTo>
                    <a:lnTo>
                      <a:pt x="281" y="168"/>
                    </a:lnTo>
                    <a:lnTo>
                      <a:pt x="241" y="168"/>
                    </a:lnTo>
                    <a:lnTo>
                      <a:pt x="228" y="88"/>
                    </a:lnTo>
                    <a:lnTo>
                      <a:pt x="274" y="88"/>
                    </a:lnTo>
                    <a:close/>
                    <a:moveTo>
                      <a:pt x="416" y="88"/>
                    </a:moveTo>
                    <a:lnTo>
                      <a:pt x="462" y="88"/>
                    </a:lnTo>
                    <a:lnTo>
                      <a:pt x="449" y="168"/>
                    </a:lnTo>
                    <a:lnTo>
                      <a:pt x="408" y="168"/>
                    </a:lnTo>
                    <a:lnTo>
                      <a:pt x="416" y="88"/>
                    </a:lnTo>
                    <a:close/>
                    <a:moveTo>
                      <a:pt x="24" y="29"/>
                    </a:moveTo>
                    <a:cubicBezTo>
                      <a:pt x="19" y="31"/>
                      <a:pt x="15" y="28"/>
                      <a:pt x="13" y="24"/>
                    </a:cubicBezTo>
                    <a:cubicBezTo>
                      <a:pt x="12" y="19"/>
                      <a:pt x="14" y="14"/>
                      <a:pt x="19" y="13"/>
                    </a:cubicBezTo>
                    <a:cubicBezTo>
                      <a:pt x="24" y="12"/>
                      <a:pt x="28" y="14"/>
                      <a:pt x="30" y="19"/>
                    </a:cubicBezTo>
                    <a:cubicBezTo>
                      <a:pt x="31" y="23"/>
                      <a:pt x="29" y="28"/>
                      <a:pt x="24" y="29"/>
                    </a:cubicBezTo>
                    <a:close/>
                    <a:moveTo>
                      <a:pt x="533" y="63"/>
                    </a:moveTo>
                    <a:lnTo>
                      <a:pt x="110" y="63"/>
                    </a:lnTo>
                    <a:cubicBezTo>
                      <a:pt x="106" y="63"/>
                      <a:pt x="103" y="63"/>
                      <a:pt x="100" y="65"/>
                    </a:cubicBezTo>
                    <a:cubicBezTo>
                      <a:pt x="99" y="61"/>
                      <a:pt x="94" y="44"/>
                      <a:pt x="91" y="34"/>
                    </a:cubicBezTo>
                    <a:cubicBezTo>
                      <a:pt x="88" y="22"/>
                      <a:pt x="79" y="12"/>
                      <a:pt x="64" y="12"/>
                    </a:cubicBezTo>
                    <a:cubicBezTo>
                      <a:pt x="61" y="12"/>
                      <a:pt x="40" y="12"/>
                      <a:pt x="39" y="12"/>
                    </a:cubicBezTo>
                    <a:cubicBezTo>
                      <a:pt x="34" y="4"/>
                      <a:pt x="25" y="0"/>
                      <a:pt x="16" y="2"/>
                    </a:cubicBezTo>
                    <a:cubicBezTo>
                      <a:pt x="5" y="6"/>
                      <a:pt x="0" y="16"/>
                      <a:pt x="3" y="27"/>
                    </a:cubicBezTo>
                    <a:cubicBezTo>
                      <a:pt x="6" y="37"/>
                      <a:pt x="17" y="43"/>
                      <a:pt x="27" y="40"/>
                    </a:cubicBezTo>
                    <a:cubicBezTo>
                      <a:pt x="32" y="39"/>
                      <a:pt x="36" y="35"/>
                      <a:pt x="38" y="31"/>
                    </a:cubicBezTo>
                    <a:cubicBezTo>
                      <a:pt x="40" y="31"/>
                      <a:pt x="52" y="31"/>
                      <a:pt x="54" y="31"/>
                    </a:cubicBezTo>
                    <a:cubicBezTo>
                      <a:pt x="63" y="31"/>
                      <a:pt x="65" y="33"/>
                      <a:pt x="67" y="40"/>
                    </a:cubicBezTo>
                    <a:cubicBezTo>
                      <a:pt x="73" y="61"/>
                      <a:pt x="165" y="388"/>
                      <a:pt x="171" y="409"/>
                    </a:cubicBezTo>
                    <a:cubicBezTo>
                      <a:pt x="180" y="439"/>
                      <a:pt x="194" y="450"/>
                      <a:pt x="209" y="450"/>
                    </a:cubicBezTo>
                    <a:lnTo>
                      <a:pt x="483" y="450"/>
                    </a:lnTo>
                    <a:cubicBezTo>
                      <a:pt x="492" y="450"/>
                      <a:pt x="496" y="441"/>
                      <a:pt x="496" y="437"/>
                    </a:cubicBezTo>
                    <a:cubicBezTo>
                      <a:pt x="498" y="423"/>
                      <a:pt x="486" y="420"/>
                      <a:pt x="480" y="420"/>
                    </a:cubicBezTo>
                    <a:lnTo>
                      <a:pt x="212" y="420"/>
                    </a:lnTo>
                    <a:cubicBezTo>
                      <a:pt x="205" y="420"/>
                      <a:pt x="198" y="415"/>
                      <a:pt x="196" y="408"/>
                    </a:cubicBezTo>
                    <a:cubicBezTo>
                      <a:pt x="195" y="404"/>
                      <a:pt x="170" y="315"/>
                      <a:pt x="168" y="309"/>
                    </a:cubicBezTo>
                    <a:cubicBezTo>
                      <a:pt x="174" y="315"/>
                      <a:pt x="179" y="314"/>
                      <a:pt x="182" y="314"/>
                    </a:cubicBezTo>
                    <a:lnTo>
                      <a:pt x="451" y="314"/>
                    </a:lnTo>
                    <a:cubicBezTo>
                      <a:pt x="486" y="314"/>
                      <a:pt x="500" y="272"/>
                      <a:pt x="503" y="259"/>
                    </a:cubicBezTo>
                    <a:lnTo>
                      <a:pt x="552" y="88"/>
                    </a:lnTo>
                    <a:cubicBezTo>
                      <a:pt x="554" y="81"/>
                      <a:pt x="552" y="63"/>
                      <a:pt x="533" y="63"/>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grpSp>
        <p:nvGrpSpPr>
          <p:cNvPr id="177" name="Groep 176">
            <a:extLst>
              <a:ext uri="{FF2B5EF4-FFF2-40B4-BE49-F238E27FC236}">
                <a16:creationId xmlns:a16="http://schemas.microsoft.com/office/drawing/2014/main" id="{C9B5E07D-41E1-4FC6-98F2-5C8B93D92CCB}"/>
              </a:ext>
            </a:extLst>
          </p:cNvPr>
          <p:cNvGrpSpPr/>
          <p:nvPr/>
        </p:nvGrpSpPr>
        <p:grpSpPr>
          <a:xfrm>
            <a:off x="9425514" y="742503"/>
            <a:ext cx="288000" cy="288000"/>
            <a:chOff x="8966036" y="598928"/>
            <a:chExt cx="324000" cy="329184"/>
          </a:xfrm>
        </p:grpSpPr>
        <p:sp>
          <p:nvSpPr>
            <p:cNvPr id="178" name="Oval 53">
              <a:extLst>
                <a:ext uri="{FF2B5EF4-FFF2-40B4-BE49-F238E27FC236}">
                  <a16:creationId xmlns:a16="http://schemas.microsoft.com/office/drawing/2014/main" id="{85A3C20F-D5A2-4BBA-9D4C-1291B8024847}"/>
                </a:ext>
              </a:extLst>
            </p:cNvPr>
            <p:cNvSpPr/>
            <p:nvPr/>
          </p:nvSpPr>
          <p:spPr>
            <a:xfrm>
              <a:off x="8966036" y="598928"/>
              <a:ext cx="324000" cy="329184"/>
            </a:xfrm>
            <a:prstGeom prst="ellipse">
              <a:avLst/>
            </a:prstGeom>
            <a:solidFill>
              <a:srgbClr val="62366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79" name="Shopping_cart" descr="{&quot;Key&quot;:&quot;POWER_USER_SHAPE_ICON&quot;,&quot;Value&quot;:&quot;POWER_USER_SHAPE_ICON_STYLE_1&quot;}">
              <a:extLst>
                <a:ext uri="{FF2B5EF4-FFF2-40B4-BE49-F238E27FC236}">
                  <a16:creationId xmlns:a16="http://schemas.microsoft.com/office/drawing/2014/main" id="{1C9CEBB3-340C-42F5-BBB7-76F87271B3C3}"/>
                </a:ext>
              </a:extLst>
            </p:cNvPr>
            <p:cNvGrpSpPr>
              <a:grpSpLocks noChangeAspect="1"/>
            </p:cNvGrpSpPr>
            <p:nvPr>
              <p:custDataLst>
                <p:tags r:id="rId52"/>
              </p:custDataLst>
            </p:nvPr>
          </p:nvGrpSpPr>
          <p:grpSpPr>
            <a:xfrm>
              <a:off x="9003559" y="656958"/>
              <a:ext cx="235088" cy="232174"/>
              <a:chOff x="4646614" y="2062164"/>
              <a:chExt cx="384175" cy="379413"/>
            </a:xfrm>
            <a:solidFill>
              <a:schemeClr val="bg1"/>
            </a:solidFill>
          </p:grpSpPr>
          <p:sp>
            <p:nvSpPr>
              <p:cNvPr id="180" name="Freeform 198">
                <a:extLst>
                  <a:ext uri="{FF2B5EF4-FFF2-40B4-BE49-F238E27FC236}">
                    <a16:creationId xmlns:a16="http://schemas.microsoft.com/office/drawing/2014/main" id="{DF7836BE-B62A-45A8-8EDF-AA6119328D15}"/>
                  </a:ext>
                </a:extLst>
              </p:cNvPr>
              <p:cNvSpPr>
                <a:spLocks noEditPoints="1"/>
              </p:cNvSpPr>
              <p:nvPr/>
            </p:nvSpPr>
            <p:spPr bwMode="auto">
              <a:xfrm>
                <a:off x="4773614" y="2386014"/>
                <a:ext cx="55563" cy="55563"/>
              </a:xfrm>
              <a:custGeom>
                <a:avLst/>
                <a:gdLst>
                  <a:gd name="T0" fmla="*/ 40 w 80"/>
                  <a:gd name="T1" fmla="*/ 55 h 80"/>
                  <a:gd name="T2" fmla="*/ 25 w 80"/>
                  <a:gd name="T3" fmla="*/ 40 h 80"/>
                  <a:gd name="T4" fmla="*/ 40 w 80"/>
                  <a:gd name="T5" fmla="*/ 25 h 80"/>
                  <a:gd name="T6" fmla="*/ 55 w 80"/>
                  <a:gd name="T7" fmla="*/ 40 h 80"/>
                  <a:gd name="T8" fmla="*/ 40 w 80"/>
                  <a:gd name="T9" fmla="*/ 55 h 80"/>
                  <a:gd name="T10" fmla="*/ 40 w 80"/>
                  <a:gd name="T11" fmla="*/ 0 h 80"/>
                  <a:gd name="T12" fmla="*/ 0 w 80"/>
                  <a:gd name="T13" fmla="*/ 40 h 80"/>
                  <a:gd name="T14" fmla="*/ 40 w 80"/>
                  <a:gd name="T15" fmla="*/ 80 h 80"/>
                  <a:gd name="T16" fmla="*/ 80 w 80"/>
                  <a:gd name="T17" fmla="*/ 40 h 80"/>
                  <a:gd name="T18" fmla="*/ 40 w 80"/>
                  <a:gd name="T19"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0" h="80">
                    <a:moveTo>
                      <a:pt x="40" y="55"/>
                    </a:moveTo>
                    <a:cubicBezTo>
                      <a:pt x="32" y="55"/>
                      <a:pt x="25" y="48"/>
                      <a:pt x="25" y="40"/>
                    </a:cubicBezTo>
                    <a:cubicBezTo>
                      <a:pt x="25" y="32"/>
                      <a:pt x="32" y="25"/>
                      <a:pt x="40" y="25"/>
                    </a:cubicBezTo>
                    <a:cubicBezTo>
                      <a:pt x="48" y="25"/>
                      <a:pt x="55" y="32"/>
                      <a:pt x="55" y="40"/>
                    </a:cubicBezTo>
                    <a:cubicBezTo>
                      <a:pt x="55" y="48"/>
                      <a:pt x="48" y="55"/>
                      <a:pt x="40" y="55"/>
                    </a:cubicBezTo>
                    <a:close/>
                    <a:moveTo>
                      <a:pt x="40" y="0"/>
                    </a:moveTo>
                    <a:cubicBezTo>
                      <a:pt x="18" y="0"/>
                      <a:pt x="0" y="18"/>
                      <a:pt x="0" y="40"/>
                    </a:cubicBezTo>
                    <a:cubicBezTo>
                      <a:pt x="0" y="62"/>
                      <a:pt x="18" y="80"/>
                      <a:pt x="40" y="80"/>
                    </a:cubicBezTo>
                    <a:cubicBezTo>
                      <a:pt x="62" y="80"/>
                      <a:pt x="80" y="62"/>
                      <a:pt x="80" y="40"/>
                    </a:cubicBezTo>
                    <a:cubicBezTo>
                      <a:pt x="80" y="18"/>
                      <a:pt x="62" y="0"/>
                      <a:pt x="40"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1" name="Freeform 199">
                <a:extLst>
                  <a:ext uri="{FF2B5EF4-FFF2-40B4-BE49-F238E27FC236}">
                    <a16:creationId xmlns:a16="http://schemas.microsoft.com/office/drawing/2014/main" id="{C0B84F4F-5AAF-491F-957B-5643565A08E1}"/>
                  </a:ext>
                </a:extLst>
              </p:cNvPr>
              <p:cNvSpPr>
                <a:spLocks noEditPoints="1"/>
              </p:cNvSpPr>
              <p:nvPr/>
            </p:nvSpPr>
            <p:spPr bwMode="auto">
              <a:xfrm>
                <a:off x="4929189" y="2386014"/>
                <a:ext cx="55563" cy="55563"/>
              </a:xfrm>
              <a:custGeom>
                <a:avLst/>
                <a:gdLst>
                  <a:gd name="T0" fmla="*/ 40 w 80"/>
                  <a:gd name="T1" fmla="*/ 55 h 80"/>
                  <a:gd name="T2" fmla="*/ 25 w 80"/>
                  <a:gd name="T3" fmla="*/ 40 h 80"/>
                  <a:gd name="T4" fmla="*/ 40 w 80"/>
                  <a:gd name="T5" fmla="*/ 25 h 80"/>
                  <a:gd name="T6" fmla="*/ 55 w 80"/>
                  <a:gd name="T7" fmla="*/ 40 h 80"/>
                  <a:gd name="T8" fmla="*/ 40 w 80"/>
                  <a:gd name="T9" fmla="*/ 55 h 80"/>
                  <a:gd name="T10" fmla="*/ 40 w 80"/>
                  <a:gd name="T11" fmla="*/ 0 h 80"/>
                  <a:gd name="T12" fmla="*/ 0 w 80"/>
                  <a:gd name="T13" fmla="*/ 40 h 80"/>
                  <a:gd name="T14" fmla="*/ 40 w 80"/>
                  <a:gd name="T15" fmla="*/ 80 h 80"/>
                  <a:gd name="T16" fmla="*/ 80 w 80"/>
                  <a:gd name="T17" fmla="*/ 40 h 80"/>
                  <a:gd name="T18" fmla="*/ 40 w 80"/>
                  <a:gd name="T19"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0" h="80">
                    <a:moveTo>
                      <a:pt x="40" y="55"/>
                    </a:moveTo>
                    <a:cubicBezTo>
                      <a:pt x="32" y="55"/>
                      <a:pt x="25" y="48"/>
                      <a:pt x="25" y="40"/>
                    </a:cubicBezTo>
                    <a:cubicBezTo>
                      <a:pt x="25" y="32"/>
                      <a:pt x="32" y="25"/>
                      <a:pt x="40" y="25"/>
                    </a:cubicBezTo>
                    <a:cubicBezTo>
                      <a:pt x="48" y="25"/>
                      <a:pt x="55" y="32"/>
                      <a:pt x="55" y="40"/>
                    </a:cubicBezTo>
                    <a:cubicBezTo>
                      <a:pt x="55" y="48"/>
                      <a:pt x="48" y="55"/>
                      <a:pt x="40" y="55"/>
                    </a:cubicBezTo>
                    <a:close/>
                    <a:moveTo>
                      <a:pt x="40" y="0"/>
                    </a:moveTo>
                    <a:cubicBezTo>
                      <a:pt x="18" y="0"/>
                      <a:pt x="0" y="18"/>
                      <a:pt x="0" y="40"/>
                    </a:cubicBezTo>
                    <a:cubicBezTo>
                      <a:pt x="0" y="62"/>
                      <a:pt x="18" y="80"/>
                      <a:pt x="40" y="80"/>
                    </a:cubicBezTo>
                    <a:cubicBezTo>
                      <a:pt x="62" y="80"/>
                      <a:pt x="80" y="62"/>
                      <a:pt x="80" y="40"/>
                    </a:cubicBezTo>
                    <a:cubicBezTo>
                      <a:pt x="80" y="18"/>
                      <a:pt x="62" y="0"/>
                      <a:pt x="40"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2" name="Freeform 200">
                <a:extLst>
                  <a:ext uri="{FF2B5EF4-FFF2-40B4-BE49-F238E27FC236}">
                    <a16:creationId xmlns:a16="http://schemas.microsoft.com/office/drawing/2014/main" id="{4C50E33E-4701-423A-9AF7-044CBA09388B}"/>
                  </a:ext>
                </a:extLst>
              </p:cNvPr>
              <p:cNvSpPr>
                <a:spLocks noEditPoints="1"/>
              </p:cNvSpPr>
              <p:nvPr/>
            </p:nvSpPr>
            <p:spPr bwMode="auto">
              <a:xfrm>
                <a:off x="4646614" y="2062164"/>
                <a:ext cx="384175" cy="311150"/>
              </a:xfrm>
              <a:custGeom>
                <a:avLst/>
                <a:gdLst>
                  <a:gd name="T0" fmla="*/ 465 w 554"/>
                  <a:gd name="T1" fmla="*/ 168 h 450"/>
                  <a:gd name="T2" fmla="*/ 530 w 554"/>
                  <a:gd name="T3" fmla="*/ 88 h 450"/>
                  <a:gd name="T4" fmla="*/ 483 w 554"/>
                  <a:gd name="T5" fmla="*/ 257 h 450"/>
                  <a:gd name="T6" fmla="*/ 447 w 554"/>
                  <a:gd name="T7" fmla="*/ 273 h 450"/>
                  <a:gd name="T8" fmla="*/ 505 w 554"/>
                  <a:gd name="T9" fmla="*/ 177 h 450"/>
                  <a:gd name="T10" fmla="*/ 432 w 554"/>
                  <a:gd name="T11" fmla="*/ 273 h 450"/>
                  <a:gd name="T12" fmla="*/ 407 w 554"/>
                  <a:gd name="T13" fmla="*/ 177 h 450"/>
                  <a:gd name="T14" fmla="*/ 432 w 554"/>
                  <a:gd name="T15" fmla="*/ 273 h 450"/>
                  <a:gd name="T16" fmla="*/ 352 w 554"/>
                  <a:gd name="T17" fmla="*/ 88 h 450"/>
                  <a:gd name="T18" fmla="*/ 393 w 554"/>
                  <a:gd name="T19" fmla="*/ 168 h 450"/>
                  <a:gd name="T20" fmla="*/ 383 w 554"/>
                  <a:gd name="T21" fmla="*/ 273 h 450"/>
                  <a:gd name="T22" fmla="*/ 352 w 554"/>
                  <a:gd name="T23" fmla="*/ 177 h 450"/>
                  <a:gd name="T24" fmla="*/ 383 w 554"/>
                  <a:gd name="T25" fmla="*/ 273 h 450"/>
                  <a:gd name="T26" fmla="*/ 297 w 554"/>
                  <a:gd name="T27" fmla="*/ 168 h 450"/>
                  <a:gd name="T28" fmla="*/ 337 w 554"/>
                  <a:gd name="T29" fmla="*/ 88 h 450"/>
                  <a:gd name="T30" fmla="*/ 337 w 554"/>
                  <a:gd name="T31" fmla="*/ 273 h 450"/>
                  <a:gd name="T32" fmla="*/ 298 w 554"/>
                  <a:gd name="T33" fmla="*/ 177 h 450"/>
                  <a:gd name="T34" fmla="*/ 337 w 554"/>
                  <a:gd name="T35" fmla="*/ 273 h 450"/>
                  <a:gd name="T36" fmla="*/ 242 w 554"/>
                  <a:gd name="T37" fmla="*/ 177 h 450"/>
                  <a:gd name="T38" fmla="*/ 292 w 554"/>
                  <a:gd name="T39" fmla="*/ 273 h 450"/>
                  <a:gd name="T40" fmla="*/ 210 w 554"/>
                  <a:gd name="T41" fmla="*/ 273 h 450"/>
                  <a:gd name="T42" fmla="*/ 227 w 554"/>
                  <a:gd name="T43" fmla="*/ 177 h 450"/>
                  <a:gd name="T44" fmla="*/ 210 w 554"/>
                  <a:gd name="T45" fmla="*/ 273 h 450"/>
                  <a:gd name="T46" fmla="*/ 157 w 554"/>
                  <a:gd name="T47" fmla="*/ 268 h 450"/>
                  <a:gd name="T48" fmla="*/ 173 w 554"/>
                  <a:gd name="T49" fmla="*/ 177 h 450"/>
                  <a:gd name="T50" fmla="*/ 170 w 554"/>
                  <a:gd name="T51" fmla="*/ 273 h 450"/>
                  <a:gd name="T52" fmla="*/ 106 w 554"/>
                  <a:gd name="T53" fmla="*/ 88 h 450"/>
                  <a:gd name="T54" fmla="*/ 171 w 554"/>
                  <a:gd name="T55" fmla="*/ 168 h 450"/>
                  <a:gd name="T56" fmla="*/ 126 w 554"/>
                  <a:gd name="T57" fmla="*/ 156 h 450"/>
                  <a:gd name="T58" fmla="*/ 225 w 554"/>
                  <a:gd name="T59" fmla="*/ 168 h 450"/>
                  <a:gd name="T60" fmla="*/ 168 w 554"/>
                  <a:gd name="T61" fmla="*/ 88 h 450"/>
                  <a:gd name="T62" fmla="*/ 274 w 554"/>
                  <a:gd name="T63" fmla="*/ 88 h 450"/>
                  <a:gd name="T64" fmla="*/ 241 w 554"/>
                  <a:gd name="T65" fmla="*/ 168 h 450"/>
                  <a:gd name="T66" fmla="*/ 274 w 554"/>
                  <a:gd name="T67" fmla="*/ 88 h 450"/>
                  <a:gd name="T68" fmla="*/ 462 w 554"/>
                  <a:gd name="T69" fmla="*/ 88 h 450"/>
                  <a:gd name="T70" fmla="*/ 408 w 554"/>
                  <a:gd name="T71" fmla="*/ 168 h 450"/>
                  <a:gd name="T72" fmla="*/ 24 w 554"/>
                  <a:gd name="T73" fmla="*/ 29 h 450"/>
                  <a:gd name="T74" fmla="*/ 19 w 554"/>
                  <a:gd name="T75" fmla="*/ 13 h 450"/>
                  <a:gd name="T76" fmla="*/ 24 w 554"/>
                  <a:gd name="T77" fmla="*/ 29 h 450"/>
                  <a:gd name="T78" fmla="*/ 110 w 554"/>
                  <a:gd name="T79" fmla="*/ 63 h 450"/>
                  <a:gd name="T80" fmla="*/ 91 w 554"/>
                  <a:gd name="T81" fmla="*/ 34 h 450"/>
                  <a:gd name="T82" fmla="*/ 39 w 554"/>
                  <a:gd name="T83" fmla="*/ 12 h 450"/>
                  <a:gd name="T84" fmla="*/ 3 w 554"/>
                  <a:gd name="T85" fmla="*/ 27 h 450"/>
                  <a:gd name="T86" fmla="*/ 38 w 554"/>
                  <a:gd name="T87" fmla="*/ 31 h 450"/>
                  <a:gd name="T88" fmla="*/ 67 w 554"/>
                  <a:gd name="T89" fmla="*/ 40 h 450"/>
                  <a:gd name="T90" fmla="*/ 209 w 554"/>
                  <a:gd name="T91" fmla="*/ 450 h 450"/>
                  <a:gd name="T92" fmla="*/ 496 w 554"/>
                  <a:gd name="T93" fmla="*/ 437 h 450"/>
                  <a:gd name="T94" fmla="*/ 212 w 554"/>
                  <a:gd name="T95" fmla="*/ 420 h 450"/>
                  <a:gd name="T96" fmla="*/ 168 w 554"/>
                  <a:gd name="T97" fmla="*/ 309 h 450"/>
                  <a:gd name="T98" fmla="*/ 451 w 554"/>
                  <a:gd name="T99" fmla="*/ 314 h 450"/>
                  <a:gd name="T100" fmla="*/ 552 w 554"/>
                  <a:gd name="T101" fmla="*/ 88 h 4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54" h="450">
                    <a:moveTo>
                      <a:pt x="508" y="168"/>
                    </a:moveTo>
                    <a:lnTo>
                      <a:pt x="465" y="168"/>
                    </a:lnTo>
                    <a:lnTo>
                      <a:pt x="478" y="88"/>
                    </a:lnTo>
                    <a:lnTo>
                      <a:pt x="530" y="88"/>
                    </a:lnTo>
                    <a:lnTo>
                      <a:pt x="508" y="168"/>
                    </a:lnTo>
                    <a:close/>
                    <a:moveTo>
                      <a:pt x="483" y="257"/>
                    </a:moveTo>
                    <a:cubicBezTo>
                      <a:pt x="480" y="265"/>
                      <a:pt x="471" y="273"/>
                      <a:pt x="462" y="273"/>
                    </a:cubicBezTo>
                    <a:lnTo>
                      <a:pt x="447" y="273"/>
                    </a:lnTo>
                    <a:lnTo>
                      <a:pt x="463" y="177"/>
                    </a:lnTo>
                    <a:lnTo>
                      <a:pt x="505" y="177"/>
                    </a:lnTo>
                    <a:lnTo>
                      <a:pt x="483" y="257"/>
                    </a:lnTo>
                    <a:close/>
                    <a:moveTo>
                      <a:pt x="432" y="273"/>
                    </a:moveTo>
                    <a:lnTo>
                      <a:pt x="398" y="273"/>
                    </a:lnTo>
                    <a:lnTo>
                      <a:pt x="407" y="177"/>
                    </a:lnTo>
                    <a:lnTo>
                      <a:pt x="447" y="177"/>
                    </a:lnTo>
                    <a:lnTo>
                      <a:pt x="432" y="273"/>
                    </a:lnTo>
                    <a:close/>
                    <a:moveTo>
                      <a:pt x="352" y="168"/>
                    </a:moveTo>
                    <a:lnTo>
                      <a:pt x="352" y="88"/>
                    </a:lnTo>
                    <a:lnTo>
                      <a:pt x="401" y="88"/>
                    </a:lnTo>
                    <a:lnTo>
                      <a:pt x="393" y="168"/>
                    </a:lnTo>
                    <a:lnTo>
                      <a:pt x="352" y="168"/>
                    </a:lnTo>
                    <a:close/>
                    <a:moveTo>
                      <a:pt x="383" y="273"/>
                    </a:moveTo>
                    <a:lnTo>
                      <a:pt x="352" y="273"/>
                    </a:lnTo>
                    <a:lnTo>
                      <a:pt x="352" y="177"/>
                    </a:lnTo>
                    <a:lnTo>
                      <a:pt x="392" y="177"/>
                    </a:lnTo>
                    <a:lnTo>
                      <a:pt x="383" y="273"/>
                    </a:lnTo>
                    <a:close/>
                    <a:moveTo>
                      <a:pt x="337" y="168"/>
                    </a:moveTo>
                    <a:lnTo>
                      <a:pt x="297" y="168"/>
                    </a:lnTo>
                    <a:lnTo>
                      <a:pt x="289" y="88"/>
                    </a:lnTo>
                    <a:lnTo>
                      <a:pt x="337" y="88"/>
                    </a:lnTo>
                    <a:lnTo>
                      <a:pt x="337" y="168"/>
                    </a:lnTo>
                    <a:close/>
                    <a:moveTo>
                      <a:pt x="337" y="273"/>
                    </a:moveTo>
                    <a:lnTo>
                      <a:pt x="307" y="273"/>
                    </a:lnTo>
                    <a:lnTo>
                      <a:pt x="298" y="177"/>
                    </a:lnTo>
                    <a:lnTo>
                      <a:pt x="337" y="177"/>
                    </a:lnTo>
                    <a:lnTo>
                      <a:pt x="337" y="273"/>
                    </a:lnTo>
                    <a:close/>
                    <a:moveTo>
                      <a:pt x="258" y="273"/>
                    </a:moveTo>
                    <a:lnTo>
                      <a:pt x="242" y="177"/>
                    </a:lnTo>
                    <a:lnTo>
                      <a:pt x="282" y="177"/>
                    </a:lnTo>
                    <a:lnTo>
                      <a:pt x="292" y="273"/>
                    </a:lnTo>
                    <a:lnTo>
                      <a:pt x="258" y="273"/>
                    </a:lnTo>
                    <a:close/>
                    <a:moveTo>
                      <a:pt x="210" y="273"/>
                    </a:moveTo>
                    <a:lnTo>
                      <a:pt x="188" y="177"/>
                    </a:lnTo>
                    <a:lnTo>
                      <a:pt x="227" y="177"/>
                    </a:lnTo>
                    <a:lnTo>
                      <a:pt x="242" y="273"/>
                    </a:lnTo>
                    <a:lnTo>
                      <a:pt x="210" y="273"/>
                    </a:lnTo>
                    <a:close/>
                    <a:moveTo>
                      <a:pt x="170" y="273"/>
                    </a:moveTo>
                    <a:cubicBezTo>
                      <a:pt x="165" y="273"/>
                      <a:pt x="161" y="271"/>
                      <a:pt x="157" y="268"/>
                    </a:cubicBezTo>
                    <a:cubicBezTo>
                      <a:pt x="150" y="244"/>
                      <a:pt x="141" y="211"/>
                      <a:pt x="131" y="177"/>
                    </a:cubicBezTo>
                    <a:lnTo>
                      <a:pt x="173" y="177"/>
                    </a:lnTo>
                    <a:lnTo>
                      <a:pt x="194" y="273"/>
                    </a:lnTo>
                    <a:lnTo>
                      <a:pt x="170" y="273"/>
                    </a:lnTo>
                    <a:close/>
                    <a:moveTo>
                      <a:pt x="126" y="156"/>
                    </a:moveTo>
                    <a:cubicBezTo>
                      <a:pt x="119" y="133"/>
                      <a:pt x="112" y="109"/>
                      <a:pt x="106" y="88"/>
                    </a:cubicBezTo>
                    <a:lnTo>
                      <a:pt x="153" y="88"/>
                    </a:lnTo>
                    <a:lnTo>
                      <a:pt x="171" y="168"/>
                    </a:lnTo>
                    <a:lnTo>
                      <a:pt x="129" y="168"/>
                    </a:lnTo>
                    <a:cubicBezTo>
                      <a:pt x="128" y="164"/>
                      <a:pt x="127" y="160"/>
                      <a:pt x="126" y="156"/>
                    </a:cubicBezTo>
                    <a:close/>
                    <a:moveTo>
                      <a:pt x="212" y="88"/>
                    </a:moveTo>
                    <a:lnTo>
                      <a:pt x="225" y="168"/>
                    </a:lnTo>
                    <a:lnTo>
                      <a:pt x="186" y="168"/>
                    </a:lnTo>
                    <a:lnTo>
                      <a:pt x="168" y="88"/>
                    </a:lnTo>
                    <a:lnTo>
                      <a:pt x="212" y="88"/>
                    </a:lnTo>
                    <a:close/>
                    <a:moveTo>
                      <a:pt x="274" y="88"/>
                    </a:moveTo>
                    <a:lnTo>
                      <a:pt x="281" y="168"/>
                    </a:lnTo>
                    <a:lnTo>
                      <a:pt x="241" y="168"/>
                    </a:lnTo>
                    <a:lnTo>
                      <a:pt x="228" y="88"/>
                    </a:lnTo>
                    <a:lnTo>
                      <a:pt x="274" y="88"/>
                    </a:lnTo>
                    <a:close/>
                    <a:moveTo>
                      <a:pt x="416" y="88"/>
                    </a:moveTo>
                    <a:lnTo>
                      <a:pt x="462" y="88"/>
                    </a:lnTo>
                    <a:lnTo>
                      <a:pt x="449" y="168"/>
                    </a:lnTo>
                    <a:lnTo>
                      <a:pt x="408" y="168"/>
                    </a:lnTo>
                    <a:lnTo>
                      <a:pt x="416" y="88"/>
                    </a:lnTo>
                    <a:close/>
                    <a:moveTo>
                      <a:pt x="24" y="29"/>
                    </a:moveTo>
                    <a:cubicBezTo>
                      <a:pt x="19" y="31"/>
                      <a:pt x="15" y="28"/>
                      <a:pt x="13" y="24"/>
                    </a:cubicBezTo>
                    <a:cubicBezTo>
                      <a:pt x="12" y="19"/>
                      <a:pt x="14" y="14"/>
                      <a:pt x="19" y="13"/>
                    </a:cubicBezTo>
                    <a:cubicBezTo>
                      <a:pt x="24" y="12"/>
                      <a:pt x="28" y="14"/>
                      <a:pt x="30" y="19"/>
                    </a:cubicBezTo>
                    <a:cubicBezTo>
                      <a:pt x="31" y="23"/>
                      <a:pt x="29" y="28"/>
                      <a:pt x="24" y="29"/>
                    </a:cubicBezTo>
                    <a:close/>
                    <a:moveTo>
                      <a:pt x="533" y="63"/>
                    </a:moveTo>
                    <a:lnTo>
                      <a:pt x="110" y="63"/>
                    </a:lnTo>
                    <a:cubicBezTo>
                      <a:pt x="106" y="63"/>
                      <a:pt x="103" y="63"/>
                      <a:pt x="100" y="65"/>
                    </a:cubicBezTo>
                    <a:cubicBezTo>
                      <a:pt x="99" y="61"/>
                      <a:pt x="94" y="44"/>
                      <a:pt x="91" y="34"/>
                    </a:cubicBezTo>
                    <a:cubicBezTo>
                      <a:pt x="88" y="22"/>
                      <a:pt x="79" y="12"/>
                      <a:pt x="64" y="12"/>
                    </a:cubicBezTo>
                    <a:cubicBezTo>
                      <a:pt x="61" y="12"/>
                      <a:pt x="40" y="12"/>
                      <a:pt x="39" y="12"/>
                    </a:cubicBezTo>
                    <a:cubicBezTo>
                      <a:pt x="34" y="4"/>
                      <a:pt x="25" y="0"/>
                      <a:pt x="16" y="2"/>
                    </a:cubicBezTo>
                    <a:cubicBezTo>
                      <a:pt x="5" y="6"/>
                      <a:pt x="0" y="16"/>
                      <a:pt x="3" y="27"/>
                    </a:cubicBezTo>
                    <a:cubicBezTo>
                      <a:pt x="6" y="37"/>
                      <a:pt x="17" y="43"/>
                      <a:pt x="27" y="40"/>
                    </a:cubicBezTo>
                    <a:cubicBezTo>
                      <a:pt x="32" y="39"/>
                      <a:pt x="36" y="35"/>
                      <a:pt x="38" y="31"/>
                    </a:cubicBezTo>
                    <a:cubicBezTo>
                      <a:pt x="40" y="31"/>
                      <a:pt x="52" y="31"/>
                      <a:pt x="54" y="31"/>
                    </a:cubicBezTo>
                    <a:cubicBezTo>
                      <a:pt x="63" y="31"/>
                      <a:pt x="65" y="33"/>
                      <a:pt x="67" y="40"/>
                    </a:cubicBezTo>
                    <a:cubicBezTo>
                      <a:pt x="73" y="61"/>
                      <a:pt x="165" y="388"/>
                      <a:pt x="171" y="409"/>
                    </a:cubicBezTo>
                    <a:cubicBezTo>
                      <a:pt x="180" y="439"/>
                      <a:pt x="194" y="450"/>
                      <a:pt x="209" y="450"/>
                    </a:cubicBezTo>
                    <a:lnTo>
                      <a:pt x="483" y="450"/>
                    </a:lnTo>
                    <a:cubicBezTo>
                      <a:pt x="492" y="450"/>
                      <a:pt x="496" y="441"/>
                      <a:pt x="496" y="437"/>
                    </a:cubicBezTo>
                    <a:cubicBezTo>
                      <a:pt x="498" y="423"/>
                      <a:pt x="486" y="420"/>
                      <a:pt x="480" y="420"/>
                    </a:cubicBezTo>
                    <a:lnTo>
                      <a:pt x="212" y="420"/>
                    </a:lnTo>
                    <a:cubicBezTo>
                      <a:pt x="205" y="420"/>
                      <a:pt x="198" y="415"/>
                      <a:pt x="196" y="408"/>
                    </a:cubicBezTo>
                    <a:cubicBezTo>
                      <a:pt x="195" y="404"/>
                      <a:pt x="170" y="315"/>
                      <a:pt x="168" y="309"/>
                    </a:cubicBezTo>
                    <a:cubicBezTo>
                      <a:pt x="174" y="315"/>
                      <a:pt x="179" y="314"/>
                      <a:pt x="182" y="314"/>
                    </a:cubicBezTo>
                    <a:lnTo>
                      <a:pt x="451" y="314"/>
                    </a:lnTo>
                    <a:cubicBezTo>
                      <a:pt x="486" y="314"/>
                      <a:pt x="500" y="272"/>
                      <a:pt x="503" y="259"/>
                    </a:cubicBezTo>
                    <a:lnTo>
                      <a:pt x="552" y="88"/>
                    </a:lnTo>
                    <a:cubicBezTo>
                      <a:pt x="554" y="81"/>
                      <a:pt x="552" y="63"/>
                      <a:pt x="533" y="63"/>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grpSp>
        <p:nvGrpSpPr>
          <p:cNvPr id="183" name="Group 125">
            <a:extLst>
              <a:ext uri="{FF2B5EF4-FFF2-40B4-BE49-F238E27FC236}">
                <a16:creationId xmlns:a16="http://schemas.microsoft.com/office/drawing/2014/main" id="{AE41656F-3CDD-47E6-AE3E-D0775EBFAC5E}"/>
              </a:ext>
            </a:extLst>
          </p:cNvPr>
          <p:cNvGrpSpPr/>
          <p:nvPr/>
        </p:nvGrpSpPr>
        <p:grpSpPr>
          <a:xfrm>
            <a:off x="10183870" y="684336"/>
            <a:ext cx="329184" cy="329184"/>
            <a:chOff x="7095592" y="742073"/>
            <a:chExt cx="329184" cy="329184"/>
          </a:xfrm>
        </p:grpSpPr>
        <p:sp>
          <p:nvSpPr>
            <p:cNvPr id="184" name="Oval 137">
              <a:extLst>
                <a:ext uri="{FF2B5EF4-FFF2-40B4-BE49-F238E27FC236}">
                  <a16:creationId xmlns:a16="http://schemas.microsoft.com/office/drawing/2014/main" id="{7A5F290A-5025-4715-9E8C-69302CA9783E}"/>
                </a:ext>
              </a:extLst>
            </p:cNvPr>
            <p:cNvSpPr/>
            <p:nvPr/>
          </p:nvSpPr>
          <p:spPr>
            <a:xfrm>
              <a:off x="7095592" y="742073"/>
              <a:ext cx="329184" cy="329184"/>
            </a:xfrm>
            <a:prstGeom prst="ellipse">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85" name="Group 127">
              <a:extLst>
                <a:ext uri="{FF2B5EF4-FFF2-40B4-BE49-F238E27FC236}">
                  <a16:creationId xmlns:a16="http://schemas.microsoft.com/office/drawing/2014/main" id="{20DDAABD-8768-427F-9661-CC92ED5253EB}"/>
                </a:ext>
              </a:extLst>
            </p:cNvPr>
            <p:cNvGrpSpPr/>
            <p:nvPr/>
          </p:nvGrpSpPr>
          <p:grpSpPr>
            <a:xfrm>
              <a:off x="7176816" y="778521"/>
              <a:ext cx="179310" cy="244447"/>
              <a:chOff x="7176816" y="778521"/>
              <a:chExt cx="179310" cy="244447"/>
            </a:xfrm>
          </p:grpSpPr>
          <p:sp>
            <p:nvSpPr>
              <p:cNvPr id="186" name="Seed" descr="{&quot;Key&quot;:&quot;POWER_USER_SHAPE_ICON&quot;,&quot;Value&quot;:&quot;POWER_USER_SHAPE_ICON_STYLE_1&quot;}">
                <a:extLst>
                  <a:ext uri="{FF2B5EF4-FFF2-40B4-BE49-F238E27FC236}">
                    <a16:creationId xmlns:a16="http://schemas.microsoft.com/office/drawing/2014/main" id="{90686528-E37D-4F58-9C2F-C1117E83B764}"/>
                  </a:ext>
                </a:extLst>
              </p:cNvPr>
              <p:cNvSpPr>
                <a:spLocks noChangeAspect="1" noEditPoints="1"/>
              </p:cNvSpPr>
              <p:nvPr>
                <p:custDataLst>
                  <p:tags r:id="rId44"/>
                </p:custDataLst>
              </p:nvPr>
            </p:nvSpPr>
            <p:spPr bwMode="auto">
              <a:xfrm>
                <a:off x="7176816" y="878690"/>
                <a:ext cx="162838" cy="144278"/>
              </a:xfrm>
              <a:custGeom>
                <a:avLst/>
                <a:gdLst>
                  <a:gd name="T0" fmla="*/ 6744 w 11364"/>
                  <a:gd name="T1" fmla="*/ 3564 h 10067"/>
                  <a:gd name="T2" fmla="*/ 7042 w 11364"/>
                  <a:gd name="T3" fmla="*/ 3354 h 10067"/>
                  <a:gd name="T4" fmla="*/ 4139 w 11364"/>
                  <a:gd name="T5" fmla="*/ 214 h 10067"/>
                  <a:gd name="T6" fmla="*/ 5282 w 11364"/>
                  <a:gd name="T7" fmla="*/ 2733 h 10067"/>
                  <a:gd name="T8" fmla="*/ 10245 w 11364"/>
                  <a:gd name="T9" fmla="*/ 7311 h 10067"/>
                  <a:gd name="T10" fmla="*/ 7950 w 11364"/>
                  <a:gd name="T11" fmla="*/ 5369 h 10067"/>
                  <a:gd name="T12" fmla="*/ 7665 w 11364"/>
                  <a:gd name="T13" fmla="*/ 5315 h 10067"/>
                  <a:gd name="T14" fmla="*/ 7626 w 11364"/>
                  <a:gd name="T15" fmla="*/ 5310 h 10067"/>
                  <a:gd name="T16" fmla="*/ 7637 w 11364"/>
                  <a:gd name="T17" fmla="*/ 4576 h 10067"/>
                  <a:gd name="T18" fmla="*/ 7646 w 11364"/>
                  <a:gd name="T19" fmla="*/ 4476 h 10067"/>
                  <a:gd name="T20" fmla="*/ 7673 w 11364"/>
                  <a:gd name="T21" fmla="*/ 4234 h 10067"/>
                  <a:gd name="T22" fmla="*/ 8068 w 11364"/>
                  <a:gd name="T23" fmla="*/ 4029 h 10067"/>
                  <a:gd name="T24" fmla="*/ 11244 w 11364"/>
                  <a:gd name="T25" fmla="*/ 0 h 10067"/>
                  <a:gd name="T26" fmla="*/ 7516 w 11364"/>
                  <a:gd name="T27" fmla="*/ 2618 h 10067"/>
                  <a:gd name="T28" fmla="*/ 7233 w 11364"/>
                  <a:gd name="T29" fmla="*/ 4214 h 10067"/>
                  <a:gd name="T30" fmla="*/ 7224 w 11364"/>
                  <a:gd name="T31" fmla="*/ 5280 h 10067"/>
                  <a:gd name="T32" fmla="*/ 7082 w 11364"/>
                  <a:gd name="T33" fmla="*/ 5277 h 10067"/>
                  <a:gd name="T34" fmla="*/ 5070 w 11364"/>
                  <a:gd name="T35" fmla="*/ 6113 h 10067"/>
                  <a:gd name="T36" fmla="*/ 2454 w 11364"/>
                  <a:gd name="T37" fmla="*/ 5748 h 10067"/>
                  <a:gd name="T38" fmla="*/ 1979 w 11364"/>
                  <a:gd name="T39" fmla="*/ 5775 h 10067"/>
                  <a:gd name="T40" fmla="*/ 2514 w 11364"/>
                  <a:gd name="T41" fmla="*/ 6100 h 10067"/>
                  <a:gd name="T42" fmla="*/ 4816 w 11364"/>
                  <a:gd name="T43" fmla="*/ 6387 h 10067"/>
                  <a:gd name="T44" fmla="*/ 6145 w 11364"/>
                  <a:gd name="T45" fmla="*/ 6987 h 10067"/>
                  <a:gd name="T46" fmla="*/ 8301 w 11364"/>
                  <a:gd name="T47" fmla="*/ 7145 h 10067"/>
                  <a:gd name="T48" fmla="*/ 8758 w 11364"/>
                  <a:gd name="T49" fmla="*/ 7918 h 10067"/>
                  <a:gd name="T50" fmla="*/ 8461 w 11364"/>
                  <a:gd name="T51" fmla="*/ 8153 h 10067"/>
                  <a:gd name="T52" fmla="*/ 7099 w 11364"/>
                  <a:gd name="T53" fmla="*/ 8176 h 10067"/>
                  <a:gd name="T54" fmla="*/ 6945 w 11364"/>
                  <a:gd name="T55" fmla="*/ 8155 h 10067"/>
                  <a:gd name="T56" fmla="*/ 6316 w 11364"/>
                  <a:gd name="T57" fmla="*/ 8035 h 10067"/>
                  <a:gd name="T58" fmla="*/ 6020 w 11364"/>
                  <a:gd name="T59" fmla="*/ 7984 h 10067"/>
                  <a:gd name="T60" fmla="*/ 4994 w 11364"/>
                  <a:gd name="T61" fmla="*/ 8127 h 10067"/>
                  <a:gd name="T62" fmla="*/ 4903 w 11364"/>
                  <a:gd name="T63" fmla="*/ 8363 h 10067"/>
                  <a:gd name="T64" fmla="*/ 6233 w 11364"/>
                  <a:gd name="T65" fmla="*/ 8382 h 10067"/>
                  <a:gd name="T66" fmla="*/ 8735 w 11364"/>
                  <a:gd name="T67" fmla="*/ 8429 h 10067"/>
                  <a:gd name="T68" fmla="*/ 9563 w 11364"/>
                  <a:gd name="T69" fmla="*/ 8061 h 10067"/>
                  <a:gd name="T70" fmla="*/ 10404 w 11364"/>
                  <a:gd name="T71" fmla="*/ 7630 h 10067"/>
                  <a:gd name="T72" fmla="*/ 10935 w 11364"/>
                  <a:gd name="T73" fmla="*/ 7937 h 10067"/>
                  <a:gd name="T74" fmla="*/ 10018 w 11364"/>
                  <a:gd name="T75" fmla="*/ 8647 h 10067"/>
                  <a:gd name="T76" fmla="*/ 9086 w 11364"/>
                  <a:gd name="T77" fmla="*/ 9020 h 10067"/>
                  <a:gd name="T78" fmla="*/ 6547 w 11364"/>
                  <a:gd name="T79" fmla="*/ 9626 h 10067"/>
                  <a:gd name="T80" fmla="*/ 2148 w 11364"/>
                  <a:gd name="T81" fmla="*/ 8613 h 10067"/>
                  <a:gd name="T82" fmla="*/ 1979 w 11364"/>
                  <a:gd name="T83" fmla="*/ 8970 h 10067"/>
                  <a:gd name="T84" fmla="*/ 5139 w 11364"/>
                  <a:gd name="T85" fmla="*/ 9875 h 10067"/>
                  <a:gd name="T86" fmla="*/ 6619 w 11364"/>
                  <a:gd name="T87" fmla="*/ 9976 h 10067"/>
                  <a:gd name="T88" fmla="*/ 9235 w 11364"/>
                  <a:gd name="T89" fmla="*/ 9344 h 10067"/>
                  <a:gd name="T90" fmla="*/ 10176 w 11364"/>
                  <a:gd name="T91" fmla="*/ 8967 h 10067"/>
                  <a:gd name="T92" fmla="*/ 11194 w 11364"/>
                  <a:gd name="T93" fmla="*/ 8190 h 10067"/>
                  <a:gd name="T94" fmla="*/ 0 w 11364"/>
                  <a:gd name="T95" fmla="*/ 9309 h 10067"/>
                  <a:gd name="T96" fmla="*/ 1630 w 11364"/>
                  <a:gd name="T97" fmla="*/ 5351 h 10067"/>
                  <a:gd name="T98" fmla="*/ 0 w 11364"/>
                  <a:gd name="T99" fmla="*/ 9309 h 100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1364" h="10067">
                    <a:moveTo>
                      <a:pt x="5282" y="2733"/>
                    </a:moveTo>
                    <a:cubicBezTo>
                      <a:pt x="5856" y="3288"/>
                      <a:pt x="6390" y="3439"/>
                      <a:pt x="6744" y="3564"/>
                    </a:cubicBezTo>
                    <a:cubicBezTo>
                      <a:pt x="6525" y="2306"/>
                      <a:pt x="5827" y="1150"/>
                      <a:pt x="4589" y="609"/>
                    </a:cubicBezTo>
                    <a:cubicBezTo>
                      <a:pt x="5820" y="997"/>
                      <a:pt x="6676" y="2123"/>
                      <a:pt x="7042" y="3354"/>
                    </a:cubicBezTo>
                    <a:cubicBezTo>
                      <a:pt x="7112" y="2949"/>
                      <a:pt x="7216" y="2574"/>
                      <a:pt x="7358" y="2233"/>
                    </a:cubicBezTo>
                    <a:cubicBezTo>
                      <a:pt x="7006" y="1054"/>
                      <a:pt x="5918" y="214"/>
                      <a:pt x="4139" y="214"/>
                    </a:cubicBezTo>
                    <a:cubicBezTo>
                      <a:pt x="3920" y="214"/>
                      <a:pt x="3690" y="227"/>
                      <a:pt x="3450" y="253"/>
                    </a:cubicBezTo>
                    <a:cubicBezTo>
                      <a:pt x="4708" y="954"/>
                      <a:pt x="4033" y="1529"/>
                      <a:pt x="5282" y="2733"/>
                    </a:cubicBezTo>
                    <a:close/>
                    <a:moveTo>
                      <a:pt x="11174" y="7560"/>
                    </a:moveTo>
                    <a:cubicBezTo>
                      <a:pt x="11020" y="7299"/>
                      <a:pt x="10696" y="7094"/>
                      <a:pt x="10245" y="7311"/>
                    </a:cubicBezTo>
                    <a:lnTo>
                      <a:pt x="10145" y="7362"/>
                    </a:lnTo>
                    <a:cubicBezTo>
                      <a:pt x="9750" y="6361"/>
                      <a:pt x="9011" y="5620"/>
                      <a:pt x="7950" y="5369"/>
                    </a:cubicBezTo>
                    <a:cubicBezTo>
                      <a:pt x="7904" y="5358"/>
                      <a:pt x="7855" y="5350"/>
                      <a:pt x="7807" y="5341"/>
                    </a:cubicBezTo>
                    <a:cubicBezTo>
                      <a:pt x="7760" y="5332"/>
                      <a:pt x="7713" y="5323"/>
                      <a:pt x="7665" y="5315"/>
                    </a:cubicBezTo>
                    <a:lnTo>
                      <a:pt x="7665" y="5310"/>
                    </a:lnTo>
                    <a:lnTo>
                      <a:pt x="7626" y="5310"/>
                    </a:lnTo>
                    <a:cubicBezTo>
                      <a:pt x="7615" y="5095"/>
                      <a:pt x="7617" y="4877"/>
                      <a:pt x="7630" y="4658"/>
                    </a:cubicBezTo>
                    <a:cubicBezTo>
                      <a:pt x="7632" y="4631"/>
                      <a:pt x="7635" y="4603"/>
                      <a:pt x="7637" y="4576"/>
                    </a:cubicBezTo>
                    <a:cubicBezTo>
                      <a:pt x="7639" y="4548"/>
                      <a:pt x="7642" y="4521"/>
                      <a:pt x="7645" y="4493"/>
                    </a:cubicBezTo>
                    <a:cubicBezTo>
                      <a:pt x="7645" y="4487"/>
                      <a:pt x="7646" y="4482"/>
                      <a:pt x="7646" y="4476"/>
                    </a:cubicBezTo>
                    <a:cubicBezTo>
                      <a:pt x="7650" y="4440"/>
                      <a:pt x="7653" y="4405"/>
                      <a:pt x="7657" y="4369"/>
                    </a:cubicBezTo>
                    <a:cubicBezTo>
                      <a:pt x="7662" y="4324"/>
                      <a:pt x="7667" y="4279"/>
                      <a:pt x="7673" y="4234"/>
                    </a:cubicBezTo>
                    <a:cubicBezTo>
                      <a:pt x="7872" y="2771"/>
                      <a:pt x="8628" y="1348"/>
                      <a:pt x="9939" y="657"/>
                    </a:cubicBezTo>
                    <a:cubicBezTo>
                      <a:pt x="8766" y="1446"/>
                      <a:pt x="8183" y="2704"/>
                      <a:pt x="8068" y="4029"/>
                    </a:cubicBezTo>
                    <a:cubicBezTo>
                      <a:pt x="8412" y="3957"/>
                      <a:pt x="8947" y="3834"/>
                      <a:pt x="9555" y="3096"/>
                    </a:cubicBezTo>
                    <a:cubicBezTo>
                      <a:pt x="10606" y="1820"/>
                      <a:pt x="10037" y="1108"/>
                      <a:pt x="11244" y="0"/>
                    </a:cubicBezTo>
                    <a:cubicBezTo>
                      <a:pt x="9086" y="152"/>
                      <a:pt x="8041" y="1219"/>
                      <a:pt x="7569" y="2470"/>
                    </a:cubicBezTo>
                    <a:cubicBezTo>
                      <a:pt x="7551" y="2519"/>
                      <a:pt x="7533" y="2568"/>
                      <a:pt x="7516" y="2618"/>
                    </a:cubicBezTo>
                    <a:cubicBezTo>
                      <a:pt x="7499" y="2670"/>
                      <a:pt x="7482" y="2723"/>
                      <a:pt x="7466" y="2776"/>
                    </a:cubicBezTo>
                    <a:cubicBezTo>
                      <a:pt x="7324" y="3251"/>
                      <a:pt x="7255" y="3743"/>
                      <a:pt x="7233" y="4214"/>
                    </a:cubicBezTo>
                    <a:cubicBezTo>
                      <a:pt x="7227" y="4337"/>
                      <a:pt x="7224" y="4458"/>
                      <a:pt x="7224" y="4577"/>
                    </a:cubicBezTo>
                    <a:lnTo>
                      <a:pt x="7224" y="5280"/>
                    </a:lnTo>
                    <a:cubicBezTo>
                      <a:pt x="7190" y="5279"/>
                      <a:pt x="7156" y="5276"/>
                      <a:pt x="7121" y="5276"/>
                    </a:cubicBezTo>
                    <a:cubicBezTo>
                      <a:pt x="7107" y="5276"/>
                      <a:pt x="7095" y="5277"/>
                      <a:pt x="7082" y="5277"/>
                    </a:cubicBezTo>
                    <a:cubicBezTo>
                      <a:pt x="7033" y="5278"/>
                      <a:pt x="6986" y="5280"/>
                      <a:pt x="6939" y="5283"/>
                    </a:cubicBezTo>
                    <a:cubicBezTo>
                      <a:pt x="6217" y="5326"/>
                      <a:pt x="5581" y="5623"/>
                      <a:pt x="5070" y="6113"/>
                    </a:cubicBezTo>
                    <a:cubicBezTo>
                      <a:pt x="4740" y="5948"/>
                      <a:pt x="4382" y="5797"/>
                      <a:pt x="4006" y="5741"/>
                    </a:cubicBezTo>
                    <a:cubicBezTo>
                      <a:pt x="3196" y="5621"/>
                      <a:pt x="2767" y="5694"/>
                      <a:pt x="2454" y="5748"/>
                    </a:cubicBezTo>
                    <a:cubicBezTo>
                      <a:pt x="2277" y="5778"/>
                      <a:pt x="2149" y="5801"/>
                      <a:pt x="2006" y="5779"/>
                    </a:cubicBezTo>
                    <a:lnTo>
                      <a:pt x="1979" y="5775"/>
                    </a:lnTo>
                    <a:lnTo>
                      <a:pt x="1979" y="6135"/>
                    </a:lnTo>
                    <a:cubicBezTo>
                      <a:pt x="2167" y="6158"/>
                      <a:pt x="2329" y="6132"/>
                      <a:pt x="2514" y="6100"/>
                    </a:cubicBezTo>
                    <a:cubicBezTo>
                      <a:pt x="2820" y="6048"/>
                      <a:pt x="3200" y="5983"/>
                      <a:pt x="3953" y="6094"/>
                    </a:cubicBezTo>
                    <a:cubicBezTo>
                      <a:pt x="4247" y="6138"/>
                      <a:pt x="4539" y="6254"/>
                      <a:pt x="4816" y="6387"/>
                    </a:cubicBezTo>
                    <a:cubicBezTo>
                      <a:pt x="4964" y="6458"/>
                      <a:pt x="5108" y="6534"/>
                      <a:pt x="5246" y="6607"/>
                    </a:cubicBezTo>
                    <a:cubicBezTo>
                      <a:pt x="5584" y="6786"/>
                      <a:pt x="5875" y="6940"/>
                      <a:pt x="6145" y="6987"/>
                    </a:cubicBezTo>
                    <a:cubicBezTo>
                      <a:pt x="6374" y="7027"/>
                      <a:pt x="6617" y="7019"/>
                      <a:pt x="6873" y="7011"/>
                    </a:cubicBezTo>
                    <a:cubicBezTo>
                      <a:pt x="7279" y="6999"/>
                      <a:pt x="7740" y="6985"/>
                      <a:pt x="8301" y="7145"/>
                    </a:cubicBezTo>
                    <a:cubicBezTo>
                      <a:pt x="8622" y="7237"/>
                      <a:pt x="8803" y="7401"/>
                      <a:pt x="8825" y="7618"/>
                    </a:cubicBezTo>
                    <a:cubicBezTo>
                      <a:pt x="8835" y="7725"/>
                      <a:pt x="8806" y="7830"/>
                      <a:pt x="8758" y="7918"/>
                    </a:cubicBezTo>
                    <a:cubicBezTo>
                      <a:pt x="8709" y="8005"/>
                      <a:pt x="8640" y="8076"/>
                      <a:pt x="8571" y="8111"/>
                    </a:cubicBezTo>
                    <a:cubicBezTo>
                      <a:pt x="8540" y="8127"/>
                      <a:pt x="8502" y="8141"/>
                      <a:pt x="8461" y="8153"/>
                    </a:cubicBezTo>
                    <a:cubicBezTo>
                      <a:pt x="8371" y="8180"/>
                      <a:pt x="8259" y="8200"/>
                      <a:pt x="8128" y="8211"/>
                    </a:cubicBezTo>
                    <a:cubicBezTo>
                      <a:pt x="7846" y="8235"/>
                      <a:pt x="7483" y="8223"/>
                      <a:pt x="7099" y="8176"/>
                    </a:cubicBezTo>
                    <a:cubicBezTo>
                      <a:pt x="7067" y="8172"/>
                      <a:pt x="7035" y="8168"/>
                      <a:pt x="7003" y="8164"/>
                    </a:cubicBezTo>
                    <a:cubicBezTo>
                      <a:pt x="6984" y="8161"/>
                      <a:pt x="6965" y="8158"/>
                      <a:pt x="6945" y="8155"/>
                    </a:cubicBezTo>
                    <a:cubicBezTo>
                      <a:pt x="6790" y="8133"/>
                      <a:pt x="6633" y="8105"/>
                      <a:pt x="6477" y="8071"/>
                    </a:cubicBezTo>
                    <a:cubicBezTo>
                      <a:pt x="6423" y="8060"/>
                      <a:pt x="6370" y="8048"/>
                      <a:pt x="6316" y="8035"/>
                    </a:cubicBezTo>
                    <a:cubicBezTo>
                      <a:pt x="6270" y="8024"/>
                      <a:pt x="6226" y="8017"/>
                      <a:pt x="6181" y="8008"/>
                    </a:cubicBezTo>
                    <a:cubicBezTo>
                      <a:pt x="6126" y="7998"/>
                      <a:pt x="6072" y="7990"/>
                      <a:pt x="6020" y="7984"/>
                    </a:cubicBezTo>
                    <a:cubicBezTo>
                      <a:pt x="5990" y="7981"/>
                      <a:pt x="5960" y="7977"/>
                      <a:pt x="5931" y="7975"/>
                    </a:cubicBezTo>
                    <a:cubicBezTo>
                      <a:pt x="5524" y="7946"/>
                      <a:pt x="5206" y="8034"/>
                      <a:pt x="4994" y="8127"/>
                    </a:cubicBezTo>
                    <a:cubicBezTo>
                      <a:pt x="4960" y="8142"/>
                      <a:pt x="4936" y="8168"/>
                      <a:pt x="4918" y="8197"/>
                    </a:cubicBezTo>
                    <a:cubicBezTo>
                      <a:pt x="4888" y="8246"/>
                      <a:pt x="4878" y="8306"/>
                      <a:pt x="4903" y="8363"/>
                    </a:cubicBezTo>
                    <a:cubicBezTo>
                      <a:pt x="4943" y="8452"/>
                      <a:pt x="5048" y="8493"/>
                      <a:pt x="5138" y="8454"/>
                    </a:cubicBezTo>
                    <a:cubicBezTo>
                      <a:pt x="5465" y="8310"/>
                      <a:pt x="5833" y="8286"/>
                      <a:pt x="6233" y="8382"/>
                    </a:cubicBezTo>
                    <a:cubicBezTo>
                      <a:pt x="6732" y="8503"/>
                      <a:pt x="7317" y="8582"/>
                      <a:pt x="7817" y="8582"/>
                    </a:cubicBezTo>
                    <a:cubicBezTo>
                      <a:pt x="8196" y="8582"/>
                      <a:pt x="8527" y="8536"/>
                      <a:pt x="8735" y="8429"/>
                    </a:cubicBezTo>
                    <a:cubicBezTo>
                      <a:pt x="8828" y="8381"/>
                      <a:pt x="8910" y="8308"/>
                      <a:pt x="8978" y="8223"/>
                    </a:cubicBezTo>
                    <a:cubicBezTo>
                      <a:pt x="9279" y="8130"/>
                      <a:pt x="9558" y="8062"/>
                      <a:pt x="9563" y="8061"/>
                    </a:cubicBezTo>
                    <a:cubicBezTo>
                      <a:pt x="9577" y="8057"/>
                      <a:pt x="9590" y="8052"/>
                      <a:pt x="9603" y="8045"/>
                    </a:cubicBezTo>
                    <a:lnTo>
                      <a:pt x="10404" y="7630"/>
                    </a:lnTo>
                    <a:cubicBezTo>
                      <a:pt x="10627" y="7523"/>
                      <a:pt x="10731" y="7601"/>
                      <a:pt x="10766" y="7626"/>
                    </a:cubicBezTo>
                    <a:cubicBezTo>
                      <a:pt x="10877" y="7708"/>
                      <a:pt x="10927" y="7862"/>
                      <a:pt x="10935" y="7937"/>
                    </a:cubicBezTo>
                    <a:cubicBezTo>
                      <a:pt x="10867" y="7990"/>
                      <a:pt x="10749" y="8081"/>
                      <a:pt x="10619" y="8183"/>
                    </a:cubicBezTo>
                    <a:cubicBezTo>
                      <a:pt x="10396" y="8357"/>
                      <a:pt x="10058" y="8621"/>
                      <a:pt x="10018" y="8647"/>
                    </a:cubicBezTo>
                    <a:cubicBezTo>
                      <a:pt x="9989" y="8661"/>
                      <a:pt x="9867" y="8708"/>
                      <a:pt x="9720" y="8765"/>
                    </a:cubicBezTo>
                    <a:cubicBezTo>
                      <a:pt x="9489" y="8855"/>
                      <a:pt x="9201" y="8966"/>
                      <a:pt x="9086" y="9020"/>
                    </a:cubicBezTo>
                    <a:cubicBezTo>
                      <a:pt x="8816" y="9144"/>
                      <a:pt x="8300" y="9346"/>
                      <a:pt x="8196" y="9349"/>
                    </a:cubicBezTo>
                    <a:cubicBezTo>
                      <a:pt x="8024" y="9349"/>
                      <a:pt x="7346" y="9463"/>
                      <a:pt x="6547" y="9626"/>
                    </a:cubicBezTo>
                    <a:cubicBezTo>
                      <a:pt x="5919" y="9754"/>
                      <a:pt x="5696" y="9741"/>
                      <a:pt x="5291" y="9552"/>
                    </a:cubicBezTo>
                    <a:cubicBezTo>
                      <a:pt x="4872" y="9356"/>
                      <a:pt x="2441" y="8613"/>
                      <a:pt x="2148" y="8613"/>
                    </a:cubicBezTo>
                    <a:lnTo>
                      <a:pt x="1979" y="8613"/>
                    </a:lnTo>
                    <a:lnTo>
                      <a:pt x="1979" y="8970"/>
                    </a:lnTo>
                    <a:lnTo>
                      <a:pt x="2146" y="8970"/>
                    </a:lnTo>
                    <a:cubicBezTo>
                      <a:pt x="2378" y="8981"/>
                      <a:pt x="4685" y="9662"/>
                      <a:pt x="5139" y="9875"/>
                    </a:cubicBezTo>
                    <a:cubicBezTo>
                      <a:pt x="5427" y="10010"/>
                      <a:pt x="5655" y="10067"/>
                      <a:pt x="5917" y="10067"/>
                    </a:cubicBezTo>
                    <a:cubicBezTo>
                      <a:pt x="6117" y="10067"/>
                      <a:pt x="6337" y="10034"/>
                      <a:pt x="6619" y="9976"/>
                    </a:cubicBezTo>
                    <a:cubicBezTo>
                      <a:pt x="7530" y="9790"/>
                      <a:pt x="8089" y="9706"/>
                      <a:pt x="8196" y="9706"/>
                    </a:cubicBezTo>
                    <a:cubicBezTo>
                      <a:pt x="8437" y="9706"/>
                      <a:pt x="9228" y="9348"/>
                      <a:pt x="9235" y="9344"/>
                    </a:cubicBezTo>
                    <a:cubicBezTo>
                      <a:pt x="9341" y="9296"/>
                      <a:pt x="9635" y="9181"/>
                      <a:pt x="9849" y="9098"/>
                    </a:cubicBezTo>
                    <a:cubicBezTo>
                      <a:pt x="10069" y="9013"/>
                      <a:pt x="10148" y="8982"/>
                      <a:pt x="10176" y="8967"/>
                    </a:cubicBezTo>
                    <a:cubicBezTo>
                      <a:pt x="10216" y="8947"/>
                      <a:pt x="10303" y="8883"/>
                      <a:pt x="10839" y="8464"/>
                    </a:cubicBezTo>
                    <a:cubicBezTo>
                      <a:pt x="11008" y="8332"/>
                      <a:pt x="11155" y="8217"/>
                      <a:pt x="11194" y="8190"/>
                    </a:cubicBezTo>
                    <a:cubicBezTo>
                      <a:pt x="11364" y="8068"/>
                      <a:pt x="11285" y="7748"/>
                      <a:pt x="11174" y="7560"/>
                    </a:cubicBezTo>
                    <a:close/>
                    <a:moveTo>
                      <a:pt x="0" y="9309"/>
                    </a:moveTo>
                    <a:lnTo>
                      <a:pt x="1630" y="9309"/>
                    </a:lnTo>
                    <a:lnTo>
                      <a:pt x="1630" y="5351"/>
                    </a:lnTo>
                    <a:lnTo>
                      <a:pt x="0" y="5351"/>
                    </a:lnTo>
                    <a:lnTo>
                      <a:pt x="0" y="9309"/>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nvGrpSpPr>
              <p:cNvPr id="187" name="Problem_Based_Learning" descr="{&quot;Key&quot;:&quot;POWER_USER_SHAPE_ICON&quot;,&quot;Value&quot;:&quot;POWER_USER_SHAPE_ICON_STYLE_1&quot;}">
                <a:extLst>
                  <a:ext uri="{FF2B5EF4-FFF2-40B4-BE49-F238E27FC236}">
                    <a16:creationId xmlns:a16="http://schemas.microsoft.com/office/drawing/2014/main" id="{C6660A39-086E-4F66-9514-9432CE1B048A}"/>
                  </a:ext>
                </a:extLst>
              </p:cNvPr>
              <p:cNvGrpSpPr>
                <a:grpSpLocks noChangeAspect="1"/>
              </p:cNvGrpSpPr>
              <p:nvPr>
                <p:custDataLst>
                  <p:tags r:id="rId45"/>
                </p:custDataLst>
              </p:nvPr>
            </p:nvGrpSpPr>
            <p:grpSpPr bwMode="auto">
              <a:xfrm>
                <a:off x="7183815" y="778521"/>
                <a:ext cx="172311" cy="185669"/>
                <a:chOff x="7" y="8"/>
                <a:chExt cx="424" cy="471"/>
              </a:xfrm>
              <a:solidFill>
                <a:schemeClr val="bg1"/>
              </a:solidFill>
            </p:grpSpPr>
            <p:sp>
              <p:nvSpPr>
                <p:cNvPr id="188" name="Problem_Based_Learning">
                  <a:extLst>
                    <a:ext uri="{FF2B5EF4-FFF2-40B4-BE49-F238E27FC236}">
                      <a16:creationId xmlns:a16="http://schemas.microsoft.com/office/drawing/2014/main" id="{FC45F9D4-C47F-4753-B1D9-3A6E025CA5CA}"/>
                    </a:ext>
                  </a:extLst>
                </p:cNvPr>
                <p:cNvSpPr>
                  <a:spLocks/>
                </p:cNvSpPr>
                <p:nvPr>
                  <p:custDataLst>
                    <p:tags r:id="rId46"/>
                  </p:custDataLst>
                </p:nvPr>
              </p:nvSpPr>
              <p:spPr bwMode="auto">
                <a:xfrm>
                  <a:off x="214" y="8"/>
                  <a:ext cx="20" cy="69"/>
                </a:xfrm>
                <a:custGeom>
                  <a:avLst/>
                  <a:gdLst>
                    <a:gd name="T0" fmla="*/ 26 w 52"/>
                    <a:gd name="T1" fmla="*/ 183 h 183"/>
                    <a:gd name="T2" fmla="*/ 0 w 52"/>
                    <a:gd name="T3" fmla="*/ 156 h 183"/>
                    <a:gd name="T4" fmla="*/ 0 w 52"/>
                    <a:gd name="T5" fmla="*/ 26 h 183"/>
                    <a:gd name="T6" fmla="*/ 26 w 52"/>
                    <a:gd name="T7" fmla="*/ 0 h 183"/>
                    <a:gd name="T8" fmla="*/ 52 w 52"/>
                    <a:gd name="T9" fmla="*/ 26 h 183"/>
                    <a:gd name="T10" fmla="*/ 52 w 52"/>
                    <a:gd name="T11" fmla="*/ 156 h 183"/>
                    <a:gd name="T12" fmla="*/ 26 w 52"/>
                    <a:gd name="T13" fmla="*/ 183 h 183"/>
                  </a:gdLst>
                  <a:ahLst/>
                  <a:cxnLst>
                    <a:cxn ang="0">
                      <a:pos x="T0" y="T1"/>
                    </a:cxn>
                    <a:cxn ang="0">
                      <a:pos x="T2" y="T3"/>
                    </a:cxn>
                    <a:cxn ang="0">
                      <a:pos x="T4" y="T5"/>
                    </a:cxn>
                    <a:cxn ang="0">
                      <a:pos x="T6" y="T7"/>
                    </a:cxn>
                    <a:cxn ang="0">
                      <a:pos x="T8" y="T9"/>
                    </a:cxn>
                    <a:cxn ang="0">
                      <a:pos x="T10" y="T11"/>
                    </a:cxn>
                    <a:cxn ang="0">
                      <a:pos x="T12" y="T13"/>
                    </a:cxn>
                  </a:cxnLst>
                  <a:rect l="0" t="0" r="r" b="b"/>
                  <a:pathLst>
                    <a:path w="52" h="183">
                      <a:moveTo>
                        <a:pt x="26" y="183"/>
                      </a:moveTo>
                      <a:cubicBezTo>
                        <a:pt x="11" y="183"/>
                        <a:pt x="0" y="171"/>
                        <a:pt x="0" y="156"/>
                      </a:cubicBezTo>
                      <a:lnTo>
                        <a:pt x="0" y="26"/>
                      </a:lnTo>
                      <a:cubicBezTo>
                        <a:pt x="0" y="12"/>
                        <a:pt x="11" y="0"/>
                        <a:pt x="26" y="0"/>
                      </a:cubicBezTo>
                      <a:cubicBezTo>
                        <a:pt x="40" y="0"/>
                        <a:pt x="52" y="12"/>
                        <a:pt x="52" y="26"/>
                      </a:cubicBezTo>
                      <a:lnTo>
                        <a:pt x="52" y="156"/>
                      </a:lnTo>
                      <a:cubicBezTo>
                        <a:pt x="52" y="171"/>
                        <a:pt x="40" y="183"/>
                        <a:pt x="26" y="183"/>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noProof="0">
                    <a:ln>
                      <a:noFill/>
                    </a:ln>
                    <a:solidFill>
                      <a:prstClr val="black"/>
                    </a:solidFill>
                    <a:effectLst/>
                    <a:uLnTx/>
                    <a:uFillTx/>
                    <a:latin typeface="Calibri" panose="020F0502020204030204"/>
                    <a:ea typeface="+mn-ea"/>
                    <a:cs typeface="+mn-cs"/>
                  </a:endParaRPr>
                </a:p>
              </p:txBody>
            </p:sp>
            <p:sp>
              <p:nvSpPr>
                <p:cNvPr id="189" name="Problem_Based_Learning">
                  <a:extLst>
                    <a:ext uri="{FF2B5EF4-FFF2-40B4-BE49-F238E27FC236}">
                      <a16:creationId xmlns:a16="http://schemas.microsoft.com/office/drawing/2014/main" id="{D5E86A95-198C-439F-B564-2877E03ECF43}"/>
                    </a:ext>
                  </a:extLst>
                </p:cNvPr>
                <p:cNvSpPr>
                  <a:spLocks/>
                </p:cNvSpPr>
                <p:nvPr>
                  <p:custDataLst>
                    <p:tags r:id="rId47"/>
                  </p:custDataLst>
                </p:nvPr>
              </p:nvSpPr>
              <p:spPr bwMode="auto">
                <a:xfrm>
                  <a:off x="301" y="46"/>
                  <a:ext cx="51" cy="60"/>
                </a:xfrm>
                <a:custGeom>
                  <a:avLst/>
                  <a:gdLst>
                    <a:gd name="T0" fmla="*/ 29 w 137"/>
                    <a:gd name="T1" fmla="*/ 160 h 160"/>
                    <a:gd name="T2" fmla="*/ 14 w 137"/>
                    <a:gd name="T3" fmla="*/ 155 h 160"/>
                    <a:gd name="T4" fmla="*/ 9 w 137"/>
                    <a:gd name="T5" fmla="*/ 118 h 160"/>
                    <a:gd name="T6" fmla="*/ 87 w 137"/>
                    <a:gd name="T7" fmla="*/ 14 h 160"/>
                    <a:gd name="T8" fmla="*/ 123 w 137"/>
                    <a:gd name="T9" fmla="*/ 9 h 160"/>
                    <a:gd name="T10" fmla="*/ 128 w 137"/>
                    <a:gd name="T11" fmla="*/ 45 h 160"/>
                    <a:gd name="T12" fmla="*/ 50 w 137"/>
                    <a:gd name="T13" fmla="*/ 149 h 160"/>
                    <a:gd name="T14" fmla="*/ 29 w 137"/>
                    <a:gd name="T15" fmla="*/ 160 h 16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7" h="160">
                      <a:moveTo>
                        <a:pt x="29" y="160"/>
                      </a:moveTo>
                      <a:cubicBezTo>
                        <a:pt x="24" y="160"/>
                        <a:pt x="18" y="158"/>
                        <a:pt x="14" y="155"/>
                      </a:cubicBezTo>
                      <a:cubicBezTo>
                        <a:pt x="2" y="146"/>
                        <a:pt x="0" y="130"/>
                        <a:pt x="9" y="118"/>
                      </a:cubicBezTo>
                      <a:lnTo>
                        <a:pt x="87" y="14"/>
                      </a:lnTo>
                      <a:cubicBezTo>
                        <a:pt x="95" y="2"/>
                        <a:pt x="112" y="0"/>
                        <a:pt x="123" y="9"/>
                      </a:cubicBezTo>
                      <a:cubicBezTo>
                        <a:pt x="135" y="17"/>
                        <a:pt x="137" y="34"/>
                        <a:pt x="128" y="45"/>
                      </a:cubicBezTo>
                      <a:lnTo>
                        <a:pt x="50" y="149"/>
                      </a:lnTo>
                      <a:cubicBezTo>
                        <a:pt x="45" y="156"/>
                        <a:pt x="37" y="160"/>
                        <a:pt x="29" y="16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noProof="0">
                    <a:ln>
                      <a:noFill/>
                    </a:ln>
                    <a:solidFill>
                      <a:prstClr val="black"/>
                    </a:solidFill>
                    <a:effectLst/>
                    <a:uLnTx/>
                    <a:uFillTx/>
                    <a:latin typeface="Calibri" panose="020F0502020204030204"/>
                    <a:ea typeface="+mn-ea"/>
                    <a:cs typeface="+mn-cs"/>
                  </a:endParaRPr>
                </a:p>
              </p:txBody>
            </p:sp>
            <p:sp>
              <p:nvSpPr>
                <p:cNvPr id="190" name="Problem_Based_Learning">
                  <a:extLst>
                    <a:ext uri="{FF2B5EF4-FFF2-40B4-BE49-F238E27FC236}">
                      <a16:creationId xmlns:a16="http://schemas.microsoft.com/office/drawing/2014/main" id="{D4A784F9-6A4B-40F0-BF7A-356D1988E50C}"/>
                    </a:ext>
                  </a:extLst>
                </p:cNvPr>
                <p:cNvSpPr>
                  <a:spLocks/>
                </p:cNvSpPr>
                <p:nvPr>
                  <p:custDataLst>
                    <p:tags r:id="rId48"/>
                  </p:custDataLst>
                </p:nvPr>
              </p:nvSpPr>
              <p:spPr bwMode="auto">
                <a:xfrm>
                  <a:off x="85" y="46"/>
                  <a:ext cx="52" cy="60"/>
                </a:xfrm>
                <a:custGeom>
                  <a:avLst/>
                  <a:gdLst>
                    <a:gd name="T0" fmla="*/ 108 w 137"/>
                    <a:gd name="T1" fmla="*/ 160 h 160"/>
                    <a:gd name="T2" fmla="*/ 87 w 137"/>
                    <a:gd name="T3" fmla="*/ 149 h 160"/>
                    <a:gd name="T4" fmla="*/ 9 w 137"/>
                    <a:gd name="T5" fmla="*/ 45 h 160"/>
                    <a:gd name="T6" fmla="*/ 14 w 137"/>
                    <a:gd name="T7" fmla="*/ 9 h 160"/>
                    <a:gd name="T8" fmla="*/ 51 w 137"/>
                    <a:gd name="T9" fmla="*/ 14 h 160"/>
                    <a:gd name="T10" fmla="*/ 129 w 137"/>
                    <a:gd name="T11" fmla="*/ 118 h 160"/>
                    <a:gd name="T12" fmla="*/ 124 w 137"/>
                    <a:gd name="T13" fmla="*/ 155 h 160"/>
                    <a:gd name="T14" fmla="*/ 108 w 137"/>
                    <a:gd name="T15" fmla="*/ 160 h 16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7" h="160">
                      <a:moveTo>
                        <a:pt x="108" y="160"/>
                      </a:moveTo>
                      <a:cubicBezTo>
                        <a:pt x="100" y="160"/>
                        <a:pt x="92" y="156"/>
                        <a:pt x="87" y="149"/>
                      </a:cubicBezTo>
                      <a:lnTo>
                        <a:pt x="9" y="45"/>
                      </a:lnTo>
                      <a:cubicBezTo>
                        <a:pt x="0" y="34"/>
                        <a:pt x="3" y="17"/>
                        <a:pt x="14" y="9"/>
                      </a:cubicBezTo>
                      <a:cubicBezTo>
                        <a:pt x="26" y="0"/>
                        <a:pt x="42" y="2"/>
                        <a:pt x="51" y="14"/>
                      </a:cubicBezTo>
                      <a:lnTo>
                        <a:pt x="129" y="118"/>
                      </a:lnTo>
                      <a:cubicBezTo>
                        <a:pt x="137" y="130"/>
                        <a:pt x="135" y="146"/>
                        <a:pt x="124" y="155"/>
                      </a:cubicBezTo>
                      <a:cubicBezTo>
                        <a:pt x="119" y="158"/>
                        <a:pt x="113" y="160"/>
                        <a:pt x="108" y="16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noProof="0">
                    <a:ln>
                      <a:noFill/>
                    </a:ln>
                    <a:solidFill>
                      <a:prstClr val="black"/>
                    </a:solidFill>
                    <a:effectLst/>
                    <a:uLnTx/>
                    <a:uFillTx/>
                    <a:latin typeface="Calibri" panose="020F0502020204030204"/>
                    <a:ea typeface="+mn-ea"/>
                    <a:cs typeface="+mn-cs"/>
                  </a:endParaRPr>
                </a:p>
              </p:txBody>
            </p:sp>
            <p:sp>
              <p:nvSpPr>
                <p:cNvPr id="191" name="Problem_Based_Learning">
                  <a:extLst>
                    <a:ext uri="{FF2B5EF4-FFF2-40B4-BE49-F238E27FC236}">
                      <a16:creationId xmlns:a16="http://schemas.microsoft.com/office/drawing/2014/main" id="{5F2E447B-54E0-490A-B62D-4015FAD27F52}"/>
                    </a:ext>
                  </a:extLst>
                </p:cNvPr>
                <p:cNvSpPr>
                  <a:spLocks/>
                </p:cNvSpPr>
                <p:nvPr>
                  <p:custDataLst>
                    <p:tags r:id="rId49"/>
                  </p:custDataLst>
                </p:nvPr>
              </p:nvSpPr>
              <p:spPr bwMode="auto">
                <a:xfrm>
                  <a:off x="7" y="134"/>
                  <a:ext cx="61" cy="41"/>
                </a:xfrm>
                <a:custGeom>
                  <a:avLst/>
                  <a:gdLst>
                    <a:gd name="T0" fmla="*/ 134 w 164"/>
                    <a:gd name="T1" fmla="*/ 108 h 108"/>
                    <a:gd name="T2" fmla="*/ 123 w 164"/>
                    <a:gd name="T3" fmla="*/ 106 h 108"/>
                    <a:gd name="T4" fmla="*/ 18 w 164"/>
                    <a:gd name="T5" fmla="*/ 53 h 108"/>
                    <a:gd name="T6" fmla="*/ 7 w 164"/>
                    <a:gd name="T7" fmla="*/ 18 h 108"/>
                    <a:gd name="T8" fmla="*/ 42 w 164"/>
                    <a:gd name="T9" fmla="*/ 7 h 108"/>
                    <a:gd name="T10" fmla="*/ 146 w 164"/>
                    <a:gd name="T11" fmla="*/ 59 h 108"/>
                    <a:gd name="T12" fmla="*/ 158 w 164"/>
                    <a:gd name="T13" fmla="*/ 94 h 108"/>
                    <a:gd name="T14" fmla="*/ 134 w 164"/>
                    <a:gd name="T15" fmla="*/ 108 h 1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4" h="108">
                      <a:moveTo>
                        <a:pt x="134" y="108"/>
                      </a:moveTo>
                      <a:cubicBezTo>
                        <a:pt x="130" y="108"/>
                        <a:pt x="126" y="107"/>
                        <a:pt x="123" y="106"/>
                      </a:cubicBezTo>
                      <a:lnTo>
                        <a:pt x="18" y="53"/>
                      </a:lnTo>
                      <a:cubicBezTo>
                        <a:pt x="6" y="47"/>
                        <a:pt x="0" y="31"/>
                        <a:pt x="7" y="18"/>
                      </a:cubicBezTo>
                      <a:cubicBezTo>
                        <a:pt x="13" y="6"/>
                        <a:pt x="29" y="0"/>
                        <a:pt x="42" y="7"/>
                      </a:cubicBezTo>
                      <a:lnTo>
                        <a:pt x="146" y="59"/>
                      </a:lnTo>
                      <a:cubicBezTo>
                        <a:pt x="159" y="65"/>
                        <a:pt x="164" y="81"/>
                        <a:pt x="158" y="94"/>
                      </a:cubicBezTo>
                      <a:cubicBezTo>
                        <a:pt x="153" y="103"/>
                        <a:pt x="144" y="108"/>
                        <a:pt x="134" y="108"/>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noProof="0">
                    <a:ln>
                      <a:noFill/>
                    </a:ln>
                    <a:solidFill>
                      <a:prstClr val="black"/>
                    </a:solidFill>
                    <a:effectLst/>
                    <a:uLnTx/>
                    <a:uFillTx/>
                    <a:latin typeface="Calibri" panose="020F0502020204030204"/>
                    <a:ea typeface="+mn-ea"/>
                    <a:cs typeface="+mn-cs"/>
                  </a:endParaRPr>
                </a:p>
              </p:txBody>
            </p:sp>
            <p:sp>
              <p:nvSpPr>
                <p:cNvPr id="192" name="Problem_Based_Learning">
                  <a:extLst>
                    <a:ext uri="{FF2B5EF4-FFF2-40B4-BE49-F238E27FC236}">
                      <a16:creationId xmlns:a16="http://schemas.microsoft.com/office/drawing/2014/main" id="{64D1DB52-49CF-4CE8-81DF-3BB3629C9834}"/>
                    </a:ext>
                  </a:extLst>
                </p:cNvPr>
                <p:cNvSpPr>
                  <a:spLocks/>
                </p:cNvSpPr>
                <p:nvPr>
                  <p:custDataLst>
                    <p:tags r:id="rId50"/>
                  </p:custDataLst>
                </p:nvPr>
              </p:nvSpPr>
              <p:spPr bwMode="auto">
                <a:xfrm>
                  <a:off x="369" y="134"/>
                  <a:ext cx="62" cy="41"/>
                </a:xfrm>
                <a:custGeom>
                  <a:avLst/>
                  <a:gdLst>
                    <a:gd name="T0" fmla="*/ 30 w 164"/>
                    <a:gd name="T1" fmla="*/ 108 h 108"/>
                    <a:gd name="T2" fmla="*/ 7 w 164"/>
                    <a:gd name="T3" fmla="*/ 94 h 108"/>
                    <a:gd name="T4" fmla="*/ 18 w 164"/>
                    <a:gd name="T5" fmla="*/ 59 h 108"/>
                    <a:gd name="T6" fmla="*/ 123 w 164"/>
                    <a:gd name="T7" fmla="*/ 7 h 108"/>
                    <a:gd name="T8" fmla="*/ 158 w 164"/>
                    <a:gd name="T9" fmla="*/ 18 h 108"/>
                    <a:gd name="T10" fmla="*/ 146 w 164"/>
                    <a:gd name="T11" fmla="*/ 53 h 108"/>
                    <a:gd name="T12" fmla="*/ 42 w 164"/>
                    <a:gd name="T13" fmla="*/ 106 h 108"/>
                    <a:gd name="T14" fmla="*/ 30 w 164"/>
                    <a:gd name="T15" fmla="*/ 108 h 1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4" h="108">
                      <a:moveTo>
                        <a:pt x="30" y="108"/>
                      </a:moveTo>
                      <a:cubicBezTo>
                        <a:pt x="20" y="108"/>
                        <a:pt x="11" y="103"/>
                        <a:pt x="7" y="94"/>
                      </a:cubicBezTo>
                      <a:cubicBezTo>
                        <a:pt x="0" y="81"/>
                        <a:pt x="5" y="65"/>
                        <a:pt x="18" y="59"/>
                      </a:cubicBezTo>
                      <a:lnTo>
                        <a:pt x="123" y="7"/>
                      </a:lnTo>
                      <a:cubicBezTo>
                        <a:pt x="135" y="0"/>
                        <a:pt x="151" y="6"/>
                        <a:pt x="158" y="18"/>
                      </a:cubicBezTo>
                      <a:cubicBezTo>
                        <a:pt x="164" y="31"/>
                        <a:pt x="159" y="47"/>
                        <a:pt x="146" y="53"/>
                      </a:cubicBezTo>
                      <a:lnTo>
                        <a:pt x="42" y="106"/>
                      </a:lnTo>
                      <a:cubicBezTo>
                        <a:pt x="38" y="107"/>
                        <a:pt x="34" y="108"/>
                        <a:pt x="30" y="108"/>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noProof="0">
                    <a:ln>
                      <a:noFill/>
                    </a:ln>
                    <a:solidFill>
                      <a:prstClr val="black"/>
                    </a:solidFill>
                    <a:effectLst/>
                    <a:uLnTx/>
                    <a:uFillTx/>
                    <a:latin typeface="Calibri" panose="020F0502020204030204"/>
                    <a:ea typeface="+mn-ea"/>
                    <a:cs typeface="+mn-cs"/>
                  </a:endParaRPr>
                </a:p>
              </p:txBody>
            </p:sp>
            <p:sp>
              <p:nvSpPr>
                <p:cNvPr id="193" name="Problem_Based_Learning">
                  <a:extLst>
                    <a:ext uri="{FF2B5EF4-FFF2-40B4-BE49-F238E27FC236}">
                      <a16:creationId xmlns:a16="http://schemas.microsoft.com/office/drawing/2014/main" id="{294BB894-B79B-4CBE-A98B-53A3E688B2F5}"/>
                    </a:ext>
                  </a:extLst>
                </p:cNvPr>
                <p:cNvSpPr>
                  <a:spLocks noEditPoints="1"/>
                </p:cNvSpPr>
                <p:nvPr>
                  <p:custDataLst>
                    <p:tags r:id="rId51"/>
                  </p:custDataLst>
                </p:nvPr>
              </p:nvSpPr>
              <p:spPr bwMode="auto">
                <a:xfrm>
                  <a:off x="87" y="106"/>
                  <a:ext cx="303" cy="373"/>
                </a:xfrm>
                <a:custGeom>
                  <a:avLst/>
                  <a:gdLst>
                    <a:gd name="T0" fmla="*/ 730 w 808"/>
                    <a:gd name="T1" fmla="*/ 391 h 989"/>
                    <a:gd name="T2" fmla="*/ 730 w 808"/>
                    <a:gd name="T3" fmla="*/ 365 h 989"/>
                    <a:gd name="T4" fmla="*/ 365 w 808"/>
                    <a:gd name="T5" fmla="*/ 0 h 989"/>
                    <a:gd name="T6" fmla="*/ 0 w 808"/>
                    <a:gd name="T7" fmla="*/ 365 h 989"/>
                    <a:gd name="T8" fmla="*/ 78 w 808"/>
                    <a:gd name="T9" fmla="*/ 590 h 989"/>
                    <a:gd name="T10" fmla="*/ 78 w 808"/>
                    <a:gd name="T11" fmla="*/ 989 h 989"/>
                    <a:gd name="T12" fmla="*/ 547 w 808"/>
                    <a:gd name="T13" fmla="*/ 989 h 989"/>
                    <a:gd name="T14" fmla="*/ 547 w 808"/>
                    <a:gd name="T15" fmla="*/ 860 h 989"/>
                    <a:gd name="T16" fmla="*/ 704 w 808"/>
                    <a:gd name="T17" fmla="*/ 704 h 989"/>
                    <a:gd name="T18" fmla="*/ 704 w 808"/>
                    <a:gd name="T19" fmla="*/ 626 h 989"/>
                    <a:gd name="T20" fmla="*/ 782 w 808"/>
                    <a:gd name="T21" fmla="*/ 626 h 989"/>
                    <a:gd name="T22" fmla="*/ 808 w 808"/>
                    <a:gd name="T23" fmla="*/ 600 h 989"/>
                    <a:gd name="T24" fmla="*/ 730 w 808"/>
                    <a:gd name="T25" fmla="*/ 391 h 989"/>
                    <a:gd name="T26" fmla="*/ 587 w 808"/>
                    <a:gd name="T27" fmla="*/ 387 h 989"/>
                    <a:gd name="T28" fmla="*/ 547 w 808"/>
                    <a:gd name="T29" fmla="*/ 365 h 989"/>
                    <a:gd name="T30" fmla="*/ 522 w 808"/>
                    <a:gd name="T31" fmla="*/ 385 h 989"/>
                    <a:gd name="T32" fmla="*/ 520 w 808"/>
                    <a:gd name="T33" fmla="*/ 474 h 989"/>
                    <a:gd name="T34" fmla="*/ 410 w 808"/>
                    <a:gd name="T35" fmla="*/ 473 h 989"/>
                    <a:gd name="T36" fmla="*/ 390 w 808"/>
                    <a:gd name="T37" fmla="*/ 449 h 989"/>
                    <a:gd name="T38" fmla="*/ 412 w 808"/>
                    <a:gd name="T39" fmla="*/ 409 h 989"/>
                    <a:gd name="T40" fmla="*/ 368 w 808"/>
                    <a:gd name="T41" fmla="*/ 364 h 989"/>
                    <a:gd name="T42" fmla="*/ 325 w 808"/>
                    <a:gd name="T43" fmla="*/ 409 h 989"/>
                    <a:gd name="T44" fmla="*/ 347 w 808"/>
                    <a:gd name="T45" fmla="*/ 449 h 989"/>
                    <a:gd name="T46" fmla="*/ 326 w 808"/>
                    <a:gd name="T47" fmla="*/ 473 h 989"/>
                    <a:gd name="T48" fmla="*/ 214 w 808"/>
                    <a:gd name="T49" fmla="*/ 474 h 989"/>
                    <a:gd name="T50" fmla="*/ 213 w 808"/>
                    <a:gd name="T51" fmla="*/ 385 h 989"/>
                    <a:gd name="T52" fmla="*/ 188 w 808"/>
                    <a:gd name="T53" fmla="*/ 365 h 989"/>
                    <a:gd name="T54" fmla="*/ 148 w 808"/>
                    <a:gd name="T55" fmla="*/ 387 h 989"/>
                    <a:gd name="T56" fmla="*/ 104 w 808"/>
                    <a:gd name="T57" fmla="*/ 344 h 989"/>
                    <a:gd name="T58" fmla="*/ 148 w 808"/>
                    <a:gd name="T59" fmla="*/ 300 h 989"/>
                    <a:gd name="T60" fmla="*/ 188 w 808"/>
                    <a:gd name="T61" fmla="*/ 322 h 989"/>
                    <a:gd name="T62" fmla="*/ 213 w 808"/>
                    <a:gd name="T63" fmla="*/ 302 h 989"/>
                    <a:gd name="T64" fmla="*/ 216 w 808"/>
                    <a:gd name="T65" fmla="*/ 213 h 989"/>
                    <a:gd name="T66" fmla="*/ 326 w 808"/>
                    <a:gd name="T67" fmla="*/ 203 h 989"/>
                    <a:gd name="T68" fmla="*/ 347 w 808"/>
                    <a:gd name="T69" fmla="*/ 227 h 989"/>
                    <a:gd name="T70" fmla="*/ 325 w 808"/>
                    <a:gd name="T71" fmla="*/ 267 h 989"/>
                    <a:gd name="T72" fmla="*/ 368 w 808"/>
                    <a:gd name="T73" fmla="*/ 312 h 989"/>
                    <a:gd name="T74" fmla="*/ 412 w 808"/>
                    <a:gd name="T75" fmla="*/ 267 h 989"/>
                    <a:gd name="T76" fmla="*/ 390 w 808"/>
                    <a:gd name="T77" fmla="*/ 227 h 989"/>
                    <a:gd name="T78" fmla="*/ 410 w 808"/>
                    <a:gd name="T79" fmla="*/ 203 h 989"/>
                    <a:gd name="T80" fmla="*/ 521 w 808"/>
                    <a:gd name="T81" fmla="*/ 213 h 989"/>
                    <a:gd name="T82" fmla="*/ 522 w 808"/>
                    <a:gd name="T83" fmla="*/ 302 h 989"/>
                    <a:gd name="T84" fmla="*/ 547 w 808"/>
                    <a:gd name="T85" fmla="*/ 322 h 989"/>
                    <a:gd name="T86" fmla="*/ 587 w 808"/>
                    <a:gd name="T87" fmla="*/ 300 h 989"/>
                    <a:gd name="T88" fmla="*/ 631 w 808"/>
                    <a:gd name="T89" fmla="*/ 344 h 989"/>
                    <a:gd name="T90" fmla="*/ 587 w 808"/>
                    <a:gd name="T91" fmla="*/ 387 h 9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8" h="989">
                      <a:moveTo>
                        <a:pt x="730" y="391"/>
                      </a:moveTo>
                      <a:lnTo>
                        <a:pt x="730" y="365"/>
                      </a:lnTo>
                      <a:cubicBezTo>
                        <a:pt x="730" y="163"/>
                        <a:pt x="566" y="0"/>
                        <a:pt x="365" y="0"/>
                      </a:cubicBezTo>
                      <a:cubicBezTo>
                        <a:pt x="163" y="0"/>
                        <a:pt x="0" y="163"/>
                        <a:pt x="0" y="365"/>
                      </a:cubicBezTo>
                      <a:cubicBezTo>
                        <a:pt x="0" y="450"/>
                        <a:pt x="29" y="528"/>
                        <a:pt x="78" y="590"/>
                      </a:cubicBezTo>
                      <a:lnTo>
                        <a:pt x="78" y="989"/>
                      </a:lnTo>
                      <a:lnTo>
                        <a:pt x="547" y="989"/>
                      </a:lnTo>
                      <a:lnTo>
                        <a:pt x="547" y="860"/>
                      </a:lnTo>
                      <a:cubicBezTo>
                        <a:pt x="634" y="860"/>
                        <a:pt x="704" y="790"/>
                        <a:pt x="704" y="704"/>
                      </a:cubicBezTo>
                      <a:lnTo>
                        <a:pt x="704" y="626"/>
                      </a:lnTo>
                      <a:lnTo>
                        <a:pt x="782" y="626"/>
                      </a:lnTo>
                      <a:cubicBezTo>
                        <a:pt x="796" y="626"/>
                        <a:pt x="808" y="614"/>
                        <a:pt x="808" y="600"/>
                      </a:cubicBezTo>
                      <a:cubicBezTo>
                        <a:pt x="808" y="593"/>
                        <a:pt x="730" y="391"/>
                        <a:pt x="730" y="391"/>
                      </a:cubicBezTo>
                      <a:close/>
                      <a:moveTo>
                        <a:pt x="587" y="387"/>
                      </a:moveTo>
                      <a:cubicBezTo>
                        <a:pt x="562" y="381"/>
                        <a:pt x="566" y="365"/>
                        <a:pt x="547" y="365"/>
                      </a:cubicBezTo>
                      <a:cubicBezTo>
                        <a:pt x="528" y="365"/>
                        <a:pt x="524" y="378"/>
                        <a:pt x="522" y="385"/>
                      </a:cubicBezTo>
                      <a:cubicBezTo>
                        <a:pt x="519" y="407"/>
                        <a:pt x="520" y="474"/>
                        <a:pt x="520" y="474"/>
                      </a:cubicBezTo>
                      <a:cubicBezTo>
                        <a:pt x="520" y="474"/>
                        <a:pt x="432" y="477"/>
                        <a:pt x="410" y="473"/>
                      </a:cubicBezTo>
                      <a:cubicBezTo>
                        <a:pt x="402" y="472"/>
                        <a:pt x="390" y="468"/>
                        <a:pt x="390" y="449"/>
                      </a:cubicBezTo>
                      <a:cubicBezTo>
                        <a:pt x="390" y="430"/>
                        <a:pt x="406" y="434"/>
                        <a:pt x="412" y="409"/>
                      </a:cubicBezTo>
                      <a:cubicBezTo>
                        <a:pt x="414" y="383"/>
                        <a:pt x="392" y="364"/>
                        <a:pt x="368" y="364"/>
                      </a:cubicBezTo>
                      <a:cubicBezTo>
                        <a:pt x="344" y="364"/>
                        <a:pt x="323" y="383"/>
                        <a:pt x="325" y="409"/>
                      </a:cubicBezTo>
                      <a:cubicBezTo>
                        <a:pt x="331" y="434"/>
                        <a:pt x="347" y="430"/>
                        <a:pt x="347" y="449"/>
                      </a:cubicBezTo>
                      <a:cubicBezTo>
                        <a:pt x="347" y="468"/>
                        <a:pt x="334" y="472"/>
                        <a:pt x="326" y="473"/>
                      </a:cubicBezTo>
                      <a:cubicBezTo>
                        <a:pt x="305" y="477"/>
                        <a:pt x="214" y="474"/>
                        <a:pt x="214" y="474"/>
                      </a:cubicBezTo>
                      <a:cubicBezTo>
                        <a:pt x="214" y="474"/>
                        <a:pt x="216" y="407"/>
                        <a:pt x="213" y="385"/>
                      </a:cubicBezTo>
                      <a:cubicBezTo>
                        <a:pt x="212" y="377"/>
                        <a:pt x="207" y="365"/>
                        <a:pt x="188" y="365"/>
                      </a:cubicBezTo>
                      <a:cubicBezTo>
                        <a:pt x="169" y="365"/>
                        <a:pt x="174" y="381"/>
                        <a:pt x="148" y="387"/>
                      </a:cubicBezTo>
                      <a:cubicBezTo>
                        <a:pt x="123" y="389"/>
                        <a:pt x="104" y="368"/>
                        <a:pt x="104" y="344"/>
                      </a:cubicBezTo>
                      <a:cubicBezTo>
                        <a:pt x="104" y="319"/>
                        <a:pt x="123" y="298"/>
                        <a:pt x="148" y="300"/>
                      </a:cubicBezTo>
                      <a:cubicBezTo>
                        <a:pt x="174" y="306"/>
                        <a:pt x="169" y="322"/>
                        <a:pt x="188" y="322"/>
                      </a:cubicBezTo>
                      <a:cubicBezTo>
                        <a:pt x="207" y="322"/>
                        <a:pt x="212" y="310"/>
                        <a:pt x="213" y="302"/>
                      </a:cubicBezTo>
                      <a:cubicBezTo>
                        <a:pt x="216" y="280"/>
                        <a:pt x="216" y="213"/>
                        <a:pt x="216" y="213"/>
                      </a:cubicBezTo>
                      <a:cubicBezTo>
                        <a:pt x="216" y="213"/>
                        <a:pt x="305" y="199"/>
                        <a:pt x="326" y="203"/>
                      </a:cubicBezTo>
                      <a:cubicBezTo>
                        <a:pt x="334" y="204"/>
                        <a:pt x="347" y="208"/>
                        <a:pt x="347" y="227"/>
                      </a:cubicBezTo>
                      <a:cubicBezTo>
                        <a:pt x="347" y="246"/>
                        <a:pt x="331" y="242"/>
                        <a:pt x="325" y="267"/>
                      </a:cubicBezTo>
                      <a:cubicBezTo>
                        <a:pt x="323" y="293"/>
                        <a:pt x="344" y="312"/>
                        <a:pt x="368" y="312"/>
                      </a:cubicBezTo>
                      <a:cubicBezTo>
                        <a:pt x="392" y="312"/>
                        <a:pt x="414" y="293"/>
                        <a:pt x="412" y="267"/>
                      </a:cubicBezTo>
                      <a:cubicBezTo>
                        <a:pt x="406" y="242"/>
                        <a:pt x="390" y="246"/>
                        <a:pt x="390" y="227"/>
                      </a:cubicBezTo>
                      <a:cubicBezTo>
                        <a:pt x="390" y="208"/>
                        <a:pt x="402" y="204"/>
                        <a:pt x="410" y="203"/>
                      </a:cubicBezTo>
                      <a:cubicBezTo>
                        <a:pt x="432" y="199"/>
                        <a:pt x="521" y="213"/>
                        <a:pt x="521" y="213"/>
                      </a:cubicBezTo>
                      <a:cubicBezTo>
                        <a:pt x="521" y="213"/>
                        <a:pt x="519" y="280"/>
                        <a:pt x="522" y="302"/>
                      </a:cubicBezTo>
                      <a:cubicBezTo>
                        <a:pt x="524" y="310"/>
                        <a:pt x="528" y="322"/>
                        <a:pt x="547" y="322"/>
                      </a:cubicBezTo>
                      <a:cubicBezTo>
                        <a:pt x="566" y="322"/>
                        <a:pt x="562" y="306"/>
                        <a:pt x="587" y="300"/>
                      </a:cubicBezTo>
                      <a:cubicBezTo>
                        <a:pt x="613" y="298"/>
                        <a:pt x="631" y="319"/>
                        <a:pt x="631" y="344"/>
                      </a:cubicBezTo>
                      <a:cubicBezTo>
                        <a:pt x="631" y="368"/>
                        <a:pt x="613" y="389"/>
                        <a:pt x="587" y="387"/>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noProof="0">
                    <a:ln>
                      <a:noFill/>
                    </a:ln>
                    <a:solidFill>
                      <a:prstClr val="black"/>
                    </a:solidFill>
                    <a:effectLst/>
                    <a:uLnTx/>
                    <a:uFillTx/>
                    <a:latin typeface="Calibri" panose="020F0502020204030204"/>
                    <a:ea typeface="+mn-ea"/>
                    <a:cs typeface="+mn-cs"/>
                  </a:endParaRPr>
                </a:p>
              </p:txBody>
            </p:sp>
          </p:grpSp>
        </p:grpSp>
      </p:grpSp>
      <p:grpSp>
        <p:nvGrpSpPr>
          <p:cNvPr id="194" name="Group 125">
            <a:extLst>
              <a:ext uri="{FF2B5EF4-FFF2-40B4-BE49-F238E27FC236}">
                <a16:creationId xmlns:a16="http://schemas.microsoft.com/office/drawing/2014/main" id="{CAE50F5E-7FAB-4B74-9BA1-B737C46D017A}"/>
              </a:ext>
            </a:extLst>
          </p:cNvPr>
          <p:cNvGrpSpPr/>
          <p:nvPr/>
        </p:nvGrpSpPr>
        <p:grpSpPr>
          <a:xfrm>
            <a:off x="7348770" y="2508891"/>
            <a:ext cx="288000" cy="288000"/>
            <a:chOff x="7095592" y="742073"/>
            <a:chExt cx="329184" cy="329184"/>
          </a:xfrm>
        </p:grpSpPr>
        <p:sp>
          <p:nvSpPr>
            <p:cNvPr id="195" name="Oval 137">
              <a:extLst>
                <a:ext uri="{FF2B5EF4-FFF2-40B4-BE49-F238E27FC236}">
                  <a16:creationId xmlns:a16="http://schemas.microsoft.com/office/drawing/2014/main" id="{95314A9A-0DD0-4D71-A012-5B3E1EC95626}"/>
                </a:ext>
              </a:extLst>
            </p:cNvPr>
            <p:cNvSpPr/>
            <p:nvPr/>
          </p:nvSpPr>
          <p:spPr>
            <a:xfrm>
              <a:off x="7095592" y="742073"/>
              <a:ext cx="329184" cy="329184"/>
            </a:xfrm>
            <a:prstGeom prst="ellipse">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96" name="Group 127">
              <a:extLst>
                <a:ext uri="{FF2B5EF4-FFF2-40B4-BE49-F238E27FC236}">
                  <a16:creationId xmlns:a16="http://schemas.microsoft.com/office/drawing/2014/main" id="{5DF978DF-7E59-43B4-A893-1B06A0B9D1EB}"/>
                </a:ext>
              </a:extLst>
            </p:cNvPr>
            <p:cNvGrpSpPr/>
            <p:nvPr/>
          </p:nvGrpSpPr>
          <p:grpSpPr>
            <a:xfrm>
              <a:off x="7176816" y="778521"/>
              <a:ext cx="179310" cy="244447"/>
              <a:chOff x="7176816" y="778521"/>
              <a:chExt cx="179310" cy="244447"/>
            </a:xfrm>
          </p:grpSpPr>
          <p:sp>
            <p:nvSpPr>
              <p:cNvPr id="197" name="Seed" descr="{&quot;Key&quot;:&quot;POWER_USER_SHAPE_ICON&quot;,&quot;Value&quot;:&quot;POWER_USER_SHAPE_ICON_STYLE_1&quot;}">
                <a:extLst>
                  <a:ext uri="{FF2B5EF4-FFF2-40B4-BE49-F238E27FC236}">
                    <a16:creationId xmlns:a16="http://schemas.microsoft.com/office/drawing/2014/main" id="{67BBEADB-172F-4C1C-BB37-ECD8EE4E4F6D}"/>
                  </a:ext>
                </a:extLst>
              </p:cNvPr>
              <p:cNvSpPr>
                <a:spLocks noChangeAspect="1" noEditPoints="1"/>
              </p:cNvSpPr>
              <p:nvPr>
                <p:custDataLst>
                  <p:tags r:id="rId36"/>
                </p:custDataLst>
              </p:nvPr>
            </p:nvSpPr>
            <p:spPr bwMode="auto">
              <a:xfrm>
                <a:off x="7176816" y="878690"/>
                <a:ext cx="162838" cy="144278"/>
              </a:xfrm>
              <a:custGeom>
                <a:avLst/>
                <a:gdLst>
                  <a:gd name="T0" fmla="*/ 6744 w 11364"/>
                  <a:gd name="T1" fmla="*/ 3564 h 10067"/>
                  <a:gd name="T2" fmla="*/ 7042 w 11364"/>
                  <a:gd name="T3" fmla="*/ 3354 h 10067"/>
                  <a:gd name="T4" fmla="*/ 4139 w 11364"/>
                  <a:gd name="T5" fmla="*/ 214 h 10067"/>
                  <a:gd name="T6" fmla="*/ 5282 w 11364"/>
                  <a:gd name="T7" fmla="*/ 2733 h 10067"/>
                  <a:gd name="T8" fmla="*/ 10245 w 11364"/>
                  <a:gd name="T9" fmla="*/ 7311 h 10067"/>
                  <a:gd name="T10" fmla="*/ 7950 w 11364"/>
                  <a:gd name="T11" fmla="*/ 5369 h 10067"/>
                  <a:gd name="T12" fmla="*/ 7665 w 11364"/>
                  <a:gd name="T13" fmla="*/ 5315 h 10067"/>
                  <a:gd name="T14" fmla="*/ 7626 w 11364"/>
                  <a:gd name="T15" fmla="*/ 5310 h 10067"/>
                  <a:gd name="T16" fmla="*/ 7637 w 11364"/>
                  <a:gd name="T17" fmla="*/ 4576 h 10067"/>
                  <a:gd name="T18" fmla="*/ 7646 w 11364"/>
                  <a:gd name="T19" fmla="*/ 4476 h 10067"/>
                  <a:gd name="T20" fmla="*/ 7673 w 11364"/>
                  <a:gd name="T21" fmla="*/ 4234 h 10067"/>
                  <a:gd name="T22" fmla="*/ 8068 w 11364"/>
                  <a:gd name="T23" fmla="*/ 4029 h 10067"/>
                  <a:gd name="T24" fmla="*/ 11244 w 11364"/>
                  <a:gd name="T25" fmla="*/ 0 h 10067"/>
                  <a:gd name="T26" fmla="*/ 7516 w 11364"/>
                  <a:gd name="T27" fmla="*/ 2618 h 10067"/>
                  <a:gd name="T28" fmla="*/ 7233 w 11364"/>
                  <a:gd name="T29" fmla="*/ 4214 h 10067"/>
                  <a:gd name="T30" fmla="*/ 7224 w 11364"/>
                  <a:gd name="T31" fmla="*/ 5280 h 10067"/>
                  <a:gd name="T32" fmla="*/ 7082 w 11364"/>
                  <a:gd name="T33" fmla="*/ 5277 h 10067"/>
                  <a:gd name="T34" fmla="*/ 5070 w 11364"/>
                  <a:gd name="T35" fmla="*/ 6113 h 10067"/>
                  <a:gd name="T36" fmla="*/ 2454 w 11364"/>
                  <a:gd name="T37" fmla="*/ 5748 h 10067"/>
                  <a:gd name="T38" fmla="*/ 1979 w 11364"/>
                  <a:gd name="T39" fmla="*/ 5775 h 10067"/>
                  <a:gd name="T40" fmla="*/ 2514 w 11364"/>
                  <a:gd name="T41" fmla="*/ 6100 h 10067"/>
                  <a:gd name="T42" fmla="*/ 4816 w 11364"/>
                  <a:gd name="T43" fmla="*/ 6387 h 10067"/>
                  <a:gd name="T44" fmla="*/ 6145 w 11364"/>
                  <a:gd name="T45" fmla="*/ 6987 h 10067"/>
                  <a:gd name="T46" fmla="*/ 8301 w 11364"/>
                  <a:gd name="T47" fmla="*/ 7145 h 10067"/>
                  <a:gd name="T48" fmla="*/ 8758 w 11364"/>
                  <a:gd name="T49" fmla="*/ 7918 h 10067"/>
                  <a:gd name="T50" fmla="*/ 8461 w 11364"/>
                  <a:gd name="T51" fmla="*/ 8153 h 10067"/>
                  <a:gd name="T52" fmla="*/ 7099 w 11364"/>
                  <a:gd name="T53" fmla="*/ 8176 h 10067"/>
                  <a:gd name="T54" fmla="*/ 6945 w 11364"/>
                  <a:gd name="T55" fmla="*/ 8155 h 10067"/>
                  <a:gd name="T56" fmla="*/ 6316 w 11364"/>
                  <a:gd name="T57" fmla="*/ 8035 h 10067"/>
                  <a:gd name="T58" fmla="*/ 6020 w 11364"/>
                  <a:gd name="T59" fmla="*/ 7984 h 10067"/>
                  <a:gd name="T60" fmla="*/ 4994 w 11364"/>
                  <a:gd name="T61" fmla="*/ 8127 h 10067"/>
                  <a:gd name="T62" fmla="*/ 4903 w 11364"/>
                  <a:gd name="T63" fmla="*/ 8363 h 10067"/>
                  <a:gd name="T64" fmla="*/ 6233 w 11364"/>
                  <a:gd name="T65" fmla="*/ 8382 h 10067"/>
                  <a:gd name="T66" fmla="*/ 8735 w 11364"/>
                  <a:gd name="T67" fmla="*/ 8429 h 10067"/>
                  <a:gd name="T68" fmla="*/ 9563 w 11364"/>
                  <a:gd name="T69" fmla="*/ 8061 h 10067"/>
                  <a:gd name="T70" fmla="*/ 10404 w 11364"/>
                  <a:gd name="T71" fmla="*/ 7630 h 10067"/>
                  <a:gd name="T72" fmla="*/ 10935 w 11364"/>
                  <a:gd name="T73" fmla="*/ 7937 h 10067"/>
                  <a:gd name="T74" fmla="*/ 10018 w 11364"/>
                  <a:gd name="T75" fmla="*/ 8647 h 10067"/>
                  <a:gd name="T76" fmla="*/ 9086 w 11364"/>
                  <a:gd name="T77" fmla="*/ 9020 h 10067"/>
                  <a:gd name="T78" fmla="*/ 6547 w 11364"/>
                  <a:gd name="T79" fmla="*/ 9626 h 10067"/>
                  <a:gd name="T80" fmla="*/ 2148 w 11364"/>
                  <a:gd name="T81" fmla="*/ 8613 h 10067"/>
                  <a:gd name="T82" fmla="*/ 1979 w 11364"/>
                  <a:gd name="T83" fmla="*/ 8970 h 10067"/>
                  <a:gd name="T84" fmla="*/ 5139 w 11364"/>
                  <a:gd name="T85" fmla="*/ 9875 h 10067"/>
                  <a:gd name="T86" fmla="*/ 6619 w 11364"/>
                  <a:gd name="T87" fmla="*/ 9976 h 10067"/>
                  <a:gd name="T88" fmla="*/ 9235 w 11364"/>
                  <a:gd name="T89" fmla="*/ 9344 h 10067"/>
                  <a:gd name="T90" fmla="*/ 10176 w 11364"/>
                  <a:gd name="T91" fmla="*/ 8967 h 10067"/>
                  <a:gd name="T92" fmla="*/ 11194 w 11364"/>
                  <a:gd name="T93" fmla="*/ 8190 h 10067"/>
                  <a:gd name="T94" fmla="*/ 0 w 11364"/>
                  <a:gd name="T95" fmla="*/ 9309 h 10067"/>
                  <a:gd name="T96" fmla="*/ 1630 w 11364"/>
                  <a:gd name="T97" fmla="*/ 5351 h 10067"/>
                  <a:gd name="T98" fmla="*/ 0 w 11364"/>
                  <a:gd name="T99" fmla="*/ 9309 h 100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1364" h="10067">
                    <a:moveTo>
                      <a:pt x="5282" y="2733"/>
                    </a:moveTo>
                    <a:cubicBezTo>
                      <a:pt x="5856" y="3288"/>
                      <a:pt x="6390" y="3439"/>
                      <a:pt x="6744" y="3564"/>
                    </a:cubicBezTo>
                    <a:cubicBezTo>
                      <a:pt x="6525" y="2306"/>
                      <a:pt x="5827" y="1150"/>
                      <a:pt x="4589" y="609"/>
                    </a:cubicBezTo>
                    <a:cubicBezTo>
                      <a:pt x="5820" y="997"/>
                      <a:pt x="6676" y="2123"/>
                      <a:pt x="7042" y="3354"/>
                    </a:cubicBezTo>
                    <a:cubicBezTo>
                      <a:pt x="7112" y="2949"/>
                      <a:pt x="7216" y="2574"/>
                      <a:pt x="7358" y="2233"/>
                    </a:cubicBezTo>
                    <a:cubicBezTo>
                      <a:pt x="7006" y="1054"/>
                      <a:pt x="5918" y="214"/>
                      <a:pt x="4139" y="214"/>
                    </a:cubicBezTo>
                    <a:cubicBezTo>
                      <a:pt x="3920" y="214"/>
                      <a:pt x="3690" y="227"/>
                      <a:pt x="3450" y="253"/>
                    </a:cubicBezTo>
                    <a:cubicBezTo>
                      <a:pt x="4708" y="954"/>
                      <a:pt x="4033" y="1529"/>
                      <a:pt x="5282" y="2733"/>
                    </a:cubicBezTo>
                    <a:close/>
                    <a:moveTo>
                      <a:pt x="11174" y="7560"/>
                    </a:moveTo>
                    <a:cubicBezTo>
                      <a:pt x="11020" y="7299"/>
                      <a:pt x="10696" y="7094"/>
                      <a:pt x="10245" y="7311"/>
                    </a:cubicBezTo>
                    <a:lnTo>
                      <a:pt x="10145" y="7362"/>
                    </a:lnTo>
                    <a:cubicBezTo>
                      <a:pt x="9750" y="6361"/>
                      <a:pt x="9011" y="5620"/>
                      <a:pt x="7950" y="5369"/>
                    </a:cubicBezTo>
                    <a:cubicBezTo>
                      <a:pt x="7904" y="5358"/>
                      <a:pt x="7855" y="5350"/>
                      <a:pt x="7807" y="5341"/>
                    </a:cubicBezTo>
                    <a:cubicBezTo>
                      <a:pt x="7760" y="5332"/>
                      <a:pt x="7713" y="5323"/>
                      <a:pt x="7665" y="5315"/>
                    </a:cubicBezTo>
                    <a:lnTo>
                      <a:pt x="7665" y="5310"/>
                    </a:lnTo>
                    <a:lnTo>
                      <a:pt x="7626" y="5310"/>
                    </a:lnTo>
                    <a:cubicBezTo>
                      <a:pt x="7615" y="5095"/>
                      <a:pt x="7617" y="4877"/>
                      <a:pt x="7630" y="4658"/>
                    </a:cubicBezTo>
                    <a:cubicBezTo>
                      <a:pt x="7632" y="4631"/>
                      <a:pt x="7635" y="4603"/>
                      <a:pt x="7637" y="4576"/>
                    </a:cubicBezTo>
                    <a:cubicBezTo>
                      <a:pt x="7639" y="4548"/>
                      <a:pt x="7642" y="4521"/>
                      <a:pt x="7645" y="4493"/>
                    </a:cubicBezTo>
                    <a:cubicBezTo>
                      <a:pt x="7645" y="4487"/>
                      <a:pt x="7646" y="4482"/>
                      <a:pt x="7646" y="4476"/>
                    </a:cubicBezTo>
                    <a:cubicBezTo>
                      <a:pt x="7650" y="4440"/>
                      <a:pt x="7653" y="4405"/>
                      <a:pt x="7657" y="4369"/>
                    </a:cubicBezTo>
                    <a:cubicBezTo>
                      <a:pt x="7662" y="4324"/>
                      <a:pt x="7667" y="4279"/>
                      <a:pt x="7673" y="4234"/>
                    </a:cubicBezTo>
                    <a:cubicBezTo>
                      <a:pt x="7872" y="2771"/>
                      <a:pt x="8628" y="1348"/>
                      <a:pt x="9939" y="657"/>
                    </a:cubicBezTo>
                    <a:cubicBezTo>
                      <a:pt x="8766" y="1446"/>
                      <a:pt x="8183" y="2704"/>
                      <a:pt x="8068" y="4029"/>
                    </a:cubicBezTo>
                    <a:cubicBezTo>
                      <a:pt x="8412" y="3957"/>
                      <a:pt x="8947" y="3834"/>
                      <a:pt x="9555" y="3096"/>
                    </a:cubicBezTo>
                    <a:cubicBezTo>
                      <a:pt x="10606" y="1820"/>
                      <a:pt x="10037" y="1108"/>
                      <a:pt x="11244" y="0"/>
                    </a:cubicBezTo>
                    <a:cubicBezTo>
                      <a:pt x="9086" y="152"/>
                      <a:pt x="8041" y="1219"/>
                      <a:pt x="7569" y="2470"/>
                    </a:cubicBezTo>
                    <a:cubicBezTo>
                      <a:pt x="7551" y="2519"/>
                      <a:pt x="7533" y="2568"/>
                      <a:pt x="7516" y="2618"/>
                    </a:cubicBezTo>
                    <a:cubicBezTo>
                      <a:pt x="7499" y="2670"/>
                      <a:pt x="7482" y="2723"/>
                      <a:pt x="7466" y="2776"/>
                    </a:cubicBezTo>
                    <a:cubicBezTo>
                      <a:pt x="7324" y="3251"/>
                      <a:pt x="7255" y="3743"/>
                      <a:pt x="7233" y="4214"/>
                    </a:cubicBezTo>
                    <a:cubicBezTo>
                      <a:pt x="7227" y="4337"/>
                      <a:pt x="7224" y="4458"/>
                      <a:pt x="7224" y="4577"/>
                    </a:cubicBezTo>
                    <a:lnTo>
                      <a:pt x="7224" y="5280"/>
                    </a:lnTo>
                    <a:cubicBezTo>
                      <a:pt x="7190" y="5279"/>
                      <a:pt x="7156" y="5276"/>
                      <a:pt x="7121" y="5276"/>
                    </a:cubicBezTo>
                    <a:cubicBezTo>
                      <a:pt x="7107" y="5276"/>
                      <a:pt x="7095" y="5277"/>
                      <a:pt x="7082" y="5277"/>
                    </a:cubicBezTo>
                    <a:cubicBezTo>
                      <a:pt x="7033" y="5278"/>
                      <a:pt x="6986" y="5280"/>
                      <a:pt x="6939" y="5283"/>
                    </a:cubicBezTo>
                    <a:cubicBezTo>
                      <a:pt x="6217" y="5326"/>
                      <a:pt x="5581" y="5623"/>
                      <a:pt x="5070" y="6113"/>
                    </a:cubicBezTo>
                    <a:cubicBezTo>
                      <a:pt x="4740" y="5948"/>
                      <a:pt x="4382" y="5797"/>
                      <a:pt x="4006" y="5741"/>
                    </a:cubicBezTo>
                    <a:cubicBezTo>
                      <a:pt x="3196" y="5621"/>
                      <a:pt x="2767" y="5694"/>
                      <a:pt x="2454" y="5748"/>
                    </a:cubicBezTo>
                    <a:cubicBezTo>
                      <a:pt x="2277" y="5778"/>
                      <a:pt x="2149" y="5801"/>
                      <a:pt x="2006" y="5779"/>
                    </a:cubicBezTo>
                    <a:lnTo>
                      <a:pt x="1979" y="5775"/>
                    </a:lnTo>
                    <a:lnTo>
                      <a:pt x="1979" y="6135"/>
                    </a:lnTo>
                    <a:cubicBezTo>
                      <a:pt x="2167" y="6158"/>
                      <a:pt x="2329" y="6132"/>
                      <a:pt x="2514" y="6100"/>
                    </a:cubicBezTo>
                    <a:cubicBezTo>
                      <a:pt x="2820" y="6048"/>
                      <a:pt x="3200" y="5983"/>
                      <a:pt x="3953" y="6094"/>
                    </a:cubicBezTo>
                    <a:cubicBezTo>
                      <a:pt x="4247" y="6138"/>
                      <a:pt x="4539" y="6254"/>
                      <a:pt x="4816" y="6387"/>
                    </a:cubicBezTo>
                    <a:cubicBezTo>
                      <a:pt x="4964" y="6458"/>
                      <a:pt x="5108" y="6534"/>
                      <a:pt x="5246" y="6607"/>
                    </a:cubicBezTo>
                    <a:cubicBezTo>
                      <a:pt x="5584" y="6786"/>
                      <a:pt x="5875" y="6940"/>
                      <a:pt x="6145" y="6987"/>
                    </a:cubicBezTo>
                    <a:cubicBezTo>
                      <a:pt x="6374" y="7027"/>
                      <a:pt x="6617" y="7019"/>
                      <a:pt x="6873" y="7011"/>
                    </a:cubicBezTo>
                    <a:cubicBezTo>
                      <a:pt x="7279" y="6999"/>
                      <a:pt x="7740" y="6985"/>
                      <a:pt x="8301" y="7145"/>
                    </a:cubicBezTo>
                    <a:cubicBezTo>
                      <a:pt x="8622" y="7237"/>
                      <a:pt x="8803" y="7401"/>
                      <a:pt x="8825" y="7618"/>
                    </a:cubicBezTo>
                    <a:cubicBezTo>
                      <a:pt x="8835" y="7725"/>
                      <a:pt x="8806" y="7830"/>
                      <a:pt x="8758" y="7918"/>
                    </a:cubicBezTo>
                    <a:cubicBezTo>
                      <a:pt x="8709" y="8005"/>
                      <a:pt x="8640" y="8076"/>
                      <a:pt x="8571" y="8111"/>
                    </a:cubicBezTo>
                    <a:cubicBezTo>
                      <a:pt x="8540" y="8127"/>
                      <a:pt x="8502" y="8141"/>
                      <a:pt x="8461" y="8153"/>
                    </a:cubicBezTo>
                    <a:cubicBezTo>
                      <a:pt x="8371" y="8180"/>
                      <a:pt x="8259" y="8200"/>
                      <a:pt x="8128" y="8211"/>
                    </a:cubicBezTo>
                    <a:cubicBezTo>
                      <a:pt x="7846" y="8235"/>
                      <a:pt x="7483" y="8223"/>
                      <a:pt x="7099" y="8176"/>
                    </a:cubicBezTo>
                    <a:cubicBezTo>
                      <a:pt x="7067" y="8172"/>
                      <a:pt x="7035" y="8168"/>
                      <a:pt x="7003" y="8164"/>
                    </a:cubicBezTo>
                    <a:cubicBezTo>
                      <a:pt x="6984" y="8161"/>
                      <a:pt x="6965" y="8158"/>
                      <a:pt x="6945" y="8155"/>
                    </a:cubicBezTo>
                    <a:cubicBezTo>
                      <a:pt x="6790" y="8133"/>
                      <a:pt x="6633" y="8105"/>
                      <a:pt x="6477" y="8071"/>
                    </a:cubicBezTo>
                    <a:cubicBezTo>
                      <a:pt x="6423" y="8060"/>
                      <a:pt x="6370" y="8048"/>
                      <a:pt x="6316" y="8035"/>
                    </a:cubicBezTo>
                    <a:cubicBezTo>
                      <a:pt x="6270" y="8024"/>
                      <a:pt x="6226" y="8017"/>
                      <a:pt x="6181" y="8008"/>
                    </a:cubicBezTo>
                    <a:cubicBezTo>
                      <a:pt x="6126" y="7998"/>
                      <a:pt x="6072" y="7990"/>
                      <a:pt x="6020" y="7984"/>
                    </a:cubicBezTo>
                    <a:cubicBezTo>
                      <a:pt x="5990" y="7981"/>
                      <a:pt x="5960" y="7977"/>
                      <a:pt x="5931" y="7975"/>
                    </a:cubicBezTo>
                    <a:cubicBezTo>
                      <a:pt x="5524" y="7946"/>
                      <a:pt x="5206" y="8034"/>
                      <a:pt x="4994" y="8127"/>
                    </a:cubicBezTo>
                    <a:cubicBezTo>
                      <a:pt x="4960" y="8142"/>
                      <a:pt x="4936" y="8168"/>
                      <a:pt x="4918" y="8197"/>
                    </a:cubicBezTo>
                    <a:cubicBezTo>
                      <a:pt x="4888" y="8246"/>
                      <a:pt x="4878" y="8306"/>
                      <a:pt x="4903" y="8363"/>
                    </a:cubicBezTo>
                    <a:cubicBezTo>
                      <a:pt x="4943" y="8452"/>
                      <a:pt x="5048" y="8493"/>
                      <a:pt x="5138" y="8454"/>
                    </a:cubicBezTo>
                    <a:cubicBezTo>
                      <a:pt x="5465" y="8310"/>
                      <a:pt x="5833" y="8286"/>
                      <a:pt x="6233" y="8382"/>
                    </a:cubicBezTo>
                    <a:cubicBezTo>
                      <a:pt x="6732" y="8503"/>
                      <a:pt x="7317" y="8582"/>
                      <a:pt x="7817" y="8582"/>
                    </a:cubicBezTo>
                    <a:cubicBezTo>
                      <a:pt x="8196" y="8582"/>
                      <a:pt x="8527" y="8536"/>
                      <a:pt x="8735" y="8429"/>
                    </a:cubicBezTo>
                    <a:cubicBezTo>
                      <a:pt x="8828" y="8381"/>
                      <a:pt x="8910" y="8308"/>
                      <a:pt x="8978" y="8223"/>
                    </a:cubicBezTo>
                    <a:cubicBezTo>
                      <a:pt x="9279" y="8130"/>
                      <a:pt x="9558" y="8062"/>
                      <a:pt x="9563" y="8061"/>
                    </a:cubicBezTo>
                    <a:cubicBezTo>
                      <a:pt x="9577" y="8057"/>
                      <a:pt x="9590" y="8052"/>
                      <a:pt x="9603" y="8045"/>
                    </a:cubicBezTo>
                    <a:lnTo>
                      <a:pt x="10404" y="7630"/>
                    </a:lnTo>
                    <a:cubicBezTo>
                      <a:pt x="10627" y="7523"/>
                      <a:pt x="10731" y="7601"/>
                      <a:pt x="10766" y="7626"/>
                    </a:cubicBezTo>
                    <a:cubicBezTo>
                      <a:pt x="10877" y="7708"/>
                      <a:pt x="10927" y="7862"/>
                      <a:pt x="10935" y="7937"/>
                    </a:cubicBezTo>
                    <a:cubicBezTo>
                      <a:pt x="10867" y="7990"/>
                      <a:pt x="10749" y="8081"/>
                      <a:pt x="10619" y="8183"/>
                    </a:cubicBezTo>
                    <a:cubicBezTo>
                      <a:pt x="10396" y="8357"/>
                      <a:pt x="10058" y="8621"/>
                      <a:pt x="10018" y="8647"/>
                    </a:cubicBezTo>
                    <a:cubicBezTo>
                      <a:pt x="9989" y="8661"/>
                      <a:pt x="9867" y="8708"/>
                      <a:pt x="9720" y="8765"/>
                    </a:cubicBezTo>
                    <a:cubicBezTo>
                      <a:pt x="9489" y="8855"/>
                      <a:pt x="9201" y="8966"/>
                      <a:pt x="9086" y="9020"/>
                    </a:cubicBezTo>
                    <a:cubicBezTo>
                      <a:pt x="8816" y="9144"/>
                      <a:pt x="8300" y="9346"/>
                      <a:pt x="8196" y="9349"/>
                    </a:cubicBezTo>
                    <a:cubicBezTo>
                      <a:pt x="8024" y="9349"/>
                      <a:pt x="7346" y="9463"/>
                      <a:pt x="6547" y="9626"/>
                    </a:cubicBezTo>
                    <a:cubicBezTo>
                      <a:pt x="5919" y="9754"/>
                      <a:pt x="5696" y="9741"/>
                      <a:pt x="5291" y="9552"/>
                    </a:cubicBezTo>
                    <a:cubicBezTo>
                      <a:pt x="4872" y="9356"/>
                      <a:pt x="2441" y="8613"/>
                      <a:pt x="2148" y="8613"/>
                    </a:cubicBezTo>
                    <a:lnTo>
                      <a:pt x="1979" y="8613"/>
                    </a:lnTo>
                    <a:lnTo>
                      <a:pt x="1979" y="8970"/>
                    </a:lnTo>
                    <a:lnTo>
                      <a:pt x="2146" y="8970"/>
                    </a:lnTo>
                    <a:cubicBezTo>
                      <a:pt x="2378" y="8981"/>
                      <a:pt x="4685" y="9662"/>
                      <a:pt x="5139" y="9875"/>
                    </a:cubicBezTo>
                    <a:cubicBezTo>
                      <a:pt x="5427" y="10010"/>
                      <a:pt x="5655" y="10067"/>
                      <a:pt x="5917" y="10067"/>
                    </a:cubicBezTo>
                    <a:cubicBezTo>
                      <a:pt x="6117" y="10067"/>
                      <a:pt x="6337" y="10034"/>
                      <a:pt x="6619" y="9976"/>
                    </a:cubicBezTo>
                    <a:cubicBezTo>
                      <a:pt x="7530" y="9790"/>
                      <a:pt x="8089" y="9706"/>
                      <a:pt x="8196" y="9706"/>
                    </a:cubicBezTo>
                    <a:cubicBezTo>
                      <a:pt x="8437" y="9706"/>
                      <a:pt x="9228" y="9348"/>
                      <a:pt x="9235" y="9344"/>
                    </a:cubicBezTo>
                    <a:cubicBezTo>
                      <a:pt x="9341" y="9296"/>
                      <a:pt x="9635" y="9181"/>
                      <a:pt x="9849" y="9098"/>
                    </a:cubicBezTo>
                    <a:cubicBezTo>
                      <a:pt x="10069" y="9013"/>
                      <a:pt x="10148" y="8982"/>
                      <a:pt x="10176" y="8967"/>
                    </a:cubicBezTo>
                    <a:cubicBezTo>
                      <a:pt x="10216" y="8947"/>
                      <a:pt x="10303" y="8883"/>
                      <a:pt x="10839" y="8464"/>
                    </a:cubicBezTo>
                    <a:cubicBezTo>
                      <a:pt x="11008" y="8332"/>
                      <a:pt x="11155" y="8217"/>
                      <a:pt x="11194" y="8190"/>
                    </a:cubicBezTo>
                    <a:cubicBezTo>
                      <a:pt x="11364" y="8068"/>
                      <a:pt x="11285" y="7748"/>
                      <a:pt x="11174" y="7560"/>
                    </a:cubicBezTo>
                    <a:close/>
                    <a:moveTo>
                      <a:pt x="0" y="9309"/>
                    </a:moveTo>
                    <a:lnTo>
                      <a:pt x="1630" y="9309"/>
                    </a:lnTo>
                    <a:lnTo>
                      <a:pt x="1630" y="5351"/>
                    </a:lnTo>
                    <a:lnTo>
                      <a:pt x="0" y="5351"/>
                    </a:lnTo>
                    <a:lnTo>
                      <a:pt x="0" y="9309"/>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nvGrpSpPr>
              <p:cNvPr id="198" name="Problem_Based_Learning" descr="{&quot;Key&quot;:&quot;POWER_USER_SHAPE_ICON&quot;,&quot;Value&quot;:&quot;POWER_USER_SHAPE_ICON_STYLE_1&quot;}">
                <a:extLst>
                  <a:ext uri="{FF2B5EF4-FFF2-40B4-BE49-F238E27FC236}">
                    <a16:creationId xmlns:a16="http://schemas.microsoft.com/office/drawing/2014/main" id="{BB0777D8-D425-4A5B-93F5-373620EA9836}"/>
                  </a:ext>
                </a:extLst>
              </p:cNvPr>
              <p:cNvGrpSpPr>
                <a:grpSpLocks noChangeAspect="1"/>
              </p:cNvGrpSpPr>
              <p:nvPr>
                <p:custDataLst>
                  <p:tags r:id="rId37"/>
                </p:custDataLst>
              </p:nvPr>
            </p:nvGrpSpPr>
            <p:grpSpPr bwMode="auto">
              <a:xfrm>
                <a:off x="7183815" y="778521"/>
                <a:ext cx="172311" cy="185669"/>
                <a:chOff x="7" y="8"/>
                <a:chExt cx="424" cy="471"/>
              </a:xfrm>
              <a:solidFill>
                <a:schemeClr val="bg1"/>
              </a:solidFill>
            </p:grpSpPr>
            <p:sp>
              <p:nvSpPr>
                <p:cNvPr id="199" name="Problem_Based_Learning">
                  <a:extLst>
                    <a:ext uri="{FF2B5EF4-FFF2-40B4-BE49-F238E27FC236}">
                      <a16:creationId xmlns:a16="http://schemas.microsoft.com/office/drawing/2014/main" id="{45EAFD2C-BF4B-4BD0-999A-6A5E64A4C027}"/>
                    </a:ext>
                  </a:extLst>
                </p:cNvPr>
                <p:cNvSpPr>
                  <a:spLocks/>
                </p:cNvSpPr>
                <p:nvPr>
                  <p:custDataLst>
                    <p:tags r:id="rId38"/>
                  </p:custDataLst>
                </p:nvPr>
              </p:nvSpPr>
              <p:spPr bwMode="auto">
                <a:xfrm>
                  <a:off x="214" y="8"/>
                  <a:ext cx="20" cy="69"/>
                </a:xfrm>
                <a:custGeom>
                  <a:avLst/>
                  <a:gdLst>
                    <a:gd name="T0" fmla="*/ 26 w 52"/>
                    <a:gd name="T1" fmla="*/ 183 h 183"/>
                    <a:gd name="T2" fmla="*/ 0 w 52"/>
                    <a:gd name="T3" fmla="*/ 156 h 183"/>
                    <a:gd name="T4" fmla="*/ 0 w 52"/>
                    <a:gd name="T5" fmla="*/ 26 h 183"/>
                    <a:gd name="T6" fmla="*/ 26 w 52"/>
                    <a:gd name="T7" fmla="*/ 0 h 183"/>
                    <a:gd name="T8" fmla="*/ 52 w 52"/>
                    <a:gd name="T9" fmla="*/ 26 h 183"/>
                    <a:gd name="T10" fmla="*/ 52 w 52"/>
                    <a:gd name="T11" fmla="*/ 156 h 183"/>
                    <a:gd name="T12" fmla="*/ 26 w 52"/>
                    <a:gd name="T13" fmla="*/ 183 h 183"/>
                  </a:gdLst>
                  <a:ahLst/>
                  <a:cxnLst>
                    <a:cxn ang="0">
                      <a:pos x="T0" y="T1"/>
                    </a:cxn>
                    <a:cxn ang="0">
                      <a:pos x="T2" y="T3"/>
                    </a:cxn>
                    <a:cxn ang="0">
                      <a:pos x="T4" y="T5"/>
                    </a:cxn>
                    <a:cxn ang="0">
                      <a:pos x="T6" y="T7"/>
                    </a:cxn>
                    <a:cxn ang="0">
                      <a:pos x="T8" y="T9"/>
                    </a:cxn>
                    <a:cxn ang="0">
                      <a:pos x="T10" y="T11"/>
                    </a:cxn>
                    <a:cxn ang="0">
                      <a:pos x="T12" y="T13"/>
                    </a:cxn>
                  </a:cxnLst>
                  <a:rect l="0" t="0" r="r" b="b"/>
                  <a:pathLst>
                    <a:path w="52" h="183">
                      <a:moveTo>
                        <a:pt x="26" y="183"/>
                      </a:moveTo>
                      <a:cubicBezTo>
                        <a:pt x="11" y="183"/>
                        <a:pt x="0" y="171"/>
                        <a:pt x="0" y="156"/>
                      </a:cubicBezTo>
                      <a:lnTo>
                        <a:pt x="0" y="26"/>
                      </a:lnTo>
                      <a:cubicBezTo>
                        <a:pt x="0" y="12"/>
                        <a:pt x="11" y="0"/>
                        <a:pt x="26" y="0"/>
                      </a:cubicBezTo>
                      <a:cubicBezTo>
                        <a:pt x="40" y="0"/>
                        <a:pt x="52" y="12"/>
                        <a:pt x="52" y="26"/>
                      </a:cubicBezTo>
                      <a:lnTo>
                        <a:pt x="52" y="156"/>
                      </a:lnTo>
                      <a:cubicBezTo>
                        <a:pt x="52" y="171"/>
                        <a:pt x="40" y="183"/>
                        <a:pt x="26" y="183"/>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noProof="0">
                    <a:ln>
                      <a:noFill/>
                    </a:ln>
                    <a:solidFill>
                      <a:prstClr val="black"/>
                    </a:solidFill>
                    <a:effectLst/>
                    <a:uLnTx/>
                    <a:uFillTx/>
                    <a:latin typeface="Calibri" panose="020F0502020204030204"/>
                    <a:ea typeface="+mn-ea"/>
                    <a:cs typeface="+mn-cs"/>
                  </a:endParaRPr>
                </a:p>
              </p:txBody>
            </p:sp>
            <p:sp>
              <p:nvSpPr>
                <p:cNvPr id="200" name="Problem_Based_Learning">
                  <a:extLst>
                    <a:ext uri="{FF2B5EF4-FFF2-40B4-BE49-F238E27FC236}">
                      <a16:creationId xmlns:a16="http://schemas.microsoft.com/office/drawing/2014/main" id="{0C469427-357B-462C-8D68-D3097EB47E27}"/>
                    </a:ext>
                  </a:extLst>
                </p:cNvPr>
                <p:cNvSpPr>
                  <a:spLocks/>
                </p:cNvSpPr>
                <p:nvPr>
                  <p:custDataLst>
                    <p:tags r:id="rId39"/>
                  </p:custDataLst>
                </p:nvPr>
              </p:nvSpPr>
              <p:spPr bwMode="auto">
                <a:xfrm>
                  <a:off x="301" y="46"/>
                  <a:ext cx="51" cy="60"/>
                </a:xfrm>
                <a:custGeom>
                  <a:avLst/>
                  <a:gdLst>
                    <a:gd name="T0" fmla="*/ 29 w 137"/>
                    <a:gd name="T1" fmla="*/ 160 h 160"/>
                    <a:gd name="T2" fmla="*/ 14 w 137"/>
                    <a:gd name="T3" fmla="*/ 155 h 160"/>
                    <a:gd name="T4" fmla="*/ 9 w 137"/>
                    <a:gd name="T5" fmla="*/ 118 h 160"/>
                    <a:gd name="T6" fmla="*/ 87 w 137"/>
                    <a:gd name="T7" fmla="*/ 14 h 160"/>
                    <a:gd name="T8" fmla="*/ 123 w 137"/>
                    <a:gd name="T9" fmla="*/ 9 h 160"/>
                    <a:gd name="T10" fmla="*/ 128 w 137"/>
                    <a:gd name="T11" fmla="*/ 45 h 160"/>
                    <a:gd name="T12" fmla="*/ 50 w 137"/>
                    <a:gd name="T13" fmla="*/ 149 h 160"/>
                    <a:gd name="T14" fmla="*/ 29 w 137"/>
                    <a:gd name="T15" fmla="*/ 160 h 16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7" h="160">
                      <a:moveTo>
                        <a:pt x="29" y="160"/>
                      </a:moveTo>
                      <a:cubicBezTo>
                        <a:pt x="24" y="160"/>
                        <a:pt x="18" y="158"/>
                        <a:pt x="14" y="155"/>
                      </a:cubicBezTo>
                      <a:cubicBezTo>
                        <a:pt x="2" y="146"/>
                        <a:pt x="0" y="130"/>
                        <a:pt x="9" y="118"/>
                      </a:cubicBezTo>
                      <a:lnTo>
                        <a:pt x="87" y="14"/>
                      </a:lnTo>
                      <a:cubicBezTo>
                        <a:pt x="95" y="2"/>
                        <a:pt x="112" y="0"/>
                        <a:pt x="123" y="9"/>
                      </a:cubicBezTo>
                      <a:cubicBezTo>
                        <a:pt x="135" y="17"/>
                        <a:pt x="137" y="34"/>
                        <a:pt x="128" y="45"/>
                      </a:cubicBezTo>
                      <a:lnTo>
                        <a:pt x="50" y="149"/>
                      </a:lnTo>
                      <a:cubicBezTo>
                        <a:pt x="45" y="156"/>
                        <a:pt x="37" y="160"/>
                        <a:pt x="29" y="16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noProof="0">
                    <a:ln>
                      <a:noFill/>
                    </a:ln>
                    <a:solidFill>
                      <a:prstClr val="black"/>
                    </a:solidFill>
                    <a:effectLst/>
                    <a:uLnTx/>
                    <a:uFillTx/>
                    <a:latin typeface="Calibri" panose="020F0502020204030204"/>
                    <a:ea typeface="+mn-ea"/>
                    <a:cs typeface="+mn-cs"/>
                  </a:endParaRPr>
                </a:p>
              </p:txBody>
            </p:sp>
            <p:sp>
              <p:nvSpPr>
                <p:cNvPr id="201" name="Problem_Based_Learning">
                  <a:extLst>
                    <a:ext uri="{FF2B5EF4-FFF2-40B4-BE49-F238E27FC236}">
                      <a16:creationId xmlns:a16="http://schemas.microsoft.com/office/drawing/2014/main" id="{003DA628-B0F9-46D7-9535-AD05AED77056}"/>
                    </a:ext>
                  </a:extLst>
                </p:cNvPr>
                <p:cNvSpPr>
                  <a:spLocks/>
                </p:cNvSpPr>
                <p:nvPr>
                  <p:custDataLst>
                    <p:tags r:id="rId40"/>
                  </p:custDataLst>
                </p:nvPr>
              </p:nvSpPr>
              <p:spPr bwMode="auto">
                <a:xfrm>
                  <a:off x="85" y="46"/>
                  <a:ext cx="52" cy="60"/>
                </a:xfrm>
                <a:custGeom>
                  <a:avLst/>
                  <a:gdLst>
                    <a:gd name="T0" fmla="*/ 108 w 137"/>
                    <a:gd name="T1" fmla="*/ 160 h 160"/>
                    <a:gd name="T2" fmla="*/ 87 w 137"/>
                    <a:gd name="T3" fmla="*/ 149 h 160"/>
                    <a:gd name="T4" fmla="*/ 9 w 137"/>
                    <a:gd name="T5" fmla="*/ 45 h 160"/>
                    <a:gd name="T6" fmla="*/ 14 w 137"/>
                    <a:gd name="T7" fmla="*/ 9 h 160"/>
                    <a:gd name="T8" fmla="*/ 51 w 137"/>
                    <a:gd name="T9" fmla="*/ 14 h 160"/>
                    <a:gd name="T10" fmla="*/ 129 w 137"/>
                    <a:gd name="T11" fmla="*/ 118 h 160"/>
                    <a:gd name="T12" fmla="*/ 124 w 137"/>
                    <a:gd name="T13" fmla="*/ 155 h 160"/>
                    <a:gd name="T14" fmla="*/ 108 w 137"/>
                    <a:gd name="T15" fmla="*/ 160 h 16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7" h="160">
                      <a:moveTo>
                        <a:pt x="108" y="160"/>
                      </a:moveTo>
                      <a:cubicBezTo>
                        <a:pt x="100" y="160"/>
                        <a:pt x="92" y="156"/>
                        <a:pt x="87" y="149"/>
                      </a:cubicBezTo>
                      <a:lnTo>
                        <a:pt x="9" y="45"/>
                      </a:lnTo>
                      <a:cubicBezTo>
                        <a:pt x="0" y="34"/>
                        <a:pt x="3" y="17"/>
                        <a:pt x="14" y="9"/>
                      </a:cubicBezTo>
                      <a:cubicBezTo>
                        <a:pt x="26" y="0"/>
                        <a:pt x="42" y="2"/>
                        <a:pt x="51" y="14"/>
                      </a:cubicBezTo>
                      <a:lnTo>
                        <a:pt x="129" y="118"/>
                      </a:lnTo>
                      <a:cubicBezTo>
                        <a:pt x="137" y="130"/>
                        <a:pt x="135" y="146"/>
                        <a:pt x="124" y="155"/>
                      </a:cubicBezTo>
                      <a:cubicBezTo>
                        <a:pt x="119" y="158"/>
                        <a:pt x="113" y="160"/>
                        <a:pt x="108" y="16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noProof="0">
                    <a:ln>
                      <a:noFill/>
                    </a:ln>
                    <a:solidFill>
                      <a:prstClr val="black"/>
                    </a:solidFill>
                    <a:effectLst/>
                    <a:uLnTx/>
                    <a:uFillTx/>
                    <a:latin typeface="Calibri" panose="020F0502020204030204"/>
                    <a:ea typeface="+mn-ea"/>
                    <a:cs typeface="+mn-cs"/>
                  </a:endParaRPr>
                </a:p>
              </p:txBody>
            </p:sp>
            <p:sp>
              <p:nvSpPr>
                <p:cNvPr id="202" name="Problem_Based_Learning">
                  <a:extLst>
                    <a:ext uri="{FF2B5EF4-FFF2-40B4-BE49-F238E27FC236}">
                      <a16:creationId xmlns:a16="http://schemas.microsoft.com/office/drawing/2014/main" id="{53B82205-A297-43B0-B1DC-DC3DF2BE3AB5}"/>
                    </a:ext>
                  </a:extLst>
                </p:cNvPr>
                <p:cNvSpPr>
                  <a:spLocks/>
                </p:cNvSpPr>
                <p:nvPr>
                  <p:custDataLst>
                    <p:tags r:id="rId41"/>
                  </p:custDataLst>
                </p:nvPr>
              </p:nvSpPr>
              <p:spPr bwMode="auto">
                <a:xfrm>
                  <a:off x="7" y="134"/>
                  <a:ext cx="61" cy="41"/>
                </a:xfrm>
                <a:custGeom>
                  <a:avLst/>
                  <a:gdLst>
                    <a:gd name="T0" fmla="*/ 134 w 164"/>
                    <a:gd name="T1" fmla="*/ 108 h 108"/>
                    <a:gd name="T2" fmla="*/ 123 w 164"/>
                    <a:gd name="T3" fmla="*/ 106 h 108"/>
                    <a:gd name="T4" fmla="*/ 18 w 164"/>
                    <a:gd name="T5" fmla="*/ 53 h 108"/>
                    <a:gd name="T6" fmla="*/ 7 w 164"/>
                    <a:gd name="T7" fmla="*/ 18 h 108"/>
                    <a:gd name="T8" fmla="*/ 42 w 164"/>
                    <a:gd name="T9" fmla="*/ 7 h 108"/>
                    <a:gd name="T10" fmla="*/ 146 w 164"/>
                    <a:gd name="T11" fmla="*/ 59 h 108"/>
                    <a:gd name="T12" fmla="*/ 158 w 164"/>
                    <a:gd name="T13" fmla="*/ 94 h 108"/>
                    <a:gd name="T14" fmla="*/ 134 w 164"/>
                    <a:gd name="T15" fmla="*/ 108 h 1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4" h="108">
                      <a:moveTo>
                        <a:pt x="134" y="108"/>
                      </a:moveTo>
                      <a:cubicBezTo>
                        <a:pt x="130" y="108"/>
                        <a:pt x="126" y="107"/>
                        <a:pt x="123" y="106"/>
                      </a:cubicBezTo>
                      <a:lnTo>
                        <a:pt x="18" y="53"/>
                      </a:lnTo>
                      <a:cubicBezTo>
                        <a:pt x="6" y="47"/>
                        <a:pt x="0" y="31"/>
                        <a:pt x="7" y="18"/>
                      </a:cubicBezTo>
                      <a:cubicBezTo>
                        <a:pt x="13" y="6"/>
                        <a:pt x="29" y="0"/>
                        <a:pt x="42" y="7"/>
                      </a:cubicBezTo>
                      <a:lnTo>
                        <a:pt x="146" y="59"/>
                      </a:lnTo>
                      <a:cubicBezTo>
                        <a:pt x="159" y="65"/>
                        <a:pt x="164" y="81"/>
                        <a:pt x="158" y="94"/>
                      </a:cubicBezTo>
                      <a:cubicBezTo>
                        <a:pt x="153" y="103"/>
                        <a:pt x="144" y="108"/>
                        <a:pt x="134" y="108"/>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noProof="0">
                    <a:ln>
                      <a:noFill/>
                    </a:ln>
                    <a:solidFill>
                      <a:prstClr val="black"/>
                    </a:solidFill>
                    <a:effectLst/>
                    <a:uLnTx/>
                    <a:uFillTx/>
                    <a:latin typeface="Calibri" panose="020F0502020204030204"/>
                    <a:ea typeface="+mn-ea"/>
                    <a:cs typeface="+mn-cs"/>
                  </a:endParaRPr>
                </a:p>
              </p:txBody>
            </p:sp>
            <p:sp>
              <p:nvSpPr>
                <p:cNvPr id="203" name="Problem_Based_Learning">
                  <a:extLst>
                    <a:ext uri="{FF2B5EF4-FFF2-40B4-BE49-F238E27FC236}">
                      <a16:creationId xmlns:a16="http://schemas.microsoft.com/office/drawing/2014/main" id="{E42461CE-2676-40D2-AB46-61ADAF583CBE}"/>
                    </a:ext>
                  </a:extLst>
                </p:cNvPr>
                <p:cNvSpPr>
                  <a:spLocks/>
                </p:cNvSpPr>
                <p:nvPr>
                  <p:custDataLst>
                    <p:tags r:id="rId42"/>
                  </p:custDataLst>
                </p:nvPr>
              </p:nvSpPr>
              <p:spPr bwMode="auto">
                <a:xfrm>
                  <a:off x="369" y="134"/>
                  <a:ext cx="62" cy="41"/>
                </a:xfrm>
                <a:custGeom>
                  <a:avLst/>
                  <a:gdLst>
                    <a:gd name="T0" fmla="*/ 30 w 164"/>
                    <a:gd name="T1" fmla="*/ 108 h 108"/>
                    <a:gd name="T2" fmla="*/ 7 w 164"/>
                    <a:gd name="T3" fmla="*/ 94 h 108"/>
                    <a:gd name="T4" fmla="*/ 18 w 164"/>
                    <a:gd name="T5" fmla="*/ 59 h 108"/>
                    <a:gd name="T6" fmla="*/ 123 w 164"/>
                    <a:gd name="T7" fmla="*/ 7 h 108"/>
                    <a:gd name="T8" fmla="*/ 158 w 164"/>
                    <a:gd name="T9" fmla="*/ 18 h 108"/>
                    <a:gd name="T10" fmla="*/ 146 w 164"/>
                    <a:gd name="T11" fmla="*/ 53 h 108"/>
                    <a:gd name="T12" fmla="*/ 42 w 164"/>
                    <a:gd name="T13" fmla="*/ 106 h 108"/>
                    <a:gd name="T14" fmla="*/ 30 w 164"/>
                    <a:gd name="T15" fmla="*/ 108 h 1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4" h="108">
                      <a:moveTo>
                        <a:pt x="30" y="108"/>
                      </a:moveTo>
                      <a:cubicBezTo>
                        <a:pt x="20" y="108"/>
                        <a:pt x="11" y="103"/>
                        <a:pt x="7" y="94"/>
                      </a:cubicBezTo>
                      <a:cubicBezTo>
                        <a:pt x="0" y="81"/>
                        <a:pt x="5" y="65"/>
                        <a:pt x="18" y="59"/>
                      </a:cubicBezTo>
                      <a:lnTo>
                        <a:pt x="123" y="7"/>
                      </a:lnTo>
                      <a:cubicBezTo>
                        <a:pt x="135" y="0"/>
                        <a:pt x="151" y="6"/>
                        <a:pt x="158" y="18"/>
                      </a:cubicBezTo>
                      <a:cubicBezTo>
                        <a:pt x="164" y="31"/>
                        <a:pt x="159" y="47"/>
                        <a:pt x="146" y="53"/>
                      </a:cubicBezTo>
                      <a:lnTo>
                        <a:pt x="42" y="106"/>
                      </a:lnTo>
                      <a:cubicBezTo>
                        <a:pt x="38" y="107"/>
                        <a:pt x="34" y="108"/>
                        <a:pt x="30" y="108"/>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noProof="0">
                    <a:ln>
                      <a:noFill/>
                    </a:ln>
                    <a:solidFill>
                      <a:prstClr val="black"/>
                    </a:solidFill>
                    <a:effectLst/>
                    <a:uLnTx/>
                    <a:uFillTx/>
                    <a:latin typeface="Calibri" panose="020F0502020204030204"/>
                    <a:ea typeface="+mn-ea"/>
                    <a:cs typeface="+mn-cs"/>
                  </a:endParaRPr>
                </a:p>
              </p:txBody>
            </p:sp>
            <p:sp>
              <p:nvSpPr>
                <p:cNvPr id="204" name="Problem_Based_Learning">
                  <a:extLst>
                    <a:ext uri="{FF2B5EF4-FFF2-40B4-BE49-F238E27FC236}">
                      <a16:creationId xmlns:a16="http://schemas.microsoft.com/office/drawing/2014/main" id="{2E38ED64-9042-4E13-8CB7-22265543BB54}"/>
                    </a:ext>
                  </a:extLst>
                </p:cNvPr>
                <p:cNvSpPr>
                  <a:spLocks noEditPoints="1"/>
                </p:cNvSpPr>
                <p:nvPr>
                  <p:custDataLst>
                    <p:tags r:id="rId43"/>
                  </p:custDataLst>
                </p:nvPr>
              </p:nvSpPr>
              <p:spPr bwMode="auto">
                <a:xfrm>
                  <a:off x="87" y="106"/>
                  <a:ext cx="303" cy="373"/>
                </a:xfrm>
                <a:custGeom>
                  <a:avLst/>
                  <a:gdLst>
                    <a:gd name="T0" fmla="*/ 730 w 808"/>
                    <a:gd name="T1" fmla="*/ 391 h 989"/>
                    <a:gd name="T2" fmla="*/ 730 w 808"/>
                    <a:gd name="T3" fmla="*/ 365 h 989"/>
                    <a:gd name="T4" fmla="*/ 365 w 808"/>
                    <a:gd name="T5" fmla="*/ 0 h 989"/>
                    <a:gd name="T6" fmla="*/ 0 w 808"/>
                    <a:gd name="T7" fmla="*/ 365 h 989"/>
                    <a:gd name="T8" fmla="*/ 78 w 808"/>
                    <a:gd name="T9" fmla="*/ 590 h 989"/>
                    <a:gd name="T10" fmla="*/ 78 w 808"/>
                    <a:gd name="T11" fmla="*/ 989 h 989"/>
                    <a:gd name="T12" fmla="*/ 547 w 808"/>
                    <a:gd name="T13" fmla="*/ 989 h 989"/>
                    <a:gd name="T14" fmla="*/ 547 w 808"/>
                    <a:gd name="T15" fmla="*/ 860 h 989"/>
                    <a:gd name="T16" fmla="*/ 704 w 808"/>
                    <a:gd name="T17" fmla="*/ 704 h 989"/>
                    <a:gd name="T18" fmla="*/ 704 w 808"/>
                    <a:gd name="T19" fmla="*/ 626 h 989"/>
                    <a:gd name="T20" fmla="*/ 782 w 808"/>
                    <a:gd name="T21" fmla="*/ 626 h 989"/>
                    <a:gd name="T22" fmla="*/ 808 w 808"/>
                    <a:gd name="T23" fmla="*/ 600 h 989"/>
                    <a:gd name="T24" fmla="*/ 730 w 808"/>
                    <a:gd name="T25" fmla="*/ 391 h 989"/>
                    <a:gd name="T26" fmla="*/ 587 w 808"/>
                    <a:gd name="T27" fmla="*/ 387 h 989"/>
                    <a:gd name="T28" fmla="*/ 547 w 808"/>
                    <a:gd name="T29" fmla="*/ 365 h 989"/>
                    <a:gd name="T30" fmla="*/ 522 w 808"/>
                    <a:gd name="T31" fmla="*/ 385 h 989"/>
                    <a:gd name="T32" fmla="*/ 520 w 808"/>
                    <a:gd name="T33" fmla="*/ 474 h 989"/>
                    <a:gd name="T34" fmla="*/ 410 w 808"/>
                    <a:gd name="T35" fmla="*/ 473 h 989"/>
                    <a:gd name="T36" fmla="*/ 390 w 808"/>
                    <a:gd name="T37" fmla="*/ 449 h 989"/>
                    <a:gd name="T38" fmla="*/ 412 w 808"/>
                    <a:gd name="T39" fmla="*/ 409 h 989"/>
                    <a:gd name="T40" fmla="*/ 368 w 808"/>
                    <a:gd name="T41" fmla="*/ 364 h 989"/>
                    <a:gd name="T42" fmla="*/ 325 w 808"/>
                    <a:gd name="T43" fmla="*/ 409 h 989"/>
                    <a:gd name="T44" fmla="*/ 347 w 808"/>
                    <a:gd name="T45" fmla="*/ 449 h 989"/>
                    <a:gd name="T46" fmla="*/ 326 w 808"/>
                    <a:gd name="T47" fmla="*/ 473 h 989"/>
                    <a:gd name="T48" fmla="*/ 214 w 808"/>
                    <a:gd name="T49" fmla="*/ 474 h 989"/>
                    <a:gd name="T50" fmla="*/ 213 w 808"/>
                    <a:gd name="T51" fmla="*/ 385 h 989"/>
                    <a:gd name="T52" fmla="*/ 188 w 808"/>
                    <a:gd name="T53" fmla="*/ 365 h 989"/>
                    <a:gd name="T54" fmla="*/ 148 w 808"/>
                    <a:gd name="T55" fmla="*/ 387 h 989"/>
                    <a:gd name="T56" fmla="*/ 104 w 808"/>
                    <a:gd name="T57" fmla="*/ 344 h 989"/>
                    <a:gd name="T58" fmla="*/ 148 w 808"/>
                    <a:gd name="T59" fmla="*/ 300 h 989"/>
                    <a:gd name="T60" fmla="*/ 188 w 808"/>
                    <a:gd name="T61" fmla="*/ 322 h 989"/>
                    <a:gd name="T62" fmla="*/ 213 w 808"/>
                    <a:gd name="T63" fmla="*/ 302 h 989"/>
                    <a:gd name="T64" fmla="*/ 216 w 808"/>
                    <a:gd name="T65" fmla="*/ 213 h 989"/>
                    <a:gd name="T66" fmla="*/ 326 w 808"/>
                    <a:gd name="T67" fmla="*/ 203 h 989"/>
                    <a:gd name="T68" fmla="*/ 347 w 808"/>
                    <a:gd name="T69" fmla="*/ 227 h 989"/>
                    <a:gd name="T70" fmla="*/ 325 w 808"/>
                    <a:gd name="T71" fmla="*/ 267 h 989"/>
                    <a:gd name="T72" fmla="*/ 368 w 808"/>
                    <a:gd name="T73" fmla="*/ 312 h 989"/>
                    <a:gd name="T74" fmla="*/ 412 w 808"/>
                    <a:gd name="T75" fmla="*/ 267 h 989"/>
                    <a:gd name="T76" fmla="*/ 390 w 808"/>
                    <a:gd name="T77" fmla="*/ 227 h 989"/>
                    <a:gd name="T78" fmla="*/ 410 w 808"/>
                    <a:gd name="T79" fmla="*/ 203 h 989"/>
                    <a:gd name="T80" fmla="*/ 521 w 808"/>
                    <a:gd name="T81" fmla="*/ 213 h 989"/>
                    <a:gd name="T82" fmla="*/ 522 w 808"/>
                    <a:gd name="T83" fmla="*/ 302 h 989"/>
                    <a:gd name="T84" fmla="*/ 547 w 808"/>
                    <a:gd name="T85" fmla="*/ 322 h 989"/>
                    <a:gd name="T86" fmla="*/ 587 w 808"/>
                    <a:gd name="T87" fmla="*/ 300 h 989"/>
                    <a:gd name="T88" fmla="*/ 631 w 808"/>
                    <a:gd name="T89" fmla="*/ 344 h 989"/>
                    <a:gd name="T90" fmla="*/ 587 w 808"/>
                    <a:gd name="T91" fmla="*/ 387 h 9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8" h="989">
                      <a:moveTo>
                        <a:pt x="730" y="391"/>
                      </a:moveTo>
                      <a:lnTo>
                        <a:pt x="730" y="365"/>
                      </a:lnTo>
                      <a:cubicBezTo>
                        <a:pt x="730" y="163"/>
                        <a:pt x="566" y="0"/>
                        <a:pt x="365" y="0"/>
                      </a:cubicBezTo>
                      <a:cubicBezTo>
                        <a:pt x="163" y="0"/>
                        <a:pt x="0" y="163"/>
                        <a:pt x="0" y="365"/>
                      </a:cubicBezTo>
                      <a:cubicBezTo>
                        <a:pt x="0" y="450"/>
                        <a:pt x="29" y="528"/>
                        <a:pt x="78" y="590"/>
                      </a:cubicBezTo>
                      <a:lnTo>
                        <a:pt x="78" y="989"/>
                      </a:lnTo>
                      <a:lnTo>
                        <a:pt x="547" y="989"/>
                      </a:lnTo>
                      <a:lnTo>
                        <a:pt x="547" y="860"/>
                      </a:lnTo>
                      <a:cubicBezTo>
                        <a:pt x="634" y="860"/>
                        <a:pt x="704" y="790"/>
                        <a:pt x="704" y="704"/>
                      </a:cubicBezTo>
                      <a:lnTo>
                        <a:pt x="704" y="626"/>
                      </a:lnTo>
                      <a:lnTo>
                        <a:pt x="782" y="626"/>
                      </a:lnTo>
                      <a:cubicBezTo>
                        <a:pt x="796" y="626"/>
                        <a:pt x="808" y="614"/>
                        <a:pt x="808" y="600"/>
                      </a:cubicBezTo>
                      <a:cubicBezTo>
                        <a:pt x="808" y="593"/>
                        <a:pt x="730" y="391"/>
                        <a:pt x="730" y="391"/>
                      </a:cubicBezTo>
                      <a:close/>
                      <a:moveTo>
                        <a:pt x="587" y="387"/>
                      </a:moveTo>
                      <a:cubicBezTo>
                        <a:pt x="562" y="381"/>
                        <a:pt x="566" y="365"/>
                        <a:pt x="547" y="365"/>
                      </a:cubicBezTo>
                      <a:cubicBezTo>
                        <a:pt x="528" y="365"/>
                        <a:pt x="524" y="378"/>
                        <a:pt x="522" y="385"/>
                      </a:cubicBezTo>
                      <a:cubicBezTo>
                        <a:pt x="519" y="407"/>
                        <a:pt x="520" y="474"/>
                        <a:pt x="520" y="474"/>
                      </a:cubicBezTo>
                      <a:cubicBezTo>
                        <a:pt x="520" y="474"/>
                        <a:pt x="432" y="477"/>
                        <a:pt x="410" y="473"/>
                      </a:cubicBezTo>
                      <a:cubicBezTo>
                        <a:pt x="402" y="472"/>
                        <a:pt x="390" y="468"/>
                        <a:pt x="390" y="449"/>
                      </a:cubicBezTo>
                      <a:cubicBezTo>
                        <a:pt x="390" y="430"/>
                        <a:pt x="406" y="434"/>
                        <a:pt x="412" y="409"/>
                      </a:cubicBezTo>
                      <a:cubicBezTo>
                        <a:pt x="414" y="383"/>
                        <a:pt x="392" y="364"/>
                        <a:pt x="368" y="364"/>
                      </a:cubicBezTo>
                      <a:cubicBezTo>
                        <a:pt x="344" y="364"/>
                        <a:pt x="323" y="383"/>
                        <a:pt x="325" y="409"/>
                      </a:cubicBezTo>
                      <a:cubicBezTo>
                        <a:pt x="331" y="434"/>
                        <a:pt x="347" y="430"/>
                        <a:pt x="347" y="449"/>
                      </a:cubicBezTo>
                      <a:cubicBezTo>
                        <a:pt x="347" y="468"/>
                        <a:pt x="334" y="472"/>
                        <a:pt x="326" y="473"/>
                      </a:cubicBezTo>
                      <a:cubicBezTo>
                        <a:pt x="305" y="477"/>
                        <a:pt x="214" y="474"/>
                        <a:pt x="214" y="474"/>
                      </a:cubicBezTo>
                      <a:cubicBezTo>
                        <a:pt x="214" y="474"/>
                        <a:pt x="216" y="407"/>
                        <a:pt x="213" y="385"/>
                      </a:cubicBezTo>
                      <a:cubicBezTo>
                        <a:pt x="212" y="377"/>
                        <a:pt x="207" y="365"/>
                        <a:pt x="188" y="365"/>
                      </a:cubicBezTo>
                      <a:cubicBezTo>
                        <a:pt x="169" y="365"/>
                        <a:pt x="174" y="381"/>
                        <a:pt x="148" y="387"/>
                      </a:cubicBezTo>
                      <a:cubicBezTo>
                        <a:pt x="123" y="389"/>
                        <a:pt x="104" y="368"/>
                        <a:pt x="104" y="344"/>
                      </a:cubicBezTo>
                      <a:cubicBezTo>
                        <a:pt x="104" y="319"/>
                        <a:pt x="123" y="298"/>
                        <a:pt x="148" y="300"/>
                      </a:cubicBezTo>
                      <a:cubicBezTo>
                        <a:pt x="174" y="306"/>
                        <a:pt x="169" y="322"/>
                        <a:pt x="188" y="322"/>
                      </a:cubicBezTo>
                      <a:cubicBezTo>
                        <a:pt x="207" y="322"/>
                        <a:pt x="212" y="310"/>
                        <a:pt x="213" y="302"/>
                      </a:cubicBezTo>
                      <a:cubicBezTo>
                        <a:pt x="216" y="280"/>
                        <a:pt x="216" y="213"/>
                        <a:pt x="216" y="213"/>
                      </a:cubicBezTo>
                      <a:cubicBezTo>
                        <a:pt x="216" y="213"/>
                        <a:pt x="305" y="199"/>
                        <a:pt x="326" y="203"/>
                      </a:cubicBezTo>
                      <a:cubicBezTo>
                        <a:pt x="334" y="204"/>
                        <a:pt x="347" y="208"/>
                        <a:pt x="347" y="227"/>
                      </a:cubicBezTo>
                      <a:cubicBezTo>
                        <a:pt x="347" y="246"/>
                        <a:pt x="331" y="242"/>
                        <a:pt x="325" y="267"/>
                      </a:cubicBezTo>
                      <a:cubicBezTo>
                        <a:pt x="323" y="293"/>
                        <a:pt x="344" y="312"/>
                        <a:pt x="368" y="312"/>
                      </a:cubicBezTo>
                      <a:cubicBezTo>
                        <a:pt x="392" y="312"/>
                        <a:pt x="414" y="293"/>
                        <a:pt x="412" y="267"/>
                      </a:cubicBezTo>
                      <a:cubicBezTo>
                        <a:pt x="406" y="242"/>
                        <a:pt x="390" y="246"/>
                        <a:pt x="390" y="227"/>
                      </a:cubicBezTo>
                      <a:cubicBezTo>
                        <a:pt x="390" y="208"/>
                        <a:pt x="402" y="204"/>
                        <a:pt x="410" y="203"/>
                      </a:cubicBezTo>
                      <a:cubicBezTo>
                        <a:pt x="432" y="199"/>
                        <a:pt x="521" y="213"/>
                        <a:pt x="521" y="213"/>
                      </a:cubicBezTo>
                      <a:cubicBezTo>
                        <a:pt x="521" y="213"/>
                        <a:pt x="519" y="280"/>
                        <a:pt x="522" y="302"/>
                      </a:cubicBezTo>
                      <a:cubicBezTo>
                        <a:pt x="524" y="310"/>
                        <a:pt x="528" y="322"/>
                        <a:pt x="547" y="322"/>
                      </a:cubicBezTo>
                      <a:cubicBezTo>
                        <a:pt x="566" y="322"/>
                        <a:pt x="562" y="306"/>
                        <a:pt x="587" y="300"/>
                      </a:cubicBezTo>
                      <a:cubicBezTo>
                        <a:pt x="613" y="298"/>
                        <a:pt x="631" y="319"/>
                        <a:pt x="631" y="344"/>
                      </a:cubicBezTo>
                      <a:cubicBezTo>
                        <a:pt x="631" y="368"/>
                        <a:pt x="613" y="389"/>
                        <a:pt x="587" y="387"/>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noProof="0">
                    <a:ln>
                      <a:noFill/>
                    </a:ln>
                    <a:solidFill>
                      <a:prstClr val="black"/>
                    </a:solidFill>
                    <a:effectLst/>
                    <a:uLnTx/>
                    <a:uFillTx/>
                    <a:latin typeface="Calibri" panose="020F0502020204030204"/>
                    <a:ea typeface="+mn-ea"/>
                    <a:cs typeface="+mn-cs"/>
                  </a:endParaRPr>
                </a:p>
              </p:txBody>
            </p:sp>
          </p:grpSp>
        </p:grpSp>
      </p:grpSp>
      <p:grpSp>
        <p:nvGrpSpPr>
          <p:cNvPr id="205" name="Group 125">
            <a:extLst>
              <a:ext uri="{FF2B5EF4-FFF2-40B4-BE49-F238E27FC236}">
                <a16:creationId xmlns:a16="http://schemas.microsoft.com/office/drawing/2014/main" id="{4B06283D-E655-473B-B9A9-DBE4727A5452}"/>
              </a:ext>
            </a:extLst>
          </p:cNvPr>
          <p:cNvGrpSpPr/>
          <p:nvPr/>
        </p:nvGrpSpPr>
        <p:grpSpPr>
          <a:xfrm>
            <a:off x="7141067" y="3693925"/>
            <a:ext cx="288000" cy="288000"/>
            <a:chOff x="7095592" y="742073"/>
            <a:chExt cx="329184" cy="329184"/>
          </a:xfrm>
        </p:grpSpPr>
        <p:sp>
          <p:nvSpPr>
            <p:cNvPr id="206" name="Oval 137">
              <a:extLst>
                <a:ext uri="{FF2B5EF4-FFF2-40B4-BE49-F238E27FC236}">
                  <a16:creationId xmlns:a16="http://schemas.microsoft.com/office/drawing/2014/main" id="{4696301D-BD10-4271-91ED-CD893C6DA06B}"/>
                </a:ext>
              </a:extLst>
            </p:cNvPr>
            <p:cNvSpPr/>
            <p:nvPr/>
          </p:nvSpPr>
          <p:spPr>
            <a:xfrm>
              <a:off x="7095592" y="742073"/>
              <a:ext cx="329184" cy="329184"/>
            </a:xfrm>
            <a:prstGeom prst="ellipse">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07" name="Group 127">
              <a:extLst>
                <a:ext uri="{FF2B5EF4-FFF2-40B4-BE49-F238E27FC236}">
                  <a16:creationId xmlns:a16="http://schemas.microsoft.com/office/drawing/2014/main" id="{247291BF-7566-4839-A65F-DD4E20404503}"/>
                </a:ext>
              </a:extLst>
            </p:cNvPr>
            <p:cNvGrpSpPr/>
            <p:nvPr/>
          </p:nvGrpSpPr>
          <p:grpSpPr>
            <a:xfrm>
              <a:off x="7176816" y="778521"/>
              <a:ext cx="179310" cy="244447"/>
              <a:chOff x="7176816" y="778521"/>
              <a:chExt cx="179310" cy="244447"/>
            </a:xfrm>
          </p:grpSpPr>
          <p:sp>
            <p:nvSpPr>
              <p:cNvPr id="209" name="Seed" descr="{&quot;Key&quot;:&quot;POWER_USER_SHAPE_ICON&quot;,&quot;Value&quot;:&quot;POWER_USER_SHAPE_ICON_STYLE_1&quot;}">
                <a:extLst>
                  <a:ext uri="{FF2B5EF4-FFF2-40B4-BE49-F238E27FC236}">
                    <a16:creationId xmlns:a16="http://schemas.microsoft.com/office/drawing/2014/main" id="{2B925BE0-E3C1-4826-BF64-DB911041123C}"/>
                  </a:ext>
                </a:extLst>
              </p:cNvPr>
              <p:cNvSpPr>
                <a:spLocks noChangeAspect="1" noEditPoints="1"/>
              </p:cNvSpPr>
              <p:nvPr>
                <p:custDataLst>
                  <p:tags r:id="rId28"/>
                </p:custDataLst>
              </p:nvPr>
            </p:nvSpPr>
            <p:spPr bwMode="auto">
              <a:xfrm>
                <a:off x="7176816" y="878690"/>
                <a:ext cx="162838" cy="144278"/>
              </a:xfrm>
              <a:custGeom>
                <a:avLst/>
                <a:gdLst>
                  <a:gd name="T0" fmla="*/ 6744 w 11364"/>
                  <a:gd name="T1" fmla="*/ 3564 h 10067"/>
                  <a:gd name="T2" fmla="*/ 7042 w 11364"/>
                  <a:gd name="T3" fmla="*/ 3354 h 10067"/>
                  <a:gd name="T4" fmla="*/ 4139 w 11364"/>
                  <a:gd name="T5" fmla="*/ 214 h 10067"/>
                  <a:gd name="T6" fmla="*/ 5282 w 11364"/>
                  <a:gd name="T7" fmla="*/ 2733 h 10067"/>
                  <a:gd name="T8" fmla="*/ 10245 w 11364"/>
                  <a:gd name="T9" fmla="*/ 7311 h 10067"/>
                  <a:gd name="T10" fmla="*/ 7950 w 11364"/>
                  <a:gd name="T11" fmla="*/ 5369 h 10067"/>
                  <a:gd name="T12" fmla="*/ 7665 w 11364"/>
                  <a:gd name="T13" fmla="*/ 5315 h 10067"/>
                  <a:gd name="T14" fmla="*/ 7626 w 11364"/>
                  <a:gd name="T15" fmla="*/ 5310 h 10067"/>
                  <a:gd name="T16" fmla="*/ 7637 w 11364"/>
                  <a:gd name="T17" fmla="*/ 4576 h 10067"/>
                  <a:gd name="T18" fmla="*/ 7646 w 11364"/>
                  <a:gd name="T19" fmla="*/ 4476 h 10067"/>
                  <a:gd name="T20" fmla="*/ 7673 w 11364"/>
                  <a:gd name="T21" fmla="*/ 4234 h 10067"/>
                  <a:gd name="T22" fmla="*/ 8068 w 11364"/>
                  <a:gd name="T23" fmla="*/ 4029 h 10067"/>
                  <a:gd name="T24" fmla="*/ 11244 w 11364"/>
                  <a:gd name="T25" fmla="*/ 0 h 10067"/>
                  <a:gd name="T26" fmla="*/ 7516 w 11364"/>
                  <a:gd name="T27" fmla="*/ 2618 h 10067"/>
                  <a:gd name="T28" fmla="*/ 7233 w 11364"/>
                  <a:gd name="T29" fmla="*/ 4214 h 10067"/>
                  <a:gd name="T30" fmla="*/ 7224 w 11364"/>
                  <a:gd name="T31" fmla="*/ 5280 h 10067"/>
                  <a:gd name="T32" fmla="*/ 7082 w 11364"/>
                  <a:gd name="T33" fmla="*/ 5277 h 10067"/>
                  <a:gd name="T34" fmla="*/ 5070 w 11364"/>
                  <a:gd name="T35" fmla="*/ 6113 h 10067"/>
                  <a:gd name="T36" fmla="*/ 2454 w 11364"/>
                  <a:gd name="T37" fmla="*/ 5748 h 10067"/>
                  <a:gd name="T38" fmla="*/ 1979 w 11364"/>
                  <a:gd name="T39" fmla="*/ 5775 h 10067"/>
                  <a:gd name="T40" fmla="*/ 2514 w 11364"/>
                  <a:gd name="T41" fmla="*/ 6100 h 10067"/>
                  <a:gd name="T42" fmla="*/ 4816 w 11364"/>
                  <a:gd name="T43" fmla="*/ 6387 h 10067"/>
                  <a:gd name="T44" fmla="*/ 6145 w 11364"/>
                  <a:gd name="T45" fmla="*/ 6987 h 10067"/>
                  <a:gd name="T46" fmla="*/ 8301 w 11364"/>
                  <a:gd name="T47" fmla="*/ 7145 h 10067"/>
                  <a:gd name="T48" fmla="*/ 8758 w 11364"/>
                  <a:gd name="T49" fmla="*/ 7918 h 10067"/>
                  <a:gd name="T50" fmla="*/ 8461 w 11364"/>
                  <a:gd name="T51" fmla="*/ 8153 h 10067"/>
                  <a:gd name="T52" fmla="*/ 7099 w 11364"/>
                  <a:gd name="T53" fmla="*/ 8176 h 10067"/>
                  <a:gd name="T54" fmla="*/ 6945 w 11364"/>
                  <a:gd name="T55" fmla="*/ 8155 h 10067"/>
                  <a:gd name="T56" fmla="*/ 6316 w 11364"/>
                  <a:gd name="T57" fmla="*/ 8035 h 10067"/>
                  <a:gd name="T58" fmla="*/ 6020 w 11364"/>
                  <a:gd name="T59" fmla="*/ 7984 h 10067"/>
                  <a:gd name="T60" fmla="*/ 4994 w 11364"/>
                  <a:gd name="T61" fmla="*/ 8127 h 10067"/>
                  <a:gd name="T62" fmla="*/ 4903 w 11364"/>
                  <a:gd name="T63" fmla="*/ 8363 h 10067"/>
                  <a:gd name="T64" fmla="*/ 6233 w 11364"/>
                  <a:gd name="T65" fmla="*/ 8382 h 10067"/>
                  <a:gd name="T66" fmla="*/ 8735 w 11364"/>
                  <a:gd name="T67" fmla="*/ 8429 h 10067"/>
                  <a:gd name="T68" fmla="*/ 9563 w 11364"/>
                  <a:gd name="T69" fmla="*/ 8061 h 10067"/>
                  <a:gd name="T70" fmla="*/ 10404 w 11364"/>
                  <a:gd name="T71" fmla="*/ 7630 h 10067"/>
                  <a:gd name="T72" fmla="*/ 10935 w 11364"/>
                  <a:gd name="T73" fmla="*/ 7937 h 10067"/>
                  <a:gd name="T74" fmla="*/ 10018 w 11364"/>
                  <a:gd name="T75" fmla="*/ 8647 h 10067"/>
                  <a:gd name="T76" fmla="*/ 9086 w 11364"/>
                  <a:gd name="T77" fmla="*/ 9020 h 10067"/>
                  <a:gd name="T78" fmla="*/ 6547 w 11364"/>
                  <a:gd name="T79" fmla="*/ 9626 h 10067"/>
                  <a:gd name="T80" fmla="*/ 2148 w 11364"/>
                  <a:gd name="T81" fmla="*/ 8613 h 10067"/>
                  <a:gd name="T82" fmla="*/ 1979 w 11364"/>
                  <a:gd name="T83" fmla="*/ 8970 h 10067"/>
                  <a:gd name="T84" fmla="*/ 5139 w 11364"/>
                  <a:gd name="T85" fmla="*/ 9875 h 10067"/>
                  <a:gd name="T86" fmla="*/ 6619 w 11364"/>
                  <a:gd name="T87" fmla="*/ 9976 h 10067"/>
                  <a:gd name="T88" fmla="*/ 9235 w 11364"/>
                  <a:gd name="T89" fmla="*/ 9344 h 10067"/>
                  <a:gd name="T90" fmla="*/ 10176 w 11364"/>
                  <a:gd name="T91" fmla="*/ 8967 h 10067"/>
                  <a:gd name="T92" fmla="*/ 11194 w 11364"/>
                  <a:gd name="T93" fmla="*/ 8190 h 10067"/>
                  <a:gd name="T94" fmla="*/ 0 w 11364"/>
                  <a:gd name="T95" fmla="*/ 9309 h 10067"/>
                  <a:gd name="T96" fmla="*/ 1630 w 11364"/>
                  <a:gd name="T97" fmla="*/ 5351 h 10067"/>
                  <a:gd name="T98" fmla="*/ 0 w 11364"/>
                  <a:gd name="T99" fmla="*/ 9309 h 100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1364" h="10067">
                    <a:moveTo>
                      <a:pt x="5282" y="2733"/>
                    </a:moveTo>
                    <a:cubicBezTo>
                      <a:pt x="5856" y="3288"/>
                      <a:pt x="6390" y="3439"/>
                      <a:pt x="6744" y="3564"/>
                    </a:cubicBezTo>
                    <a:cubicBezTo>
                      <a:pt x="6525" y="2306"/>
                      <a:pt x="5827" y="1150"/>
                      <a:pt x="4589" y="609"/>
                    </a:cubicBezTo>
                    <a:cubicBezTo>
                      <a:pt x="5820" y="997"/>
                      <a:pt x="6676" y="2123"/>
                      <a:pt x="7042" y="3354"/>
                    </a:cubicBezTo>
                    <a:cubicBezTo>
                      <a:pt x="7112" y="2949"/>
                      <a:pt x="7216" y="2574"/>
                      <a:pt x="7358" y="2233"/>
                    </a:cubicBezTo>
                    <a:cubicBezTo>
                      <a:pt x="7006" y="1054"/>
                      <a:pt x="5918" y="214"/>
                      <a:pt x="4139" y="214"/>
                    </a:cubicBezTo>
                    <a:cubicBezTo>
                      <a:pt x="3920" y="214"/>
                      <a:pt x="3690" y="227"/>
                      <a:pt x="3450" y="253"/>
                    </a:cubicBezTo>
                    <a:cubicBezTo>
                      <a:pt x="4708" y="954"/>
                      <a:pt x="4033" y="1529"/>
                      <a:pt x="5282" y="2733"/>
                    </a:cubicBezTo>
                    <a:close/>
                    <a:moveTo>
                      <a:pt x="11174" y="7560"/>
                    </a:moveTo>
                    <a:cubicBezTo>
                      <a:pt x="11020" y="7299"/>
                      <a:pt x="10696" y="7094"/>
                      <a:pt x="10245" y="7311"/>
                    </a:cubicBezTo>
                    <a:lnTo>
                      <a:pt x="10145" y="7362"/>
                    </a:lnTo>
                    <a:cubicBezTo>
                      <a:pt x="9750" y="6361"/>
                      <a:pt x="9011" y="5620"/>
                      <a:pt x="7950" y="5369"/>
                    </a:cubicBezTo>
                    <a:cubicBezTo>
                      <a:pt x="7904" y="5358"/>
                      <a:pt x="7855" y="5350"/>
                      <a:pt x="7807" y="5341"/>
                    </a:cubicBezTo>
                    <a:cubicBezTo>
                      <a:pt x="7760" y="5332"/>
                      <a:pt x="7713" y="5323"/>
                      <a:pt x="7665" y="5315"/>
                    </a:cubicBezTo>
                    <a:lnTo>
                      <a:pt x="7665" y="5310"/>
                    </a:lnTo>
                    <a:lnTo>
                      <a:pt x="7626" y="5310"/>
                    </a:lnTo>
                    <a:cubicBezTo>
                      <a:pt x="7615" y="5095"/>
                      <a:pt x="7617" y="4877"/>
                      <a:pt x="7630" y="4658"/>
                    </a:cubicBezTo>
                    <a:cubicBezTo>
                      <a:pt x="7632" y="4631"/>
                      <a:pt x="7635" y="4603"/>
                      <a:pt x="7637" y="4576"/>
                    </a:cubicBezTo>
                    <a:cubicBezTo>
                      <a:pt x="7639" y="4548"/>
                      <a:pt x="7642" y="4521"/>
                      <a:pt x="7645" y="4493"/>
                    </a:cubicBezTo>
                    <a:cubicBezTo>
                      <a:pt x="7645" y="4487"/>
                      <a:pt x="7646" y="4482"/>
                      <a:pt x="7646" y="4476"/>
                    </a:cubicBezTo>
                    <a:cubicBezTo>
                      <a:pt x="7650" y="4440"/>
                      <a:pt x="7653" y="4405"/>
                      <a:pt x="7657" y="4369"/>
                    </a:cubicBezTo>
                    <a:cubicBezTo>
                      <a:pt x="7662" y="4324"/>
                      <a:pt x="7667" y="4279"/>
                      <a:pt x="7673" y="4234"/>
                    </a:cubicBezTo>
                    <a:cubicBezTo>
                      <a:pt x="7872" y="2771"/>
                      <a:pt x="8628" y="1348"/>
                      <a:pt x="9939" y="657"/>
                    </a:cubicBezTo>
                    <a:cubicBezTo>
                      <a:pt x="8766" y="1446"/>
                      <a:pt x="8183" y="2704"/>
                      <a:pt x="8068" y="4029"/>
                    </a:cubicBezTo>
                    <a:cubicBezTo>
                      <a:pt x="8412" y="3957"/>
                      <a:pt x="8947" y="3834"/>
                      <a:pt x="9555" y="3096"/>
                    </a:cubicBezTo>
                    <a:cubicBezTo>
                      <a:pt x="10606" y="1820"/>
                      <a:pt x="10037" y="1108"/>
                      <a:pt x="11244" y="0"/>
                    </a:cubicBezTo>
                    <a:cubicBezTo>
                      <a:pt x="9086" y="152"/>
                      <a:pt x="8041" y="1219"/>
                      <a:pt x="7569" y="2470"/>
                    </a:cubicBezTo>
                    <a:cubicBezTo>
                      <a:pt x="7551" y="2519"/>
                      <a:pt x="7533" y="2568"/>
                      <a:pt x="7516" y="2618"/>
                    </a:cubicBezTo>
                    <a:cubicBezTo>
                      <a:pt x="7499" y="2670"/>
                      <a:pt x="7482" y="2723"/>
                      <a:pt x="7466" y="2776"/>
                    </a:cubicBezTo>
                    <a:cubicBezTo>
                      <a:pt x="7324" y="3251"/>
                      <a:pt x="7255" y="3743"/>
                      <a:pt x="7233" y="4214"/>
                    </a:cubicBezTo>
                    <a:cubicBezTo>
                      <a:pt x="7227" y="4337"/>
                      <a:pt x="7224" y="4458"/>
                      <a:pt x="7224" y="4577"/>
                    </a:cubicBezTo>
                    <a:lnTo>
                      <a:pt x="7224" y="5280"/>
                    </a:lnTo>
                    <a:cubicBezTo>
                      <a:pt x="7190" y="5279"/>
                      <a:pt x="7156" y="5276"/>
                      <a:pt x="7121" y="5276"/>
                    </a:cubicBezTo>
                    <a:cubicBezTo>
                      <a:pt x="7107" y="5276"/>
                      <a:pt x="7095" y="5277"/>
                      <a:pt x="7082" y="5277"/>
                    </a:cubicBezTo>
                    <a:cubicBezTo>
                      <a:pt x="7033" y="5278"/>
                      <a:pt x="6986" y="5280"/>
                      <a:pt x="6939" y="5283"/>
                    </a:cubicBezTo>
                    <a:cubicBezTo>
                      <a:pt x="6217" y="5326"/>
                      <a:pt x="5581" y="5623"/>
                      <a:pt x="5070" y="6113"/>
                    </a:cubicBezTo>
                    <a:cubicBezTo>
                      <a:pt x="4740" y="5948"/>
                      <a:pt x="4382" y="5797"/>
                      <a:pt x="4006" y="5741"/>
                    </a:cubicBezTo>
                    <a:cubicBezTo>
                      <a:pt x="3196" y="5621"/>
                      <a:pt x="2767" y="5694"/>
                      <a:pt x="2454" y="5748"/>
                    </a:cubicBezTo>
                    <a:cubicBezTo>
                      <a:pt x="2277" y="5778"/>
                      <a:pt x="2149" y="5801"/>
                      <a:pt x="2006" y="5779"/>
                    </a:cubicBezTo>
                    <a:lnTo>
                      <a:pt x="1979" y="5775"/>
                    </a:lnTo>
                    <a:lnTo>
                      <a:pt x="1979" y="6135"/>
                    </a:lnTo>
                    <a:cubicBezTo>
                      <a:pt x="2167" y="6158"/>
                      <a:pt x="2329" y="6132"/>
                      <a:pt x="2514" y="6100"/>
                    </a:cubicBezTo>
                    <a:cubicBezTo>
                      <a:pt x="2820" y="6048"/>
                      <a:pt x="3200" y="5983"/>
                      <a:pt x="3953" y="6094"/>
                    </a:cubicBezTo>
                    <a:cubicBezTo>
                      <a:pt x="4247" y="6138"/>
                      <a:pt x="4539" y="6254"/>
                      <a:pt x="4816" y="6387"/>
                    </a:cubicBezTo>
                    <a:cubicBezTo>
                      <a:pt x="4964" y="6458"/>
                      <a:pt x="5108" y="6534"/>
                      <a:pt x="5246" y="6607"/>
                    </a:cubicBezTo>
                    <a:cubicBezTo>
                      <a:pt x="5584" y="6786"/>
                      <a:pt x="5875" y="6940"/>
                      <a:pt x="6145" y="6987"/>
                    </a:cubicBezTo>
                    <a:cubicBezTo>
                      <a:pt x="6374" y="7027"/>
                      <a:pt x="6617" y="7019"/>
                      <a:pt x="6873" y="7011"/>
                    </a:cubicBezTo>
                    <a:cubicBezTo>
                      <a:pt x="7279" y="6999"/>
                      <a:pt x="7740" y="6985"/>
                      <a:pt x="8301" y="7145"/>
                    </a:cubicBezTo>
                    <a:cubicBezTo>
                      <a:pt x="8622" y="7237"/>
                      <a:pt x="8803" y="7401"/>
                      <a:pt x="8825" y="7618"/>
                    </a:cubicBezTo>
                    <a:cubicBezTo>
                      <a:pt x="8835" y="7725"/>
                      <a:pt x="8806" y="7830"/>
                      <a:pt x="8758" y="7918"/>
                    </a:cubicBezTo>
                    <a:cubicBezTo>
                      <a:pt x="8709" y="8005"/>
                      <a:pt x="8640" y="8076"/>
                      <a:pt x="8571" y="8111"/>
                    </a:cubicBezTo>
                    <a:cubicBezTo>
                      <a:pt x="8540" y="8127"/>
                      <a:pt x="8502" y="8141"/>
                      <a:pt x="8461" y="8153"/>
                    </a:cubicBezTo>
                    <a:cubicBezTo>
                      <a:pt x="8371" y="8180"/>
                      <a:pt x="8259" y="8200"/>
                      <a:pt x="8128" y="8211"/>
                    </a:cubicBezTo>
                    <a:cubicBezTo>
                      <a:pt x="7846" y="8235"/>
                      <a:pt x="7483" y="8223"/>
                      <a:pt x="7099" y="8176"/>
                    </a:cubicBezTo>
                    <a:cubicBezTo>
                      <a:pt x="7067" y="8172"/>
                      <a:pt x="7035" y="8168"/>
                      <a:pt x="7003" y="8164"/>
                    </a:cubicBezTo>
                    <a:cubicBezTo>
                      <a:pt x="6984" y="8161"/>
                      <a:pt x="6965" y="8158"/>
                      <a:pt x="6945" y="8155"/>
                    </a:cubicBezTo>
                    <a:cubicBezTo>
                      <a:pt x="6790" y="8133"/>
                      <a:pt x="6633" y="8105"/>
                      <a:pt x="6477" y="8071"/>
                    </a:cubicBezTo>
                    <a:cubicBezTo>
                      <a:pt x="6423" y="8060"/>
                      <a:pt x="6370" y="8048"/>
                      <a:pt x="6316" y="8035"/>
                    </a:cubicBezTo>
                    <a:cubicBezTo>
                      <a:pt x="6270" y="8024"/>
                      <a:pt x="6226" y="8017"/>
                      <a:pt x="6181" y="8008"/>
                    </a:cubicBezTo>
                    <a:cubicBezTo>
                      <a:pt x="6126" y="7998"/>
                      <a:pt x="6072" y="7990"/>
                      <a:pt x="6020" y="7984"/>
                    </a:cubicBezTo>
                    <a:cubicBezTo>
                      <a:pt x="5990" y="7981"/>
                      <a:pt x="5960" y="7977"/>
                      <a:pt x="5931" y="7975"/>
                    </a:cubicBezTo>
                    <a:cubicBezTo>
                      <a:pt x="5524" y="7946"/>
                      <a:pt x="5206" y="8034"/>
                      <a:pt x="4994" y="8127"/>
                    </a:cubicBezTo>
                    <a:cubicBezTo>
                      <a:pt x="4960" y="8142"/>
                      <a:pt x="4936" y="8168"/>
                      <a:pt x="4918" y="8197"/>
                    </a:cubicBezTo>
                    <a:cubicBezTo>
                      <a:pt x="4888" y="8246"/>
                      <a:pt x="4878" y="8306"/>
                      <a:pt x="4903" y="8363"/>
                    </a:cubicBezTo>
                    <a:cubicBezTo>
                      <a:pt x="4943" y="8452"/>
                      <a:pt x="5048" y="8493"/>
                      <a:pt x="5138" y="8454"/>
                    </a:cubicBezTo>
                    <a:cubicBezTo>
                      <a:pt x="5465" y="8310"/>
                      <a:pt x="5833" y="8286"/>
                      <a:pt x="6233" y="8382"/>
                    </a:cubicBezTo>
                    <a:cubicBezTo>
                      <a:pt x="6732" y="8503"/>
                      <a:pt x="7317" y="8582"/>
                      <a:pt x="7817" y="8582"/>
                    </a:cubicBezTo>
                    <a:cubicBezTo>
                      <a:pt x="8196" y="8582"/>
                      <a:pt x="8527" y="8536"/>
                      <a:pt x="8735" y="8429"/>
                    </a:cubicBezTo>
                    <a:cubicBezTo>
                      <a:pt x="8828" y="8381"/>
                      <a:pt x="8910" y="8308"/>
                      <a:pt x="8978" y="8223"/>
                    </a:cubicBezTo>
                    <a:cubicBezTo>
                      <a:pt x="9279" y="8130"/>
                      <a:pt x="9558" y="8062"/>
                      <a:pt x="9563" y="8061"/>
                    </a:cubicBezTo>
                    <a:cubicBezTo>
                      <a:pt x="9577" y="8057"/>
                      <a:pt x="9590" y="8052"/>
                      <a:pt x="9603" y="8045"/>
                    </a:cubicBezTo>
                    <a:lnTo>
                      <a:pt x="10404" y="7630"/>
                    </a:lnTo>
                    <a:cubicBezTo>
                      <a:pt x="10627" y="7523"/>
                      <a:pt x="10731" y="7601"/>
                      <a:pt x="10766" y="7626"/>
                    </a:cubicBezTo>
                    <a:cubicBezTo>
                      <a:pt x="10877" y="7708"/>
                      <a:pt x="10927" y="7862"/>
                      <a:pt x="10935" y="7937"/>
                    </a:cubicBezTo>
                    <a:cubicBezTo>
                      <a:pt x="10867" y="7990"/>
                      <a:pt x="10749" y="8081"/>
                      <a:pt x="10619" y="8183"/>
                    </a:cubicBezTo>
                    <a:cubicBezTo>
                      <a:pt x="10396" y="8357"/>
                      <a:pt x="10058" y="8621"/>
                      <a:pt x="10018" y="8647"/>
                    </a:cubicBezTo>
                    <a:cubicBezTo>
                      <a:pt x="9989" y="8661"/>
                      <a:pt x="9867" y="8708"/>
                      <a:pt x="9720" y="8765"/>
                    </a:cubicBezTo>
                    <a:cubicBezTo>
                      <a:pt x="9489" y="8855"/>
                      <a:pt x="9201" y="8966"/>
                      <a:pt x="9086" y="9020"/>
                    </a:cubicBezTo>
                    <a:cubicBezTo>
                      <a:pt x="8816" y="9144"/>
                      <a:pt x="8300" y="9346"/>
                      <a:pt x="8196" y="9349"/>
                    </a:cubicBezTo>
                    <a:cubicBezTo>
                      <a:pt x="8024" y="9349"/>
                      <a:pt x="7346" y="9463"/>
                      <a:pt x="6547" y="9626"/>
                    </a:cubicBezTo>
                    <a:cubicBezTo>
                      <a:pt x="5919" y="9754"/>
                      <a:pt x="5696" y="9741"/>
                      <a:pt x="5291" y="9552"/>
                    </a:cubicBezTo>
                    <a:cubicBezTo>
                      <a:pt x="4872" y="9356"/>
                      <a:pt x="2441" y="8613"/>
                      <a:pt x="2148" y="8613"/>
                    </a:cubicBezTo>
                    <a:lnTo>
                      <a:pt x="1979" y="8613"/>
                    </a:lnTo>
                    <a:lnTo>
                      <a:pt x="1979" y="8970"/>
                    </a:lnTo>
                    <a:lnTo>
                      <a:pt x="2146" y="8970"/>
                    </a:lnTo>
                    <a:cubicBezTo>
                      <a:pt x="2378" y="8981"/>
                      <a:pt x="4685" y="9662"/>
                      <a:pt x="5139" y="9875"/>
                    </a:cubicBezTo>
                    <a:cubicBezTo>
                      <a:pt x="5427" y="10010"/>
                      <a:pt x="5655" y="10067"/>
                      <a:pt x="5917" y="10067"/>
                    </a:cubicBezTo>
                    <a:cubicBezTo>
                      <a:pt x="6117" y="10067"/>
                      <a:pt x="6337" y="10034"/>
                      <a:pt x="6619" y="9976"/>
                    </a:cubicBezTo>
                    <a:cubicBezTo>
                      <a:pt x="7530" y="9790"/>
                      <a:pt x="8089" y="9706"/>
                      <a:pt x="8196" y="9706"/>
                    </a:cubicBezTo>
                    <a:cubicBezTo>
                      <a:pt x="8437" y="9706"/>
                      <a:pt x="9228" y="9348"/>
                      <a:pt x="9235" y="9344"/>
                    </a:cubicBezTo>
                    <a:cubicBezTo>
                      <a:pt x="9341" y="9296"/>
                      <a:pt x="9635" y="9181"/>
                      <a:pt x="9849" y="9098"/>
                    </a:cubicBezTo>
                    <a:cubicBezTo>
                      <a:pt x="10069" y="9013"/>
                      <a:pt x="10148" y="8982"/>
                      <a:pt x="10176" y="8967"/>
                    </a:cubicBezTo>
                    <a:cubicBezTo>
                      <a:pt x="10216" y="8947"/>
                      <a:pt x="10303" y="8883"/>
                      <a:pt x="10839" y="8464"/>
                    </a:cubicBezTo>
                    <a:cubicBezTo>
                      <a:pt x="11008" y="8332"/>
                      <a:pt x="11155" y="8217"/>
                      <a:pt x="11194" y="8190"/>
                    </a:cubicBezTo>
                    <a:cubicBezTo>
                      <a:pt x="11364" y="8068"/>
                      <a:pt x="11285" y="7748"/>
                      <a:pt x="11174" y="7560"/>
                    </a:cubicBezTo>
                    <a:close/>
                    <a:moveTo>
                      <a:pt x="0" y="9309"/>
                    </a:moveTo>
                    <a:lnTo>
                      <a:pt x="1630" y="9309"/>
                    </a:lnTo>
                    <a:lnTo>
                      <a:pt x="1630" y="5351"/>
                    </a:lnTo>
                    <a:lnTo>
                      <a:pt x="0" y="5351"/>
                    </a:lnTo>
                    <a:lnTo>
                      <a:pt x="0" y="9309"/>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nvGrpSpPr>
              <p:cNvPr id="210" name="Problem_Based_Learning" descr="{&quot;Key&quot;:&quot;POWER_USER_SHAPE_ICON&quot;,&quot;Value&quot;:&quot;POWER_USER_SHAPE_ICON_STYLE_1&quot;}">
                <a:extLst>
                  <a:ext uri="{FF2B5EF4-FFF2-40B4-BE49-F238E27FC236}">
                    <a16:creationId xmlns:a16="http://schemas.microsoft.com/office/drawing/2014/main" id="{BAD4B1A5-AF81-4E98-A2E0-421802CDE429}"/>
                  </a:ext>
                </a:extLst>
              </p:cNvPr>
              <p:cNvGrpSpPr>
                <a:grpSpLocks noChangeAspect="1"/>
              </p:cNvGrpSpPr>
              <p:nvPr>
                <p:custDataLst>
                  <p:tags r:id="rId29"/>
                </p:custDataLst>
              </p:nvPr>
            </p:nvGrpSpPr>
            <p:grpSpPr bwMode="auto">
              <a:xfrm>
                <a:off x="7183815" y="778521"/>
                <a:ext cx="172311" cy="185669"/>
                <a:chOff x="7" y="8"/>
                <a:chExt cx="424" cy="471"/>
              </a:xfrm>
              <a:solidFill>
                <a:schemeClr val="bg1"/>
              </a:solidFill>
            </p:grpSpPr>
            <p:sp>
              <p:nvSpPr>
                <p:cNvPr id="211" name="Problem_Based_Learning">
                  <a:extLst>
                    <a:ext uri="{FF2B5EF4-FFF2-40B4-BE49-F238E27FC236}">
                      <a16:creationId xmlns:a16="http://schemas.microsoft.com/office/drawing/2014/main" id="{0AAE75F1-8A13-4A84-963B-39EFB5746CD7}"/>
                    </a:ext>
                  </a:extLst>
                </p:cNvPr>
                <p:cNvSpPr>
                  <a:spLocks/>
                </p:cNvSpPr>
                <p:nvPr>
                  <p:custDataLst>
                    <p:tags r:id="rId30"/>
                  </p:custDataLst>
                </p:nvPr>
              </p:nvSpPr>
              <p:spPr bwMode="auto">
                <a:xfrm>
                  <a:off x="214" y="8"/>
                  <a:ext cx="20" cy="69"/>
                </a:xfrm>
                <a:custGeom>
                  <a:avLst/>
                  <a:gdLst>
                    <a:gd name="T0" fmla="*/ 26 w 52"/>
                    <a:gd name="T1" fmla="*/ 183 h 183"/>
                    <a:gd name="T2" fmla="*/ 0 w 52"/>
                    <a:gd name="T3" fmla="*/ 156 h 183"/>
                    <a:gd name="T4" fmla="*/ 0 w 52"/>
                    <a:gd name="T5" fmla="*/ 26 h 183"/>
                    <a:gd name="T6" fmla="*/ 26 w 52"/>
                    <a:gd name="T7" fmla="*/ 0 h 183"/>
                    <a:gd name="T8" fmla="*/ 52 w 52"/>
                    <a:gd name="T9" fmla="*/ 26 h 183"/>
                    <a:gd name="T10" fmla="*/ 52 w 52"/>
                    <a:gd name="T11" fmla="*/ 156 h 183"/>
                    <a:gd name="T12" fmla="*/ 26 w 52"/>
                    <a:gd name="T13" fmla="*/ 183 h 183"/>
                  </a:gdLst>
                  <a:ahLst/>
                  <a:cxnLst>
                    <a:cxn ang="0">
                      <a:pos x="T0" y="T1"/>
                    </a:cxn>
                    <a:cxn ang="0">
                      <a:pos x="T2" y="T3"/>
                    </a:cxn>
                    <a:cxn ang="0">
                      <a:pos x="T4" y="T5"/>
                    </a:cxn>
                    <a:cxn ang="0">
                      <a:pos x="T6" y="T7"/>
                    </a:cxn>
                    <a:cxn ang="0">
                      <a:pos x="T8" y="T9"/>
                    </a:cxn>
                    <a:cxn ang="0">
                      <a:pos x="T10" y="T11"/>
                    </a:cxn>
                    <a:cxn ang="0">
                      <a:pos x="T12" y="T13"/>
                    </a:cxn>
                  </a:cxnLst>
                  <a:rect l="0" t="0" r="r" b="b"/>
                  <a:pathLst>
                    <a:path w="52" h="183">
                      <a:moveTo>
                        <a:pt x="26" y="183"/>
                      </a:moveTo>
                      <a:cubicBezTo>
                        <a:pt x="11" y="183"/>
                        <a:pt x="0" y="171"/>
                        <a:pt x="0" y="156"/>
                      </a:cubicBezTo>
                      <a:lnTo>
                        <a:pt x="0" y="26"/>
                      </a:lnTo>
                      <a:cubicBezTo>
                        <a:pt x="0" y="12"/>
                        <a:pt x="11" y="0"/>
                        <a:pt x="26" y="0"/>
                      </a:cubicBezTo>
                      <a:cubicBezTo>
                        <a:pt x="40" y="0"/>
                        <a:pt x="52" y="12"/>
                        <a:pt x="52" y="26"/>
                      </a:cubicBezTo>
                      <a:lnTo>
                        <a:pt x="52" y="156"/>
                      </a:lnTo>
                      <a:cubicBezTo>
                        <a:pt x="52" y="171"/>
                        <a:pt x="40" y="183"/>
                        <a:pt x="26" y="183"/>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noProof="0">
                    <a:ln>
                      <a:noFill/>
                    </a:ln>
                    <a:solidFill>
                      <a:prstClr val="black"/>
                    </a:solidFill>
                    <a:effectLst/>
                    <a:uLnTx/>
                    <a:uFillTx/>
                    <a:latin typeface="Calibri" panose="020F0502020204030204"/>
                    <a:ea typeface="+mn-ea"/>
                    <a:cs typeface="+mn-cs"/>
                  </a:endParaRPr>
                </a:p>
              </p:txBody>
            </p:sp>
            <p:sp>
              <p:nvSpPr>
                <p:cNvPr id="212" name="Problem_Based_Learning">
                  <a:extLst>
                    <a:ext uri="{FF2B5EF4-FFF2-40B4-BE49-F238E27FC236}">
                      <a16:creationId xmlns:a16="http://schemas.microsoft.com/office/drawing/2014/main" id="{BA70FA54-B638-4A19-BBE0-4AE5174C0B45}"/>
                    </a:ext>
                  </a:extLst>
                </p:cNvPr>
                <p:cNvSpPr>
                  <a:spLocks/>
                </p:cNvSpPr>
                <p:nvPr>
                  <p:custDataLst>
                    <p:tags r:id="rId31"/>
                  </p:custDataLst>
                </p:nvPr>
              </p:nvSpPr>
              <p:spPr bwMode="auto">
                <a:xfrm>
                  <a:off x="301" y="46"/>
                  <a:ext cx="51" cy="60"/>
                </a:xfrm>
                <a:custGeom>
                  <a:avLst/>
                  <a:gdLst>
                    <a:gd name="T0" fmla="*/ 29 w 137"/>
                    <a:gd name="T1" fmla="*/ 160 h 160"/>
                    <a:gd name="T2" fmla="*/ 14 w 137"/>
                    <a:gd name="T3" fmla="*/ 155 h 160"/>
                    <a:gd name="T4" fmla="*/ 9 w 137"/>
                    <a:gd name="T5" fmla="*/ 118 h 160"/>
                    <a:gd name="T6" fmla="*/ 87 w 137"/>
                    <a:gd name="T7" fmla="*/ 14 h 160"/>
                    <a:gd name="T8" fmla="*/ 123 w 137"/>
                    <a:gd name="T9" fmla="*/ 9 h 160"/>
                    <a:gd name="T10" fmla="*/ 128 w 137"/>
                    <a:gd name="T11" fmla="*/ 45 h 160"/>
                    <a:gd name="T12" fmla="*/ 50 w 137"/>
                    <a:gd name="T13" fmla="*/ 149 h 160"/>
                    <a:gd name="T14" fmla="*/ 29 w 137"/>
                    <a:gd name="T15" fmla="*/ 160 h 16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7" h="160">
                      <a:moveTo>
                        <a:pt x="29" y="160"/>
                      </a:moveTo>
                      <a:cubicBezTo>
                        <a:pt x="24" y="160"/>
                        <a:pt x="18" y="158"/>
                        <a:pt x="14" y="155"/>
                      </a:cubicBezTo>
                      <a:cubicBezTo>
                        <a:pt x="2" y="146"/>
                        <a:pt x="0" y="130"/>
                        <a:pt x="9" y="118"/>
                      </a:cubicBezTo>
                      <a:lnTo>
                        <a:pt x="87" y="14"/>
                      </a:lnTo>
                      <a:cubicBezTo>
                        <a:pt x="95" y="2"/>
                        <a:pt x="112" y="0"/>
                        <a:pt x="123" y="9"/>
                      </a:cubicBezTo>
                      <a:cubicBezTo>
                        <a:pt x="135" y="17"/>
                        <a:pt x="137" y="34"/>
                        <a:pt x="128" y="45"/>
                      </a:cubicBezTo>
                      <a:lnTo>
                        <a:pt x="50" y="149"/>
                      </a:lnTo>
                      <a:cubicBezTo>
                        <a:pt x="45" y="156"/>
                        <a:pt x="37" y="160"/>
                        <a:pt x="29" y="16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noProof="0">
                    <a:ln>
                      <a:noFill/>
                    </a:ln>
                    <a:solidFill>
                      <a:prstClr val="black"/>
                    </a:solidFill>
                    <a:effectLst/>
                    <a:uLnTx/>
                    <a:uFillTx/>
                    <a:latin typeface="Calibri" panose="020F0502020204030204"/>
                    <a:ea typeface="+mn-ea"/>
                    <a:cs typeface="+mn-cs"/>
                  </a:endParaRPr>
                </a:p>
              </p:txBody>
            </p:sp>
            <p:sp>
              <p:nvSpPr>
                <p:cNvPr id="213" name="Problem_Based_Learning">
                  <a:extLst>
                    <a:ext uri="{FF2B5EF4-FFF2-40B4-BE49-F238E27FC236}">
                      <a16:creationId xmlns:a16="http://schemas.microsoft.com/office/drawing/2014/main" id="{38E1E822-F799-42E1-A062-ACD102F0A79E}"/>
                    </a:ext>
                  </a:extLst>
                </p:cNvPr>
                <p:cNvSpPr>
                  <a:spLocks/>
                </p:cNvSpPr>
                <p:nvPr>
                  <p:custDataLst>
                    <p:tags r:id="rId32"/>
                  </p:custDataLst>
                </p:nvPr>
              </p:nvSpPr>
              <p:spPr bwMode="auto">
                <a:xfrm>
                  <a:off x="85" y="46"/>
                  <a:ext cx="52" cy="60"/>
                </a:xfrm>
                <a:custGeom>
                  <a:avLst/>
                  <a:gdLst>
                    <a:gd name="T0" fmla="*/ 108 w 137"/>
                    <a:gd name="T1" fmla="*/ 160 h 160"/>
                    <a:gd name="T2" fmla="*/ 87 w 137"/>
                    <a:gd name="T3" fmla="*/ 149 h 160"/>
                    <a:gd name="T4" fmla="*/ 9 w 137"/>
                    <a:gd name="T5" fmla="*/ 45 h 160"/>
                    <a:gd name="T6" fmla="*/ 14 w 137"/>
                    <a:gd name="T7" fmla="*/ 9 h 160"/>
                    <a:gd name="T8" fmla="*/ 51 w 137"/>
                    <a:gd name="T9" fmla="*/ 14 h 160"/>
                    <a:gd name="T10" fmla="*/ 129 w 137"/>
                    <a:gd name="T11" fmla="*/ 118 h 160"/>
                    <a:gd name="T12" fmla="*/ 124 w 137"/>
                    <a:gd name="T13" fmla="*/ 155 h 160"/>
                    <a:gd name="T14" fmla="*/ 108 w 137"/>
                    <a:gd name="T15" fmla="*/ 160 h 16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7" h="160">
                      <a:moveTo>
                        <a:pt x="108" y="160"/>
                      </a:moveTo>
                      <a:cubicBezTo>
                        <a:pt x="100" y="160"/>
                        <a:pt x="92" y="156"/>
                        <a:pt x="87" y="149"/>
                      </a:cubicBezTo>
                      <a:lnTo>
                        <a:pt x="9" y="45"/>
                      </a:lnTo>
                      <a:cubicBezTo>
                        <a:pt x="0" y="34"/>
                        <a:pt x="3" y="17"/>
                        <a:pt x="14" y="9"/>
                      </a:cubicBezTo>
                      <a:cubicBezTo>
                        <a:pt x="26" y="0"/>
                        <a:pt x="42" y="2"/>
                        <a:pt x="51" y="14"/>
                      </a:cubicBezTo>
                      <a:lnTo>
                        <a:pt x="129" y="118"/>
                      </a:lnTo>
                      <a:cubicBezTo>
                        <a:pt x="137" y="130"/>
                        <a:pt x="135" y="146"/>
                        <a:pt x="124" y="155"/>
                      </a:cubicBezTo>
                      <a:cubicBezTo>
                        <a:pt x="119" y="158"/>
                        <a:pt x="113" y="160"/>
                        <a:pt x="108" y="16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noProof="0">
                    <a:ln>
                      <a:noFill/>
                    </a:ln>
                    <a:solidFill>
                      <a:prstClr val="black"/>
                    </a:solidFill>
                    <a:effectLst/>
                    <a:uLnTx/>
                    <a:uFillTx/>
                    <a:latin typeface="Calibri" panose="020F0502020204030204"/>
                    <a:ea typeface="+mn-ea"/>
                    <a:cs typeface="+mn-cs"/>
                  </a:endParaRPr>
                </a:p>
              </p:txBody>
            </p:sp>
            <p:sp>
              <p:nvSpPr>
                <p:cNvPr id="214" name="Problem_Based_Learning">
                  <a:extLst>
                    <a:ext uri="{FF2B5EF4-FFF2-40B4-BE49-F238E27FC236}">
                      <a16:creationId xmlns:a16="http://schemas.microsoft.com/office/drawing/2014/main" id="{76C486DF-91C3-4BDD-8911-774A5853F316}"/>
                    </a:ext>
                  </a:extLst>
                </p:cNvPr>
                <p:cNvSpPr>
                  <a:spLocks/>
                </p:cNvSpPr>
                <p:nvPr>
                  <p:custDataLst>
                    <p:tags r:id="rId33"/>
                  </p:custDataLst>
                </p:nvPr>
              </p:nvSpPr>
              <p:spPr bwMode="auto">
                <a:xfrm>
                  <a:off x="7" y="134"/>
                  <a:ext cx="61" cy="41"/>
                </a:xfrm>
                <a:custGeom>
                  <a:avLst/>
                  <a:gdLst>
                    <a:gd name="T0" fmla="*/ 134 w 164"/>
                    <a:gd name="T1" fmla="*/ 108 h 108"/>
                    <a:gd name="T2" fmla="*/ 123 w 164"/>
                    <a:gd name="T3" fmla="*/ 106 h 108"/>
                    <a:gd name="T4" fmla="*/ 18 w 164"/>
                    <a:gd name="T5" fmla="*/ 53 h 108"/>
                    <a:gd name="T6" fmla="*/ 7 w 164"/>
                    <a:gd name="T7" fmla="*/ 18 h 108"/>
                    <a:gd name="T8" fmla="*/ 42 w 164"/>
                    <a:gd name="T9" fmla="*/ 7 h 108"/>
                    <a:gd name="T10" fmla="*/ 146 w 164"/>
                    <a:gd name="T11" fmla="*/ 59 h 108"/>
                    <a:gd name="T12" fmla="*/ 158 w 164"/>
                    <a:gd name="T13" fmla="*/ 94 h 108"/>
                    <a:gd name="T14" fmla="*/ 134 w 164"/>
                    <a:gd name="T15" fmla="*/ 108 h 1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4" h="108">
                      <a:moveTo>
                        <a:pt x="134" y="108"/>
                      </a:moveTo>
                      <a:cubicBezTo>
                        <a:pt x="130" y="108"/>
                        <a:pt x="126" y="107"/>
                        <a:pt x="123" y="106"/>
                      </a:cubicBezTo>
                      <a:lnTo>
                        <a:pt x="18" y="53"/>
                      </a:lnTo>
                      <a:cubicBezTo>
                        <a:pt x="6" y="47"/>
                        <a:pt x="0" y="31"/>
                        <a:pt x="7" y="18"/>
                      </a:cubicBezTo>
                      <a:cubicBezTo>
                        <a:pt x="13" y="6"/>
                        <a:pt x="29" y="0"/>
                        <a:pt x="42" y="7"/>
                      </a:cubicBezTo>
                      <a:lnTo>
                        <a:pt x="146" y="59"/>
                      </a:lnTo>
                      <a:cubicBezTo>
                        <a:pt x="159" y="65"/>
                        <a:pt x="164" y="81"/>
                        <a:pt x="158" y="94"/>
                      </a:cubicBezTo>
                      <a:cubicBezTo>
                        <a:pt x="153" y="103"/>
                        <a:pt x="144" y="108"/>
                        <a:pt x="134" y="108"/>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noProof="0">
                    <a:ln>
                      <a:noFill/>
                    </a:ln>
                    <a:solidFill>
                      <a:prstClr val="black"/>
                    </a:solidFill>
                    <a:effectLst/>
                    <a:uLnTx/>
                    <a:uFillTx/>
                    <a:latin typeface="Calibri" panose="020F0502020204030204"/>
                    <a:ea typeface="+mn-ea"/>
                    <a:cs typeface="+mn-cs"/>
                  </a:endParaRPr>
                </a:p>
              </p:txBody>
            </p:sp>
            <p:sp>
              <p:nvSpPr>
                <p:cNvPr id="215" name="Problem_Based_Learning">
                  <a:extLst>
                    <a:ext uri="{FF2B5EF4-FFF2-40B4-BE49-F238E27FC236}">
                      <a16:creationId xmlns:a16="http://schemas.microsoft.com/office/drawing/2014/main" id="{866F3F5D-2AEC-4984-BE62-E3AF1A0E6031}"/>
                    </a:ext>
                  </a:extLst>
                </p:cNvPr>
                <p:cNvSpPr>
                  <a:spLocks/>
                </p:cNvSpPr>
                <p:nvPr>
                  <p:custDataLst>
                    <p:tags r:id="rId34"/>
                  </p:custDataLst>
                </p:nvPr>
              </p:nvSpPr>
              <p:spPr bwMode="auto">
                <a:xfrm>
                  <a:off x="369" y="134"/>
                  <a:ext cx="62" cy="41"/>
                </a:xfrm>
                <a:custGeom>
                  <a:avLst/>
                  <a:gdLst>
                    <a:gd name="T0" fmla="*/ 30 w 164"/>
                    <a:gd name="T1" fmla="*/ 108 h 108"/>
                    <a:gd name="T2" fmla="*/ 7 w 164"/>
                    <a:gd name="T3" fmla="*/ 94 h 108"/>
                    <a:gd name="T4" fmla="*/ 18 w 164"/>
                    <a:gd name="T5" fmla="*/ 59 h 108"/>
                    <a:gd name="T6" fmla="*/ 123 w 164"/>
                    <a:gd name="T7" fmla="*/ 7 h 108"/>
                    <a:gd name="T8" fmla="*/ 158 w 164"/>
                    <a:gd name="T9" fmla="*/ 18 h 108"/>
                    <a:gd name="T10" fmla="*/ 146 w 164"/>
                    <a:gd name="T11" fmla="*/ 53 h 108"/>
                    <a:gd name="T12" fmla="*/ 42 w 164"/>
                    <a:gd name="T13" fmla="*/ 106 h 108"/>
                    <a:gd name="T14" fmla="*/ 30 w 164"/>
                    <a:gd name="T15" fmla="*/ 108 h 1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4" h="108">
                      <a:moveTo>
                        <a:pt x="30" y="108"/>
                      </a:moveTo>
                      <a:cubicBezTo>
                        <a:pt x="20" y="108"/>
                        <a:pt x="11" y="103"/>
                        <a:pt x="7" y="94"/>
                      </a:cubicBezTo>
                      <a:cubicBezTo>
                        <a:pt x="0" y="81"/>
                        <a:pt x="5" y="65"/>
                        <a:pt x="18" y="59"/>
                      </a:cubicBezTo>
                      <a:lnTo>
                        <a:pt x="123" y="7"/>
                      </a:lnTo>
                      <a:cubicBezTo>
                        <a:pt x="135" y="0"/>
                        <a:pt x="151" y="6"/>
                        <a:pt x="158" y="18"/>
                      </a:cubicBezTo>
                      <a:cubicBezTo>
                        <a:pt x="164" y="31"/>
                        <a:pt x="159" y="47"/>
                        <a:pt x="146" y="53"/>
                      </a:cubicBezTo>
                      <a:lnTo>
                        <a:pt x="42" y="106"/>
                      </a:lnTo>
                      <a:cubicBezTo>
                        <a:pt x="38" y="107"/>
                        <a:pt x="34" y="108"/>
                        <a:pt x="30" y="108"/>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noProof="0">
                    <a:ln>
                      <a:noFill/>
                    </a:ln>
                    <a:solidFill>
                      <a:prstClr val="black"/>
                    </a:solidFill>
                    <a:effectLst/>
                    <a:uLnTx/>
                    <a:uFillTx/>
                    <a:latin typeface="Calibri" panose="020F0502020204030204"/>
                    <a:ea typeface="+mn-ea"/>
                    <a:cs typeface="+mn-cs"/>
                  </a:endParaRPr>
                </a:p>
              </p:txBody>
            </p:sp>
            <p:sp>
              <p:nvSpPr>
                <p:cNvPr id="216" name="Problem_Based_Learning">
                  <a:extLst>
                    <a:ext uri="{FF2B5EF4-FFF2-40B4-BE49-F238E27FC236}">
                      <a16:creationId xmlns:a16="http://schemas.microsoft.com/office/drawing/2014/main" id="{03D48A55-A5E5-44A3-92B1-81A704E5F6AD}"/>
                    </a:ext>
                  </a:extLst>
                </p:cNvPr>
                <p:cNvSpPr>
                  <a:spLocks noEditPoints="1"/>
                </p:cNvSpPr>
                <p:nvPr>
                  <p:custDataLst>
                    <p:tags r:id="rId35"/>
                  </p:custDataLst>
                </p:nvPr>
              </p:nvSpPr>
              <p:spPr bwMode="auto">
                <a:xfrm>
                  <a:off x="87" y="106"/>
                  <a:ext cx="303" cy="373"/>
                </a:xfrm>
                <a:custGeom>
                  <a:avLst/>
                  <a:gdLst>
                    <a:gd name="T0" fmla="*/ 730 w 808"/>
                    <a:gd name="T1" fmla="*/ 391 h 989"/>
                    <a:gd name="T2" fmla="*/ 730 w 808"/>
                    <a:gd name="T3" fmla="*/ 365 h 989"/>
                    <a:gd name="T4" fmla="*/ 365 w 808"/>
                    <a:gd name="T5" fmla="*/ 0 h 989"/>
                    <a:gd name="T6" fmla="*/ 0 w 808"/>
                    <a:gd name="T7" fmla="*/ 365 h 989"/>
                    <a:gd name="T8" fmla="*/ 78 w 808"/>
                    <a:gd name="T9" fmla="*/ 590 h 989"/>
                    <a:gd name="T10" fmla="*/ 78 w 808"/>
                    <a:gd name="T11" fmla="*/ 989 h 989"/>
                    <a:gd name="T12" fmla="*/ 547 w 808"/>
                    <a:gd name="T13" fmla="*/ 989 h 989"/>
                    <a:gd name="T14" fmla="*/ 547 w 808"/>
                    <a:gd name="T15" fmla="*/ 860 h 989"/>
                    <a:gd name="T16" fmla="*/ 704 w 808"/>
                    <a:gd name="T17" fmla="*/ 704 h 989"/>
                    <a:gd name="T18" fmla="*/ 704 w 808"/>
                    <a:gd name="T19" fmla="*/ 626 h 989"/>
                    <a:gd name="T20" fmla="*/ 782 w 808"/>
                    <a:gd name="T21" fmla="*/ 626 h 989"/>
                    <a:gd name="T22" fmla="*/ 808 w 808"/>
                    <a:gd name="T23" fmla="*/ 600 h 989"/>
                    <a:gd name="T24" fmla="*/ 730 w 808"/>
                    <a:gd name="T25" fmla="*/ 391 h 989"/>
                    <a:gd name="T26" fmla="*/ 587 w 808"/>
                    <a:gd name="T27" fmla="*/ 387 h 989"/>
                    <a:gd name="T28" fmla="*/ 547 w 808"/>
                    <a:gd name="T29" fmla="*/ 365 h 989"/>
                    <a:gd name="T30" fmla="*/ 522 w 808"/>
                    <a:gd name="T31" fmla="*/ 385 h 989"/>
                    <a:gd name="T32" fmla="*/ 520 w 808"/>
                    <a:gd name="T33" fmla="*/ 474 h 989"/>
                    <a:gd name="T34" fmla="*/ 410 w 808"/>
                    <a:gd name="T35" fmla="*/ 473 h 989"/>
                    <a:gd name="T36" fmla="*/ 390 w 808"/>
                    <a:gd name="T37" fmla="*/ 449 h 989"/>
                    <a:gd name="T38" fmla="*/ 412 w 808"/>
                    <a:gd name="T39" fmla="*/ 409 h 989"/>
                    <a:gd name="T40" fmla="*/ 368 w 808"/>
                    <a:gd name="T41" fmla="*/ 364 h 989"/>
                    <a:gd name="T42" fmla="*/ 325 w 808"/>
                    <a:gd name="T43" fmla="*/ 409 h 989"/>
                    <a:gd name="T44" fmla="*/ 347 w 808"/>
                    <a:gd name="T45" fmla="*/ 449 h 989"/>
                    <a:gd name="T46" fmla="*/ 326 w 808"/>
                    <a:gd name="T47" fmla="*/ 473 h 989"/>
                    <a:gd name="T48" fmla="*/ 214 w 808"/>
                    <a:gd name="T49" fmla="*/ 474 h 989"/>
                    <a:gd name="T50" fmla="*/ 213 w 808"/>
                    <a:gd name="T51" fmla="*/ 385 h 989"/>
                    <a:gd name="T52" fmla="*/ 188 w 808"/>
                    <a:gd name="T53" fmla="*/ 365 h 989"/>
                    <a:gd name="T54" fmla="*/ 148 w 808"/>
                    <a:gd name="T55" fmla="*/ 387 h 989"/>
                    <a:gd name="T56" fmla="*/ 104 w 808"/>
                    <a:gd name="T57" fmla="*/ 344 h 989"/>
                    <a:gd name="T58" fmla="*/ 148 w 808"/>
                    <a:gd name="T59" fmla="*/ 300 h 989"/>
                    <a:gd name="T60" fmla="*/ 188 w 808"/>
                    <a:gd name="T61" fmla="*/ 322 h 989"/>
                    <a:gd name="T62" fmla="*/ 213 w 808"/>
                    <a:gd name="T63" fmla="*/ 302 h 989"/>
                    <a:gd name="T64" fmla="*/ 216 w 808"/>
                    <a:gd name="T65" fmla="*/ 213 h 989"/>
                    <a:gd name="T66" fmla="*/ 326 w 808"/>
                    <a:gd name="T67" fmla="*/ 203 h 989"/>
                    <a:gd name="T68" fmla="*/ 347 w 808"/>
                    <a:gd name="T69" fmla="*/ 227 h 989"/>
                    <a:gd name="T70" fmla="*/ 325 w 808"/>
                    <a:gd name="T71" fmla="*/ 267 h 989"/>
                    <a:gd name="T72" fmla="*/ 368 w 808"/>
                    <a:gd name="T73" fmla="*/ 312 h 989"/>
                    <a:gd name="T74" fmla="*/ 412 w 808"/>
                    <a:gd name="T75" fmla="*/ 267 h 989"/>
                    <a:gd name="T76" fmla="*/ 390 w 808"/>
                    <a:gd name="T77" fmla="*/ 227 h 989"/>
                    <a:gd name="T78" fmla="*/ 410 w 808"/>
                    <a:gd name="T79" fmla="*/ 203 h 989"/>
                    <a:gd name="T80" fmla="*/ 521 w 808"/>
                    <a:gd name="T81" fmla="*/ 213 h 989"/>
                    <a:gd name="T82" fmla="*/ 522 w 808"/>
                    <a:gd name="T83" fmla="*/ 302 h 989"/>
                    <a:gd name="T84" fmla="*/ 547 w 808"/>
                    <a:gd name="T85" fmla="*/ 322 h 989"/>
                    <a:gd name="T86" fmla="*/ 587 w 808"/>
                    <a:gd name="T87" fmla="*/ 300 h 989"/>
                    <a:gd name="T88" fmla="*/ 631 w 808"/>
                    <a:gd name="T89" fmla="*/ 344 h 989"/>
                    <a:gd name="T90" fmla="*/ 587 w 808"/>
                    <a:gd name="T91" fmla="*/ 387 h 9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8" h="989">
                      <a:moveTo>
                        <a:pt x="730" y="391"/>
                      </a:moveTo>
                      <a:lnTo>
                        <a:pt x="730" y="365"/>
                      </a:lnTo>
                      <a:cubicBezTo>
                        <a:pt x="730" y="163"/>
                        <a:pt x="566" y="0"/>
                        <a:pt x="365" y="0"/>
                      </a:cubicBezTo>
                      <a:cubicBezTo>
                        <a:pt x="163" y="0"/>
                        <a:pt x="0" y="163"/>
                        <a:pt x="0" y="365"/>
                      </a:cubicBezTo>
                      <a:cubicBezTo>
                        <a:pt x="0" y="450"/>
                        <a:pt x="29" y="528"/>
                        <a:pt x="78" y="590"/>
                      </a:cubicBezTo>
                      <a:lnTo>
                        <a:pt x="78" y="989"/>
                      </a:lnTo>
                      <a:lnTo>
                        <a:pt x="547" y="989"/>
                      </a:lnTo>
                      <a:lnTo>
                        <a:pt x="547" y="860"/>
                      </a:lnTo>
                      <a:cubicBezTo>
                        <a:pt x="634" y="860"/>
                        <a:pt x="704" y="790"/>
                        <a:pt x="704" y="704"/>
                      </a:cubicBezTo>
                      <a:lnTo>
                        <a:pt x="704" y="626"/>
                      </a:lnTo>
                      <a:lnTo>
                        <a:pt x="782" y="626"/>
                      </a:lnTo>
                      <a:cubicBezTo>
                        <a:pt x="796" y="626"/>
                        <a:pt x="808" y="614"/>
                        <a:pt x="808" y="600"/>
                      </a:cubicBezTo>
                      <a:cubicBezTo>
                        <a:pt x="808" y="593"/>
                        <a:pt x="730" y="391"/>
                        <a:pt x="730" y="391"/>
                      </a:cubicBezTo>
                      <a:close/>
                      <a:moveTo>
                        <a:pt x="587" y="387"/>
                      </a:moveTo>
                      <a:cubicBezTo>
                        <a:pt x="562" y="381"/>
                        <a:pt x="566" y="365"/>
                        <a:pt x="547" y="365"/>
                      </a:cubicBezTo>
                      <a:cubicBezTo>
                        <a:pt x="528" y="365"/>
                        <a:pt x="524" y="378"/>
                        <a:pt x="522" y="385"/>
                      </a:cubicBezTo>
                      <a:cubicBezTo>
                        <a:pt x="519" y="407"/>
                        <a:pt x="520" y="474"/>
                        <a:pt x="520" y="474"/>
                      </a:cubicBezTo>
                      <a:cubicBezTo>
                        <a:pt x="520" y="474"/>
                        <a:pt x="432" y="477"/>
                        <a:pt x="410" y="473"/>
                      </a:cubicBezTo>
                      <a:cubicBezTo>
                        <a:pt x="402" y="472"/>
                        <a:pt x="390" y="468"/>
                        <a:pt x="390" y="449"/>
                      </a:cubicBezTo>
                      <a:cubicBezTo>
                        <a:pt x="390" y="430"/>
                        <a:pt x="406" y="434"/>
                        <a:pt x="412" y="409"/>
                      </a:cubicBezTo>
                      <a:cubicBezTo>
                        <a:pt x="414" y="383"/>
                        <a:pt x="392" y="364"/>
                        <a:pt x="368" y="364"/>
                      </a:cubicBezTo>
                      <a:cubicBezTo>
                        <a:pt x="344" y="364"/>
                        <a:pt x="323" y="383"/>
                        <a:pt x="325" y="409"/>
                      </a:cubicBezTo>
                      <a:cubicBezTo>
                        <a:pt x="331" y="434"/>
                        <a:pt x="347" y="430"/>
                        <a:pt x="347" y="449"/>
                      </a:cubicBezTo>
                      <a:cubicBezTo>
                        <a:pt x="347" y="468"/>
                        <a:pt x="334" y="472"/>
                        <a:pt x="326" y="473"/>
                      </a:cubicBezTo>
                      <a:cubicBezTo>
                        <a:pt x="305" y="477"/>
                        <a:pt x="214" y="474"/>
                        <a:pt x="214" y="474"/>
                      </a:cubicBezTo>
                      <a:cubicBezTo>
                        <a:pt x="214" y="474"/>
                        <a:pt x="216" y="407"/>
                        <a:pt x="213" y="385"/>
                      </a:cubicBezTo>
                      <a:cubicBezTo>
                        <a:pt x="212" y="377"/>
                        <a:pt x="207" y="365"/>
                        <a:pt x="188" y="365"/>
                      </a:cubicBezTo>
                      <a:cubicBezTo>
                        <a:pt x="169" y="365"/>
                        <a:pt x="174" y="381"/>
                        <a:pt x="148" y="387"/>
                      </a:cubicBezTo>
                      <a:cubicBezTo>
                        <a:pt x="123" y="389"/>
                        <a:pt x="104" y="368"/>
                        <a:pt x="104" y="344"/>
                      </a:cubicBezTo>
                      <a:cubicBezTo>
                        <a:pt x="104" y="319"/>
                        <a:pt x="123" y="298"/>
                        <a:pt x="148" y="300"/>
                      </a:cubicBezTo>
                      <a:cubicBezTo>
                        <a:pt x="174" y="306"/>
                        <a:pt x="169" y="322"/>
                        <a:pt x="188" y="322"/>
                      </a:cubicBezTo>
                      <a:cubicBezTo>
                        <a:pt x="207" y="322"/>
                        <a:pt x="212" y="310"/>
                        <a:pt x="213" y="302"/>
                      </a:cubicBezTo>
                      <a:cubicBezTo>
                        <a:pt x="216" y="280"/>
                        <a:pt x="216" y="213"/>
                        <a:pt x="216" y="213"/>
                      </a:cubicBezTo>
                      <a:cubicBezTo>
                        <a:pt x="216" y="213"/>
                        <a:pt x="305" y="199"/>
                        <a:pt x="326" y="203"/>
                      </a:cubicBezTo>
                      <a:cubicBezTo>
                        <a:pt x="334" y="204"/>
                        <a:pt x="347" y="208"/>
                        <a:pt x="347" y="227"/>
                      </a:cubicBezTo>
                      <a:cubicBezTo>
                        <a:pt x="347" y="246"/>
                        <a:pt x="331" y="242"/>
                        <a:pt x="325" y="267"/>
                      </a:cubicBezTo>
                      <a:cubicBezTo>
                        <a:pt x="323" y="293"/>
                        <a:pt x="344" y="312"/>
                        <a:pt x="368" y="312"/>
                      </a:cubicBezTo>
                      <a:cubicBezTo>
                        <a:pt x="392" y="312"/>
                        <a:pt x="414" y="293"/>
                        <a:pt x="412" y="267"/>
                      </a:cubicBezTo>
                      <a:cubicBezTo>
                        <a:pt x="406" y="242"/>
                        <a:pt x="390" y="246"/>
                        <a:pt x="390" y="227"/>
                      </a:cubicBezTo>
                      <a:cubicBezTo>
                        <a:pt x="390" y="208"/>
                        <a:pt x="402" y="204"/>
                        <a:pt x="410" y="203"/>
                      </a:cubicBezTo>
                      <a:cubicBezTo>
                        <a:pt x="432" y="199"/>
                        <a:pt x="521" y="213"/>
                        <a:pt x="521" y="213"/>
                      </a:cubicBezTo>
                      <a:cubicBezTo>
                        <a:pt x="521" y="213"/>
                        <a:pt x="519" y="280"/>
                        <a:pt x="522" y="302"/>
                      </a:cubicBezTo>
                      <a:cubicBezTo>
                        <a:pt x="524" y="310"/>
                        <a:pt x="528" y="322"/>
                        <a:pt x="547" y="322"/>
                      </a:cubicBezTo>
                      <a:cubicBezTo>
                        <a:pt x="566" y="322"/>
                        <a:pt x="562" y="306"/>
                        <a:pt x="587" y="300"/>
                      </a:cubicBezTo>
                      <a:cubicBezTo>
                        <a:pt x="613" y="298"/>
                        <a:pt x="631" y="319"/>
                        <a:pt x="631" y="344"/>
                      </a:cubicBezTo>
                      <a:cubicBezTo>
                        <a:pt x="631" y="368"/>
                        <a:pt x="613" y="389"/>
                        <a:pt x="587" y="387"/>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noProof="0">
                    <a:ln>
                      <a:noFill/>
                    </a:ln>
                    <a:solidFill>
                      <a:prstClr val="black"/>
                    </a:solidFill>
                    <a:effectLst/>
                    <a:uLnTx/>
                    <a:uFillTx/>
                    <a:latin typeface="Calibri" panose="020F0502020204030204"/>
                    <a:ea typeface="+mn-ea"/>
                    <a:cs typeface="+mn-cs"/>
                  </a:endParaRPr>
                </a:p>
              </p:txBody>
            </p:sp>
          </p:grpSp>
        </p:grpSp>
      </p:grpSp>
      <p:grpSp>
        <p:nvGrpSpPr>
          <p:cNvPr id="217" name="Groep 216">
            <a:extLst>
              <a:ext uri="{FF2B5EF4-FFF2-40B4-BE49-F238E27FC236}">
                <a16:creationId xmlns:a16="http://schemas.microsoft.com/office/drawing/2014/main" id="{B6079BF2-FF5C-41D7-97EA-51D4809161DC}"/>
              </a:ext>
            </a:extLst>
          </p:cNvPr>
          <p:cNvGrpSpPr/>
          <p:nvPr/>
        </p:nvGrpSpPr>
        <p:grpSpPr>
          <a:xfrm>
            <a:off x="7995639" y="3971869"/>
            <a:ext cx="288000" cy="288000"/>
            <a:chOff x="7536161" y="3828294"/>
            <a:chExt cx="329184" cy="329184"/>
          </a:xfrm>
        </p:grpSpPr>
        <p:sp>
          <p:nvSpPr>
            <p:cNvPr id="218" name="Oval 221">
              <a:extLst>
                <a:ext uri="{FF2B5EF4-FFF2-40B4-BE49-F238E27FC236}">
                  <a16:creationId xmlns:a16="http://schemas.microsoft.com/office/drawing/2014/main" id="{D7F1C389-8364-481E-AAD0-B54E68F53C0E}"/>
                </a:ext>
              </a:extLst>
            </p:cNvPr>
            <p:cNvSpPr/>
            <p:nvPr/>
          </p:nvSpPr>
          <p:spPr>
            <a:xfrm>
              <a:off x="7536161" y="3828294"/>
              <a:ext cx="329184" cy="329184"/>
            </a:xfrm>
            <a:prstGeom prst="ellipse">
              <a:avLst/>
            </a:prstGeom>
            <a:solidFill>
              <a:srgbClr val="7D2B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19" name="Group 1">
              <a:extLst>
                <a:ext uri="{FF2B5EF4-FFF2-40B4-BE49-F238E27FC236}">
                  <a16:creationId xmlns:a16="http://schemas.microsoft.com/office/drawing/2014/main" id="{3EB9CEC5-9993-4009-A797-64F5D527CCC8}"/>
                </a:ext>
              </a:extLst>
            </p:cNvPr>
            <p:cNvGrpSpPr/>
            <p:nvPr/>
          </p:nvGrpSpPr>
          <p:grpSpPr>
            <a:xfrm>
              <a:off x="7558082" y="3918651"/>
              <a:ext cx="268066" cy="148469"/>
              <a:chOff x="4827318" y="3775979"/>
              <a:chExt cx="371092" cy="205530"/>
            </a:xfrm>
          </p:grpSpPr>
          <p:sp>
            <p:nvSpPr>
              <p:cNvPr id="220" name="Tag2" descr="{&quot;Key&quot;:&quot;POWER_USER_SHAPE_ICON&quot;,&quot;Value&quot;:&quot;POWER_USER_SHAPE_ICON_STYLE_1&quot;}">
                <a:extLst>
                  <a:ext uri="{FF2B5EF4-FFF2-40B4-BE49-F238E27FC236}">
                    <a16:creationId xmlns:a16="http://schemas.microsoft.com/office/drawing/2014/main" id="{7A5EDC9A-0C9C-48CD-9C8E-DBFAB503BBE8}"/>
                  </a:ext>
                </a:extLst>
              </p:cNvPr>
              <p:cNvSpPr>
                <a:spLocks noChangeAspect="1" noEditPoints="1"/>
              </p:cNvSpPr>
              <p:nvPr>
                <p:custDataLst>
                  <p:tags r:id="rId26"/>
                </p:custDataLst>
              </p:nvPr>
            </p:nvSpPr>
            <p:spPr bwMode="auto">
              <a:xfrm>
                <a:off x="4827318" y="3775979"/>
                <a:ext cx="179598" cy="178796"/>
              </a:xfrm>
              <a:custGeom>
                <a:avLst/>
                <a:gdLst>
                  <a:gd name="T0" fmla="*/ 537 w 621"/>
                  <a:gd name="T1" fmla="*/ 117 h 617"/>
                  <a:gd name="T2" fmla="*/ 504 w 621"/>
                  <a:gd name="T3" fmla="*/ 83 h 617"/>
                  <a:gd name="T4" fmla="*/ 537 w 621"/>
                  <a:gd name="T5" fmla="*/ 50 h 617"/>
                  <a:gd name="T6" fmla="*/ 571 w 621"/>
                  <a:gd name="T7" fmla="*/ 83 h 617"/>
                  <a:gd name="T8" fmla="*/ 537 w 621"/>
                  <a:gd name="T9" fmla="*/ 117 h 617"/>
                  <a:gd name="T10" fmla="*/ 601 w 621"/>
                  <a:gd name="T11" fmla="*/ 0 h 617"/>
                  <a:gd name="T12" fmla="*/ 600 w 621"/>
                  <a:gd name="T13" fmla="*/ 0 h 617"/>
                  <a:gd name="T14" fmla="*/ 599 w 621"/>
                  <a:gd name="T15" fmla="*/ 0 h 617"/>
                  <a:gd name="T16" fmla="*/ 341 w 621"/>
                  <a:gd name="T17" fmla="*/ 0 h 617"/>
                  <a:gd name="T18" fmla="*/ 318 w 621"/>
                  <a:gd name="T19" fmla="*/ 12 h 617"/>
                  <a:gd name="T20" fmla="*/ 16 w 621"/>
                  <a:gd name="T21" fmla="*/ 314 h 617"/>
                  <a:gd name="T22" fmla="*/ 16 w 621"/>
                  <a:gd name="T23" fmla="*/ 372 h 617"/>
                  <a:gd name="T24" fmla="*/ 248 w 621"/>
                  <a:gd name="T25" fmla="*/ 605 h 617"/>
                  <a:gd name="T26" fmla="*/ 277 w 621"/>
                  <a:gd name="T27" fmla="*/ 617 h 617"/>
                  <a:gd name="T28" fmla="*/ 306 w 621"/>
                  <a:gd name="T29" fmla="*/ 605 h 617"/>
                  <a:gd name="T30" fmla="*/ 608 w 621"/>
                  <a:gd name="T31" fmla="*/ 302 h 617"/>
                  <a:gd name="T32" fmla="*/ 621 w 621"/>
                  <a:gd name="T33" fmla="*/ 280 h 617"/>
                  <a:gd name="T34" fmla="*/ 621 w 621"/>
                  <a:gd name="T35" fmla="*/ 20 h 617"/>
                  <a:gd name="T36" fmla="*/ 601 w 621"/>
                  <a:gd name="T37" fmla="*/ 0 h 6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21" h="617">
                    <a:moveTo>
                      <a:pt x="537" y="117"/>
                    </a:moveTo>
                    <a:cubicBezTo>
                      <a:pt x="519" y="117"/>
                      <a:pt x="504" y="102"/>
                      <a:pt x="504" y="83"/>
                    </a:cubicBezTo>
                    <a:cubicBezTo>
                      <a:pt x="504" y="65"/>
                      <a:pt x="519" y="50"/>
                      <a:pt x="537" y="50"/>
                    </a:cubicBezTo>
                    <a:cubicBezTo>
                      <a:pt x="556" y="50"/>
                      <a:pt x="571" y="65"/>
                      <a:pt x="571" y="83"/>
                    </a:cubicBezTo>
                    <a:cubicBezTo>
                      <a:pt x="571" y="102"/>
                      <a:pt x="556" y="117"/>
                      <a:pt x="537" y="117"/>
                    </a:cubicBezTo>
                    <a:close/>
                    <a:moveTo>
                      <a:pt x="601" y="0"/>
                    </a:moveTo>
                    <a:lnTo>
                      <a:pt x="600" y="0"/>
                    </a:lnTo>
                    <a:cubicBezTo>
                      <a:pt x="600" y="0"/>
                      <a:pt x="600" y="0"/>
                      <a:pt x="599" y="0"/>
                    </a:cubicBezTo>
                    <a:lnTo>
                      <a:pt x="341" y="0"/>
                    </a:lnTo>
                    <a:cubicBezTo>
                      <a:pt x="334" y="0"/>
                      <a:pt x="320" y="10"/>
                      <a:pt x="318" y="12"/>
                    </a:cubicBezTo>
                    <a:lnTo>
                      <a:pt x="16" y="314"/>
                    </a:lnTo>
                    <a:cubicBezTo>
                      <a:pt x="0" y="330"/>
                      <a:pt x="0" y="356"/>
                      <a:pt x="16" y="372"/>
                    </a:cubicBezTo>
                    <a:lnTo>
                      <a:pt x="248" y="605"/>
                    </a:lnTo>
                    <a:cubicBezTo>
                      <a:pt x="256" y="613"/>
                      <a:pt x="267" y="617"/>
                      <a:pt x="277" y="617"/>
                    </a:cubicBezTo>
                    <a:cubicBezTo>
                      <a:pt x="288" y="617"/>
                      <a:pt x="298" y="613"/>
                      <a:pt x="306" y="605"/>
                    </a:cubicBezTo>
                    <a:lnTo>
                      <a:pt x="608" y="302"/>
                    </a:lnTo>
                    <a:cubicBezTo>
                      <a:pt x="610" y="300"/>
                      <a:pt x="621" y="288"/>
                      <a:pt x="621" y="280"/>
                    </a:cubicBezTo>
                    <a:lnTo>
                      <a:pt x="621" y="20"/>
                    </a:lnTo>
                    <a:cubicBezTo>
                      <a:pt x="621" y="9"/>
                      <a:pt x="613" y="0"/>
                      <a:pt x="601"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1" name="Shopping_Basket2" descr="{&quot;Key&quot;:&quot;POWER_USER_SHAPE_ICON&quot;,&quot;Value&quot;:&quot;POWER_USER_SHAPE_ICON_STYLE_1&quot;}">
                <a:extLst>
                  <a:ext uri="{FF2B5EF4-FFF2-40B4-BE49-F238E27FC236}">
                    <a16:creationId xmlns:a16="http://schemas.microsoft.com/office/drawing/2014/main" id="{9053FE46-EC25-4202-9B54-8FBF465297AC}"/>
                  </a:ext>
                </a:extLst>
              </p:cNvPr>
              <p:cNvSpPr>
                <a:spLocks noChangeAspect="1" noChangeArrowheads="1"/>
              </p:cNvSpPr>
              <p:nvPr>
                <p:custDataLst>
                  <p:tags r:id="rId27"/>
                </p:custDataLst>
              </p:nvPr>
            </p:nvSpPr>
            <p:spPr bwMode="auto">
              <a:xfrm>
                <a:off x="4994952" y="3802713"/>
                <a:ext cx="203458" cy="178796"/>
              </a:xfrm>
              <a:custGeom>
                <a:avLst/>
                <a:gdLst>
                  <a:gd name="T0" fmla="*/ 429 w 583"/>
                  <a:gd name="T1" fmla="*/ 183 h 512"/>
                  <a:gd name="T2" fmla="*/ 312 w 583"/>
                  <a:gd name="T3" fmla="*/ 10 h 512"/>
                  <a:gd name="T4" fmla="*/ 291 w 583"/>
                  <a:gd name="T5" fmla="*/ 0 h 512"/>
                  <a:gd name="T6" fmla="*/ 271 w 583"/>
                  <a:gd name="T7" fmla="*/ 10 h 512"/>
                  <a:gd name="T8" fmla="*/ 153 w 583"/>
                  <a:gd name="T9" fmla="*/ 183 h 512"/>
                  <a:gd name="T10" fmla="*/ 26 w 583"/>
                  <a:gd name="T11" fmla="*/ 183 h 512"/>
                  <a:gd name="T12" fmla="*/ 0 w 583"/>
                  <a:gd name="T13" fmla="*/ 214 h 512"/>
                  <a:gd name="T14" fmla="*/ 0 w 583"/>
                  <a:gd name="T15" fmla="*/ 219 h 512"/>
                  <a:gd name="T16" fmla="*/ 66 w 583"/>
                  <a:gd name="T17" fmla="*/ 470 h 512"/>
                  <a:gd name="T18" fmla="*/ 117 w 583"/>
                  <a:gd name="T19" fmla="*/ 511 h 512"/>
                  <a:gd name="T20" fmla="*/ 465 w 583"/>
                  <a:gd name="T21" fmla="*/ 511 h 512"/>
                  <a:gd name="T22" fmla="*/ 516 w 583"/>
                  <a:gd name="T23" fmla="*/ 470 h 512"/>
                  <a:gd name="T24" fmla="*/ 582 w 583"/>
                  <a:gd name="T25" fmla="*/ 219 h 512"/>
                  <a:gd name="T26" fmla="*/ 582 w 583"/>
                  <a:gd name="T27" fmla="*/ 214 h 512"/>
                  <a:gd name="T28" fmla="*/ 552 w 583"/>
                  <a:gd name="T29" fmla="*/ 183 h 512"/>
                  <a:gd name="T30" fmla="*/ 429 w 583"/>
                  <a:gd name="T31" fmla="*/ 183 h 512"/>
                  <a:gd name="T32" fmla="*/ 209 w 583"/>
                  <a:gd name="T33" fmla="*/ 183 h 512"/>
                  <a:gd name="T34" fmla="*/ 291 w 583"/>
                  <a:gd name="T35" fmla="*/ 66 h 512"/>
                  <a:gd name="T36" fmla="*/ 373 w 583"/>
                  <a:gd name="T37" fmla="*/ 183 h 512"/>
                  <a:gd name="T38" fmla="*/ 209 w 583"/>
                  <a:gd name="T39" fmla="*/ 183 h 512"/>
                  <a:gd name="T40" fmla="*/ 291 w 583"/>
                  <a:gd name="T41" fmla="*/ 398 h 512"/>
                  <a:gd name="T42" fmla="*/ 240 w 583"/>
                  <a:gd name="T43" fmla="*/ 347 h 512"/>
                  <a:gd name="T44" fmla="*/ 291 w 583"/>
                  <a:gd name="T45" fmla="*/ 291 h 512"/>
                  <a:gd name="T46" fmla="*/ 347 w 583"/>
                  <a:gd name="T47" fmla="*/ 347 h 512"/>
                  <a:gd name="T48" fmla="*/ 291 w 583"/>
                  <a:gd name="T49" fmla="*/ 39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83" h="512">
                    <a:moveTo>
                      <a:pt x="429" y="183"/>
                    </a:moveTo>
                    <a:lnTo>
                      <a:pt x="312" y="10"/>
                    </a:lnTo>
                    <a:cubicBezTo>
                      <a:pt x="307" y="5"/>
                      <a:pt x="299" y="0"/>
                      <a:pt x="291" y="0"/>
                    </a:cubicBezTo>
                    <a:cubicBezTo>
                      <a:pt x="284" y="0"/>
                      <a:pt x="276" y="0"/>
                      <a:pt x="271" y="10"/>
                    </a:cubicBezTo>
                    <a:lnTo>
                      <a:pt x="153" y="183"/>
                    </a:lnTo>
                    <a:lnTo>
                      <a:pt x="26" y="183"/>
                    </a:lnTo>
                    <a:cubicBezTo>
                      <a:pt x="10" y="183"/>
                      <a:pt x="0" y="194"/>
                      <a:pt x="0" y="214"/>
                    </a:cubicBezTo>
                    <a:lnTo>
                      <a:pt x="0" y="219"/>
                    </a:lnTo>
                    <a:lnTo>
                      <a:pt x="66" y="470"/>
                    </a:lnTo>
                    <a:cubicBezTo>
                      <a:pt x="72" y="490"/>
                      <a:pt x="92" y="511"/>
                      <a:pt x="117" y="511"/>
                    </a:cubicBezTo>
                    <a:lnTo>
                      <a:pt x="465" y="511"/>
                    </a:lnTo>
                    <a:cubicBezTo>
                      <a:pt x="485" y="511"/>
                      <a:pt x="506" y="490"/>
                      <a:pt x="516" y="470"/>
                    </a:cubicBezTo>
                    <a:lnTo>
                      <a:pt x="582" y="219"/>
                    </a:lnTo>
                    <a:lnTo>
                      <a:pt x="582" y="214"/>
                    </a:lnTo>
                    <a:cubicBezTo>
                      <a:pt x="582" y="194"/>
                      <a:pt x="572" y="183"/>
                      <a:pt x="552" y="183"/>
                    </a:cubicBezTo>
                    <a:lnTo>
                      <a:pt x="429" y="183"/>
                    </a:lnTo>
                    <a:close/>
                    <a:moveTo>
                      <a:pt x="209" y="183"/>
                    </a:moveTo>
                    <a:lnTo>
                      <a:pt x="291" y="66"/>
                    </a:lnTo>
                    <a:lnTo>
                      <a:pt x="373" y="183"/>
                    </a:lnTo>
                    <a:lnTo>
                      <a:pt x="209" y="183"/>
                    </a:lnTo>
                    <a:close/>
                    <a:moveTo>
                      <a:pt x="291" y="398"/>
                    </a:moveTo>
                    <a:cubicBezTo>
                      <a:pt x="261" y="398"/>
                      <a:pt x="240" y="375"/>
                      <a:pt x="240" y="347"/>
                    </a:cubicBezTo>
                    <a:cubicBezTo>
                      <a:pt x="240" y="319"/>
                      <a:pt x="261" y="291"/>
                      <a:pt x="291" y="291"/>
                    </a:cubicBezTo>
                    <a:cubicBezTo>
                      <a:pt x="322" y="291"/>
                      <a:pt x="347" y="319"/>
                      <a:pt x="347" y="347"/>
                    </a:cubicBezTo>
                    <a:cubicBezTo>
                      <a:pt x="347" y="375"/>
                      <a:pt x="322" y="398"/>
                      <a:pt x="291" y="398"/>
                    </a:cubicBezTo>
                    <a:close/>
                  </a:path>
                </a:pathLst>
              </a:custGeom>
              <a:solidFill>
                <a:schemeClr val="bg1"/>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grpSp>
        <p:nvGrpSpPr>
          <p:cNvPr id="222" name="Groep 221">
            <a:extLst>
              <a:ext uri="{FF2B5EF4-FFF2-40B4-BE49-F238E27FC236}">
                <a16:creationId xmlns:a16="http://schemas.microsoft.com/office/drawing/2014/main" id="{7D5694D6-C9DB-4BE4-8D03-DF02E7DC55F3}"/>
              </a:ext>
            </a:extLst>
          </p:cNvPr>
          <p:cNvGrpSpPr/>
          <p:nvPr/>
        </p:nvGrpSpPr>
        <p:grpSpPr>
          <a:xfrm>
            <a:off x="8779933" y="2246435"/>
            <a:ext cx="252000" cy="252000"/>
            <a:chOff x="8342489" y="1970656"/>
            <a:chExt cx="329184" cy="329184"/>
          </a:xfrm>
        </p:grpSpPr>
        <p:sp>
          <p:nvSpPr>
            <p:cNvPr id="223" name="Oval 53">
              <a:extLst>
                <a:ext uri="{FF2B5EF4-FFF2-40B4-BE49-F238E27FC236}">
                  <a16:creationId xmlns:a16="http://schemas.microsoft.com/office/drawing/2014/main" id="{4B83FBDC-9C18-44FA-8172-75033F6C7454}"/>
                </a:ext>
              </a:extLst>
            </p:cNvPr>
            <p:cNvSpPr/>
            <p:nvPr/>
          </p:nvSpPr>
          <p:spPr>
            <a:xfrm>
              <a:off x="8342489" y="1970656"/>
              <a:ext cx="329184" cy="329184"/>
            </a:xfrm>
            <a:prstGeom prst="ellipse">
              <a:avLst/>
            </a:prstGeom>
            <a:solidFill>
              <a:srgbClr val="62366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24" name="Shopping_cart" descr="{&quot;Key&quot;:&quot;POWER_USER_SHAPE_ICON&quot;,&quot;Value&quot;:&quot;POWER_USER_SHAPE_ICON_STYLE_1&quot;}">
              <a:extLst>
                <a:ext uri="{FF2B5EF4-FFF2-40B4-BE49-F238E27FC236}">
                  <a16:creationId xmlns:a16="http://schemas.microsoft.com/office/drawing/2014/main" id="{72AB469B-338E-43C8-9B73-D8B87BCA5F9B}"/>
                </a:ext>
              </a:extLst>
            </p:cNvPr>
            <p:cNvGrpSpPr>
              <a:grpSpLocks noChangeAspect="1"/>
            </p:cNvGrpSpPr>
            <p:nvPr>
              <p:custDataLst>
                <p:tags r:id="rId25"/>
              </p:custDataLst>
            </p:nvPr>
          </p:nvGrpSpPr>
          <p:grpSpPr>
            <a:xfrm>
              <a:off x="8380012" y="2028686"/>
              <a:ext cx="235088" cy="232174"/>
              <a:chOff x="4646614" y="2062164"/>
              <a:chExt cx="384175" cy="379413"/>
            </a:xfrm>
            <a:solidFill>
              <a:schemeClr val="bg1"/>
            </a:solidFill>
          </p:grpSpPr>
          <p:sp>
            <p:nvSpPr>
              <p:cNvPr id="225" name="Freeform 198">
                <a:extLst>
                  <a:ext uri="{FF2B5EF4-FFF2-40B4-BE49-F238E27FC236}">
                    <a16:creationId xmlns:a16="http://schemas.microsoft.com/office/drawing/2014/main" id="{AD77CA69-7937-49D0-A300-DB0F9BCDBFCD}"/>
                  </a:ext>
                </a:extLst>
              </p:cNvPr>
              <p:cNvSpPr>
                <a:spLocks noEditPoints="1"/>
              </p:cNvSpPr>
              <p:nvPr/>
            </p:nvSpPr>
            <p:spPr bwMode="auto">
              <a:xfrm>
                <a:off x="4773614" y="2386014"/>
                <a:ext cx="55563" cy="55563"/>
              </a:xfrm>
              <a:custGeom>
                <a:avLst/>
                <a:gdLst>
                  <a:gd name="T0" fmla="*/ 40 w 80"/>
                  <a:gd name="T1" fmla="*/ 55 h 80"/>
                  <a:gd name="T2" fmla="*/ 25 w 80"/>
                  <a:gd name="T3" fmla="*/ 40 h 80"/>
                  <a:gd name="T4" fmla="*/ 40 w 80"/>
                  <a:gd name="T5" fmla="*/ 25 h 80"/>
                  <a:gd name="T6" fmla="*/ 55 w 80"/>
                  <a:gd name="T7" fmla="*/ 40 h 80"/>
                  <a:gd name="T8" fmla="*/ 40 w 80"/>
                  <a:gd name="T9" fmla="*/ 55 h 80"/>
                  <a:gd name="T10" fmla="*/ 40 w 80"/>
                  <a:gd name="T11" fmla="*/ 0 h 80"/>
                  <a:gd name="T12" fmla="*/ 0 w 80"/>
                  <a:gd name="T13" fmla="*/ 40 h 80"/>
                  <a:gd name="T14" fmla="*/ 40 w 80"/>
                  <a:gd name="T15" fmla="*/ 80 h 80"/>
                  <a:gd name="T16" fmla="*/ 80 w 80"/>
                  <a:gd name="T17" fmla="*/ 40 h 80"/>
                  <a:gd name="T18" fmla="*/ 40 w 80"/>
                  <a:gd name="T19"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0" h="80">
                    <a:moveTo>
                      <a:pt x="40" y="55"/>
                    </a:moveTo>
                    <a:cubicBezTo>
                      <a:pt x="32" y="55"/>
                      <a:pt x="25" y="48"/>
                      <a:pt x="25" y="40"/>
                    </a:cubicBezTo>
                    <a:cubicBezTo>
                      <a:pt x="25" y="32"/>
                      <a:pt x="32" y="25"/>
                      <a:pt x="40" y="25"/>
                    </a:cubicBezTo>
                    <a:cubicBezTo>
                      <a:pt x="48" y="25"/>
                      <a:pt x="55" y="32"/>
                      <a:pt x="55" y="40"/>
                    </a:cubicBezTo>
                    <a:cubicBezTo>
                      <a:pt x="55" y="48"/>
                      <a:pt x="48" y="55"/>
                      <a:pt x="40" y="55"/>
                    </a:cubicBezTo>
                    <a:close/>
                    <a:moveTo>
                      <a:pt x="40" y="0"/>
                    </a:moveTo>
                    <a:cubicBezTo>
                      <a:pt x="18" y="0"/>
                      <a:pt x="0" y="18"/>
                      <a:pt x="0" y="40"/>
                    </a:cubicBezTo>
                    <a:cubicBezTo>
                      <a:pt x="0" y="62"/>
                      <a:pt x="18" y="80"/>
                      <a:pt x="40" y="80"/>
                    </a:cubicBezTo>
                    <a:cubicBezTo>
                      <a:pt x="62" y="80"/>
                      <a:pt x="80" y="62"/>
                      <a:pt x="80" y="40"/>
                    </a:cubicBezTo>
                    <a:cubicBezTo>
                      <a:pt x="80" y="18"/>
                      <a:pt x="62" y="0"/>
                      <a:pt x="40"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6" name="Freeform 199">
                <a:extLst>
                  <a:ext uri="{FF2B5EF4-FFF2-40B4-BE49-F238E27FC236}">
                    <a16:creationId xmlns:a16="http://schemas.microsoft.com/office/drawing/2014/main" id="{022294FA-67CC-497A-951E-1AD0FF911C30}"/>
                  </a:ext>
                </a:extLst>
              </p:cNvPr>
              <p:cNvSpPr>
                <a:spLocks noEditPoints="1"/>
              </p:cNvSpPr>
              <p:nvPr/>
            </p:nvSpPr>
            <p:spPr bwMode="auto">
              <a:xfrm>
                <a:off x="4929189" y="2386014"/>
                <a:ext cx="55563" cy="55563"/>
              </a:xfrm>
              <a:custGeom>
                <a:avLst/>
                <a:gdLst>
                  <a:gd name="T0" fmla="*/ 40 w 80"/>
                  <a:gd name="T1" fmla="*/ 55 h 80"/>
                  <a:gd name="T2" fmla="*/ 25 w 80"/>
                  <a:gd name="T3" fmla="*/ 40 h 80"/>
                  <a:gd name="T4" fmla="*/ 40 w 80"/>
                  <a:gd name="T5" fmla="*/ 25 h 80"/>
                  <a:gd name="T6" fmla="*/ 55 w 80"/>
                  <a:gd name="T7" fmla="*/ 40 h 80"/>
                  <a:gd name="T8" fmla="*/ 40 w 80"/>
                  <a:gd name="T9" fmla="*/ 55 h 80"/>
                  <a:gd name="T10" fmla="*/ 40 w 80"/>
                  <a:gd name="T11" fmla="*/ 0 h 80"/>
                  <a:gd name="T12" fmla="*/ 0 w 80"/>
                  <a:gd name="T13" fmla="*/ 40 h 80"/>
                  <a:gd name="T14" fmla="*/ 40 w 80"/>
                  <a:gd name="T15" fmla="*/ 80 h 80"/>
                  <a:gd name="T16" fmla="*/ 80 w 80"/>
                  <a:gd name="T17" fmla="*/ 40 h 80"/>
                  <a:gd name="T18" fmla="*/ 40 w 80"/>
                  <a:gd name="T19"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0" h="80">
                    <a:moveTo>
                      <a:pt x="40" y="55"/>
                    </a:moveTo>
                    <a:cubicBezTo>
                      <a:pt x="32" y="55"/>
                      <a:pt x="25" y="48"/>
                      <a:pt x="25" y="40"/>
                    </a:cubicBezTo>
                    <a:cubicBezTo>
                      <a:pt x="25" y="32"/>
                      <a:pt x="32" y="25"/>
                      <a:pt x="40" y="25"/>
                    </a:cubicBezTo>
                    <a:cubicBezTo>
                      <a:pt x="48" y="25"/>
                      <a:pt x="55" y="32"/>
                      <a:pt x="55" y="40"/>
                    </a:cubicBezTo>
                    <a:cubicBezTo>
                      <a:pt x="55" y="48"/>
                      <a:pt x="48" y="55"/>
                      <a:pt x="40" y="55"/>
                    </a:cubicBezTo>
                    <a:close/>
                    <a:moveTo>
                      <a:pt x="40" y="0"/>
                    </a:moveTo>
                    <a:cubicBezTo>
                      <a:pt x="18" y="0"/>
                      <a:pt x="0" y="18"/>
                      <a:pt x="0" y="40"/>
                    </a:cubicBezTo>
                    <a:cubicBezTo>
                      <a:pt x="0" y="62"/>
                      <a:pt x="18" y="80"/>
                      <a:pt x="40" y="80"/>
                    </a:cubicBezTo>
                    <a:cubicBezTo>
                      <a:pt x="62" y="80"/>
                      <a:pt x="80" y="62"/>
                      <a:pt x="80" y="40"/>
                    </a:cubicBezTo>
                    <a:cubicBezTo>
                      <a:pt x="80" y="18"/>
                      <a:pt x="62" y="0"/>
                      <a:pt x="40"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7" name="Freeform 200">
                <a:extLst>
                  <a:ext uri="{FF2B5EF4-FFF2-40B4-BE49-F238E27FC236}">
                    <a16:creationId xmlns:a16="http://schemas.microsoft.com/office/drawing/2014/main" id="{FC3217B5-4E5D-4EB7-9871-EB0C40FBEF6D}"/>
                  </a:ext>
                </a:extLst>
              </p:cNvPr>
              <p:cNvSpPr>
                <a:spLocks noEditPoints="1"/>
              </p:cNvSpPr>
              <p:nvPr/>
            </p:nvSpPr>
            <p:spPr bwMode="auto">
              <a:xfrm>
                <a:off x="4646614" y="2062164"/>
                <a:ext cx="384175" cy="311150"/>
              </a:xfrm>
              <a:custGeom>
                <a:avLst/>
                <a:gdLst>
                  <a:gd name="T0" fmla="*/ 465 w 554"/>
                  <a:gd name="T1" fmla="*/ 168 h 450"/>
                  <a:gd name="T2" fmla="*/ 530 w 554"/>
                  <a:gd name="T3" fmla="*/ 88 h 450"/>
                  <a:gd name="T4" fmla="*/ 483 w 554"/>
                  <a:gd name="T5" fmla="*/ 257 h 450"/>
                  <a:gd name="T6" fmla="*/ 447 w 554"/>
                  <a:gd name="T7" fmla="*/ 273 h 450"/>
                  <a:gd name="T8" fmla="*/ 505 w 554"/>
                  <a:gd name="T9" fmla="*/ 177 h 450"/>
                  <a:gd name="T10" fmla="*/ 432 w 554"/>
                  <a:gd name="T11" fmla="*/ 273 h 450"/>
                  <a:gd name="T12" fmla="*/ 407 w 554"/>
                  <a:gd name="T13" fmla="*/ 177 h 450"/>
                  <a:gd name="T14" fmla="*/ 432 w 554"/>
                  <a:gd name="T15" fmla="*/ 273 h 450"/>
                  <a:gd name="T16" fmla="*/ 352 w 554"/>
                  <a:gd name="T17" fmla="*/ 88 h 450"/>
                  <a:gd name="T18" fmla="*/ 393 w 554"/>
                  <a:gd name="T19" fmla="*/ 168 h 450"/>
                  <a:gd name="T20" fmla="*/ 383 w 554"/>
                  <a:gd name="T21" fmla="*/ 273 h 450"/>
                  <a:gd name="T22" fmla="*/ 352 w 554"/>
                  <a:gd name="T23" fmla="*/ 177 h 450"/>
                  <a:gd name="T24" fmla="*/ 383 w 554"/>
                  <a:gd name="T25" fmla="*/ 273 h 450"/>
                  <a:gd name="T26" fmla="*/ 297 w 554"/>
                  <a:gd name="T27" fmla="*/ 168 h 450"/>
                  <a:gd name="T28" fmla="*/ 337 w 554"/>
                  <a:gd name="T29" fmla="*/ 88 h 450"/>
                  <a:gd name="T30" fmla="*/ 337 w 554"/>
                  <a:gd name="T31" fmla="*/ 273 h 450"/>
                  <a:gd name="T32" fmla="*/ 298 w 554"/>
                  <a:gd name="T33" fmla="*/ 177 h 450"/>
                  <a:gd name="T34" fmla="*/ 337 w 554"/>
                  <a:gd name="T35" fmla="*/ 273 h 450"/>
                  <a:gd name="T36" fmla="*/ 242 w 554"/>
                  <a:gd name="T37" fmla="*/ 177 h 450"/>
                  <a:gd name="T38" fmla="*/ 292 w 554"/>
                  <a:gd name="T39" fmla="*/ 273 h 450"/>
                  <a:gd name="T40" fmla="*/ 210 w 554"/>
                  <a:gd name="T41" fmla="*/ 273 h 450"/>
                  <a:gd name="T42" fmla="*/ 227 w 554"/>
                  <a:gd name="T43" fmla="*/ 177 h 450"/>
                  <a:gd name="T44" fmla="*/ 210 w 554"/>
                  <a:gd name="T45" fmla="*/ 273 h 450"/>
                  <a:gd name="T46" fmla="*/ 157 w 554"/>
                  <a:gd name="T47" fmla="*/ 268 h 450"/>
                  <a:gd name="T48" fmla="*/ 173 w 554"/>
                  <a:gd name="T49" fmla="*/ 177 h 450"/>
                  <a:gd name="T50" fmla="*/ 170 w 554"/>
                  <a:gd name="T51" fmla="*/ 273 h 450"/>
                  <a:gd name="T52" fmla="*/ 106 w 554"/>
                  <a:gd name="T53" fmla="*/ 88 h 450"/>
                  <a:gd name="T54" fmla="*/ 171 w 554"/>
                  <a:gd name="T55" fmla="*/ 168 h 450"/>
                  <a:gd name="T56" fmla="*/ 126 w 554"/>
                  <a:gd name="T57" fmla="*/ 156 h 450"/>
                  <a:gd name="T58" fmla="*/ 225 w 554"/>
                  <a:gd name="T59" fmla="*/ 168 h 450"/>
                  <a:gd name="T60" fmla="*/ 168 w 554"/>
                  <a:gd name="T61" fmla="*/ 88 h 450"/>
                  <a:gd name="T62" fmla="*/ 274 w 554"/>
                  <a:gd name="T63" fmla="*/ 88 h 450"/>
                  <a:gd name="T64" fmla="*/ 241 w 554"/>
                  <a:gd name="T65" fmla="*/ 168 h 450"/>
                  <a:gd name="T66" fmla="*/ 274 w 554"/>
                  <a:gd name="T67" fmla="*/ 88 h 450"/>
                  <a:gd name="T68" fmla="*/ 462 w 554"/>
                  <a:gd name="T69" fmla="*/ 88 h 450"/>
                  <a:gd name="T70" fmla="*/ 408 w 554"/>
                  <a:gd name="T71" fmla="*/ 168 h 450"/>
                  <a:gd name="T72" fmla="*/ 24 w 554"/>
                  <a:gd name="T73" fmla="*/ 29 h 450"/>
                  <a:gd name="T74" fmla="*/ 19 w 554"/>
                  <a:gd name="T75" fmla="*/ 13 h 450"/>
                  <a:gd name="T76" fmla="*/ 24 w 554"/>
                  <a:gd name="T77" fmla="*/ 29 h 450"/>
                  <a:gd name="T78" fmla="*/ 110 w 554"/>
                  <a:gd name="T79" fmla="*/ 63 h 450"/>
                  <a:gd name="T80" fmla="*/ 91 w 554"/>
                  <a:gd name="T81" fmla="*/ 34 h 450"/>
                  <a:gd name="T82" fmla="*/ 39 w 554"/>
                  <a:gd name="T83" fmla="*/ 12 h 450"/>
                  <a:gd name="T84" fmla="*/ 3 w 554"/>
                  <a:gd name="T85" fmla="*/ 27 h 450"/>
                  <a:gd name="T86" fmla="*/ 38 w 554"/>
                  <a:gd name="T87" fmla="*/ 31 h 450"/>
                  <a:gd name="T88" fmla="*/ 67 w 554"/>
                  <a:gd name="T89" fmla="*/ 40 h 450"/>
                  <a:gd name="T90" fmla="*/ 209 w 554"/>
                  <a:gd name="T91" fmla="*/ 450 h 450"/>
                  <a:gd name="T92" fmla="*/ 496 w 554"/>
                  <a:gd name="T93" fmla="*/ 437 h 450"/>
                  <a:gd name="T94" fmla="*/ 212 w 554"/>
                  <a:gd name="T95" fmla="*/ 420 h 450"/>
                  <a:gd name="T96" fmla="*/ 168 w 554"/>
                  <a:gd name="T97" fmla="*/ 309 h 450"/>
                  <a:gd name="T98" fmla="*/ 451 w 554"/>
                  <a:gd name="T99" fmla="*/ 314 h 450"/>
                  <a:gd name="T100" fmla="*/ 552 w 554"/>
                  <a:gd name="T101" fmla="*/ 88 h 4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54" h="450">
                    <a:moveTo>
                      <a:pt x="508" y="168"/>
                    </a:moveTo>
                    <a:lnTo>
                      <a:pt x="465" y="168"/>
                    </a:lnTo>
                    <a:lnTo>
                      <a:pt x="478" y="88"/>
                    </a:lnTo>
                    <a:lnTo>
                      <a:pt x="530" y="88"/>
                    </a:lnTo>
                    <a:lnTo>
                      <a:pt x="508" y="168"/>
                    </a:lnTo>
                    <a:close/>
                    <a:moveTo>
                      <a:pt x="483" y="257"/>
                    </a:moveTo>
                    <a:cubicBezTo>
                      <a:pt x="480" y="265"/>
                      <a:pt x="471" y="273"/>
                      <a:pt x="462" y="273"/>
                    </a:cubicBezTo>
                    <a:lnTo>
                      <a:pt x="447" y="273"/>
                    </a:lnTo>
                    <a:lnTo>
                      <a:pt x="463" y="177"/>
                    </a:lnTo>
                    <a:lnTo>
                      <a:pt x="505" y="177"/>
                    </a:lnTo>
                    <a:lnTo>
                      <a:pt x="483" y="257"/>
                    </a:lnTo>
                    <a:close/>
                    <a:moveTo>
                      <a:pt x="432" y="273"/>
                    </a:moveTo>
                    <a:lnTo>
                      <a:pt x="398" y="273"/>
                    </a:lnTo>
                    <a:lnTo>
                      <a:pt x="407" y="177"/>
                    </a:lnTo>
                    <a:lnTo>
                      <a:pt x="447" y="177"/>
                    </a:lnTo>
                    <a:lnTo>
                      <a:pt x="432" y="273"/>
                    </a:lnTo>
                    <a:close/>
                    <a:moveTo>
                      <a:pt x="352" y="168"/>
                    </a:moveTo>
                    <a:lnTo>
                      <a:pt x="352" y="88"/>
                    </a:lnTo>
                    <a:lnTo>
                      <a:pt x="401" y="88"/>
                    </a:lnTo>
                    <a:lnTo>
                      <a:pt x="393" y="168"/>
                    </a:lnTo>
                    <a:lnTo>
                      <a:pt x="352" y="168"/>
                    </a:lnTo>
                    <a:close/>
                    <a:moveTo>
                      <a:pt x="383" y="273"/>
                    </a:moveTo>
                    <a:lnTo>
                      <a:pt x="352" y="273"/>
                    </a:lnTo>
                    <a:lnTo>
                      <a:pt x="352" y="177"/>
                    </a:lnTo>
                    <a:lnTo>
                      <a:pt x="392" y="177"/>
                    </a:lnTo>
                    <a:lnTo>
                      <a:pt x="383" y="273"/>
                    </a:lnTo>
                    <a:close/>
                    <a:moveTo>
                      <a:pt x="337" y="168"/>
                    </a:moveTo>
                    <a:lnTo>
                      <a:pt x="297" y="168"/>
                    </a:lnTo>
                    <a:lnTo>
                      <a:pt x="289" y="88"/>
                    </a:lnTo>
                    <a:lnTo>
                      <a:pt x="337" y="88"/>
                    </a:lnTo>
                    <a:lnTo>
                      <a:pt x="337" y="168"/>
                    </a:lnTo>
                    <a:close/>
                    <a:moveTo>
                      <a:pt x="337" y="273"/>
                    </a:moveTo>
                    <a:lnTo>
                      <a:pt x="307" y="273"/>
                    </a:lnTo>
                    <a:lnTo>
                      <a:pt x="298" y="177"/>
                    </a:lnTo>
                    <a:lnTo>
                      <a:pt x="337" y="177"/>
                    </a:lnTo>
                    <a:lnTo>
                      <a:pt x="337" y="273"/>
                    </a:lnTo>
                    <a:close/>
                    <a:moveTo>
                      <a:pt x="258" y="273"/>
                    </a:moveTo>
                    <a:lnTo>
                      <a:pt x="242" y="177"/>
                    </a:lnTo>
                    <a:lnTo>
                      <a:pt x="282" y="177"/>
                    </a:lnTo>
                    <a:lnTo>
                      <a:pt x="292" y="273"/>
                    </a:lnTo>
                    <a:lnTo>
                      <a:pt x="258" y="273"/>
                    </a:lnTo>
                    <a:close/>
                    <a:moveTo>
                      <a:pt x="210" y="273"/>
                    </a:moveTo>
                    <a:lnTo>
                      <a:pt x="188" y="177"/>
                    </a:lnTo>
                    <a:lnTo>
                      <a:pt x="227" y="177"/>
                    </a:lnTo>
                    <a:lnTo>
                      <a:pt x="242" y="273"/>
                    </a:lnTo>
                    <a:lnTo>
                      <a:pt x="210" y="273"/>
                    </a:lnTo>
                    <a:close/>
                    <a:moveTo>
                      <a:pt x="170" y="273"/>
                    </a:moveTo>
                    <a:cubicBezTo>
                      <a:pt x="165" y="273"/>
                      <a:pt x="161" y="271"/>
                      <a:pt x="157" y="268"/>
                    </a:cubicBezTo>
                    <a:cubicBezTo>
                      <a:pt x="150" y="244"/>
                      <a:pt x="141" y="211"/>
                      <a:pt x="131" y="177"/>
                    </a:cubicBezTo>
                    <a:lnTo>
                      <a:pt x="173" y="177"/>
                    </a:lnTo>
                    <a:lnTo>
                      <a:pt x="194" y="273"/>
                    </a:lnTo>
                    <a:lnTo>
                      <a:pt x="170" y="273"/>
                    </a:lnTo>
                    <a:close/>
                    <a:moveTo>
                      <a:pt x="126" y="156"/>
                    </a:moveTo>
                    <a:cubicBezTo>
                      <a:pt x="119" y="133"/>
                      <a:pt x="112" y="109"/>
                      <a:pt x="106" y="88"/>
                    </a:cubicBezTo>
                    <a:lnTo>
                      <a:pt x="153" y="88"/>
                    </a:lnTo>
                    <a:lnTo>
                      <a:pt x="171" y="168"/>
                    </a:lnTo>
                    <a:lnTo>
                      <a:pt x="129" y="168"/>
                    </a:lnTo>
                    <a:cubicBezTo>
                      <a:pt x="128" y="164"/>
                      <a:pt x="127" y="160"/>
                      <a:pt x="126" y="156"/>
                    </a:cubicBezTo>
                    <a:close/>
                    <a:moveTo>
                      <a:pt x="212" y="88"/>
                    </a:moveTo>
                    <a:lnTo>
                      <a:pt x="225" y="168"/>
                    </a:lnTo>
                    <a:lnTo>
                      <a:pt x="186" y="168"/>
                    </a:lnTo>
                    <a:lnTo>
                      <a:pt x="168" y="88"/>
                    </a:lnTo>
                    <a:lnTo>
                      <a:pt x="212" y="88"/>
                    </a:lnTo>
                    <a:close/>
                    <a:moveTo>
                      <a:pt x="274" y="88"/>
                    </a:moveTo>
                    <a:lnTo>
                      <a:pt x="281" y="168"/>
                    </a:lnTo>
                    <a:lnTo>
                      <a:pt x="241" y="168"/>
                    </a:lnTo>
                    <a:lnTo>
                      <a:pt x="228" y="88"/>
                    </a:lnTo>
                    <a:lnTo>
                      <a:pt x="274" y="88"/>
                    </a:lnTo>
                    <a:close/>
                    <a:moveTo>
                      <a:pt x="416" y="88"/>
                    </a:moveTo>
                    <a:lnTo>
                      <a:pt x="462" y="88"/>
                    </a:lnTo>
                    <a:lnTo>
                      <a:pt x="449" y="168"/>
                    </a:lnTo>
                    <a:lnTo>
                      <a:pt x="408" y="168"/>
                    </a:lnTo>
                    <a:lnTo>
                      <a:pt x="416" y="88"/>
                    </a:lnTo>
                    <a:close/>
                    <a:moveTo>
                      <a:pt x="24" y="29"/>
                    </a:moveTo>
                    <a:cubicBezTo>
                      <a:pt x="19" y="31"/>
                      <a:pt x="15" y="28"/>
                      <a:pt x="13" y="24"/>
                    </a:cubicBezTo>
                    <a:cubicBezTo>
                      <a:pt x="12" y="19"/>
                      <a:pt x="14" y="14"/>
                      <a:pt x="19" y="13"/>
                    </a:cubicBezTo>
                    <a:cubicBezTo>
                      <a:pt x="24" y="12"/>
                      <a:pt x="28" y="14"/>
                      <a:pt x="30" y="19"/>
                    </a:cubicBezTo>
                    <a:cubicBezTo>
                      <a:pt x="31" y="23"/>
                      <a:pt x="29" y="28"/>
                      <a:pt x="24" y="29"/>
                    </a:cubicBezTo>
                    <a:close/>
                    <a:moveTo>
                      <a:pt x="533" y="63"/>
                    </a:moveTo>
                    <a:lnTo>
                      <a:pt x="110" y="63"/>
                    </a:lnTo>
                    <a:cubicBezTo>
                      <a:pt x="106" y="63"/>
                      <a:pt x="103" y="63"/>
                      <a:pt x="100" y="65"/>
                    </a:cubicBezTo>
                    <a:cubicBezTo>
                      <a:pt x="99" y="61"/>
                      <a:pt x="94" y="44"/>
                      <a:pt x="91" y="34"/>
                    </a:cubicBezTo>
                    <a:cubicBezTo>
                      <a:pt x="88" y="22"/>
                      <a:pt x="79" y="12"/>
                      <a:pt x="64" y="12"/>
                    </a:cubicBezTo>
                    <a:cubicBezTo>
                      <a:pt x="61" y="12"/>
                      <a:pt x="40" y="12"/>
                      <a:pt x="39" y="12"/>
                    </a:cubicBezTo>
                    <a:cubicBezTo>
                      <a:pt x="34" y="4"/>
                      <a:pt x="25" y="0"/>
                      <a:pt x="16" y="2"/>
                    </a:cubicBezTo>
                    <a:cubicBezTo>
                      <a:pt x="5" y="6"/>
                      <a:pt x="0" y="16"/>
                      <a:pt x="3" y="27"/>
                    </a:cubicBezTo>
                    <a:cubicBezTo>
                      <a:pt x="6" y="37"/>
                      <a:pt x="17" y="43"/>
                      <a:pt x="27" y="40"/>
                    </a:cubicBezTo>
                    <a:cubicBezTo>
                      <a:pt x="32" y="39"/>
                      <a:pt x="36" y="35"/>
                      <a:pt x="38" y="31"/>
                    </a:cubicBezTo>
                    <a:cubicBezTo>
                      <a:pt x="40" y="31"/>
                      <a:pt x="52" y="31"/>
                      <a:pt x="54" y="31"/>
                    </a:cubicBezTo>
                    <a:cubicBezTo>
                      <a:pt x="63" y="31"/>
                      <a:pt x="65" y="33"/>
                      <a:pt x="67" y="40"/>
                    </a:cubicBezTo>
                    <a:cubicBezTo>
                      <a:pt x="73" y="61"/>
                      <a:pt x="165" y="388"/>
                      <a:pt x="171" y="409"/>
                    </a:cubicBezTo>
                    <a:cubicBezTo>
                      <a:pt x="180" y="439"/>
                      <a:pt x="194" y="450"/>
                      <a:pt x="209" y="450"/>
                    </a:cubicBezTo>
                    <a:lnTo>
                      <a:pt x="483" y="450"/>
                    </a:lnTo>
                    <a:cubicBezTo>
                      <a:pt x="492" y="450"/>
                      <a:pt x="496" y="441"/>
                      <a:pt x="496" y="437"/>
                    </a:cubicBezTo>
                    <a:cubicBezTo>
                      <a:pt x="498" y="423"/>
                      <a:pt x="486" y="420"/>
                      <a:pt x="480" y="420"/>
                    </a:cubicBezTo>
                    <a:lnTo>
                      <a:pt x="212" y="420"/>
                    </a:lnTo>
                    <a:cubicBezTo>
                      <a:pt x="205" y="420"/>
                      <a:pt x="198" y="415"/>
                      <a:pt x="196" y="408"/>
                    </a:cubicBezTo>
                    <a:cubicBezTo>
                      <a:pt x="195" y="404"/>
                      <a:pt x="170" y="315"/>
                      <a:pt x="168" y="309"/>
                    </a:cubicBezTo>
                    <a:cubicBezTo>
                      <a:pt x="174" y="315"/>
                      <a:pt x="179" y="314"/>
                      <a:pt x="182" y="314"/>
                    </a:cubicBezTo>
                    <a:lnTo>
                      <a:pt x="451" y="314"/>
                    </a:lnTo>
                    <a:cubicBezTo>
                      <a:pt x="486" y="314"/>
                      <a:pt x="500" y="272"/>
                      <a:pt x="503" y="259"/>
                    </a:cubicBezTo>
                    <a:lnTo>
                      <a:pt x="552" y="88"/>
                    </a:lnTo>
                    <a:cubicBezTo>
                      <a:pt x="554" y="81"/>
                      <a:pt x="552" y="63"/>
                      <a:pt x="533" y="63"/>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grpSp>
        <p:nvGrpSpPr>
          <p:cNvPr id="228" name="Groep 227">
            <a:extLst>
              <a:ext uri="{FF2B5EF4-FFF2-40B4-BE49-F238E27FC236}">
                <a16:creationId xmlns:a16="http://schemas.microsoft.com/office/drawing/2014/main" id="{028C20E6-4151-44D2-9A58-B00BE79DF17F}"/>
              </a:ext>
            </a:extLst>
          </p:cNvPr>
          <p:cNvGrpSpPr/>
          <p:nvPr/>
        </p:nvGrpSpPr>
        <p:grpSpPr>
          <a:xfrm>
            <a:off x="7115262" y="4460365"/>
            <a:ext cx="252000" cy="252000"/>
            <a:chOff x="8342489" y="1970656"/>
            <a:chExt cx="329184" cy="329184"/>
          </a:xfrm>
        </p:grpSpPr>
        <p:sp>
          <p:nvSpPr>
            <p:cNvPr id="229" name="Oval 53">
              <a:extLst>
                <a:ext uri="{FF2B5EF4-FFF2-40B4-BE49-F238E27FC236}">
                  <a16:creationId xmlns:a16="http://schemas.microsoft.com/office/drawing/2014/main" id="{9F96828D-03C0-4F3C-8B27-1E1B4DAB069D}"/>
                </a:ext>
              </a:extLst>
            </p:cNvPr>
            <p:cNvSpPr/>
            <p:nvPr/>
          </p:nvSpPr>
          <p:spPr>
            <a:xfrm>
              <a:off x="8342489" y="1970656"/>
              <a:ext cx="329184" cy="329184"/>
            </a:xfrm>
            <a:prstGeom prst="ellipse">
              <a:avLst/>
            </a:prstGeom>
            <a:solidFill>
              <a:srgbClr val="62366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30" name="Shopping_cart" descr="{&quot;Key&quot;:&quot;POWER_USER_SHAPE_ICON&quot;,&quot;Value&quot;:&quot;POWER_USER_SHAPE_ICON_STYLE_1&quot;}">
              <a:extLst>
                <a:ext uri="{FF2B5EF4-FFF2-40B4-BE49-F238E27FC236}">
                  <a16:creationId xmlns:a16="http://schemas.microsoft.com/office/drawing/2014/main" id="{455A2C9F-9DE8-426E-A897-5941CAC8926F}"/>
                </a:ext>
              </a:extLst>
            </p:cNvPr>
            <p:cNvGrpSpPr>
              <a:grpSpLocks noChangeAspect="1"/>
            </p:cNvGrpSpPr>
            <p:nvPr>
              <p:custDataLst>
                <p:tags r:id="rId24"/>
              </p:custDataLst>
            </p:nvPr>
          </p:nvGrpSpPr>
          <p:grpSpPr>
            <a:xfrm>
              <a:off x="8380012" y="2028686"/>
              <a:ext cx="235088" cy="232174"/>
              <a:chOff x="4646614" y="2062164"/>
              <a:chExt cx="384175" cy="379413"/>
            </a:xfrm>
            <a:solidFill>
              <a:schemeClr val="bg1"/>
            </a:solidFill>
          </p:grpSpPr>
          <p:sp>
            <p:nvSpPr>
              <p:cNvPr id="231" name="Freeform 198">
                <a:extLst>
                  <a:ext uri="{FF2B5EF4-FFF2-40B4-BE49-F238E27FC236}">
                    <a16:creationId xmlns:a16="http://schemas.microsoft.com/office/drawing/2014/main" id="{37E7AE35-B6C3-4266-B965-FDCE306CC2CA}"/>
                  </a:ext>
                </a:extLst>
              </p:cNvPr>
              <p:cNvSpPr>
                <a:spLocks noEditPoints="1"/>
              </p:cNvSpPr>
              <p:nvPr/>
            </p:nvSpPr>
            <p:spPr bwMode="auto">
              <a:xfrm>
                <a:off x="4773614" y="2386014"/>
                <a:ext cx="55563" cy="55563"/>
              </a:xfrm>
              <a:custGeom>
                <a:avLst/>
                <a:gdLst>
                  <a:gd name="T0" fmla="*/ 40 w 80"/>
                  <a:gd name="T1" fmla="*/ 55 h 80"/>
                  <a:gd name="T2" fmla="*/ 25 w 80"/>
                  <a:gd name="T3" fmla="*/ 40 h 80"/>
                  <a:gd name="T4" fmla="*/ 40 w 80"/>
                  <a:gd name="T5" fmla="*/ 25 h 80"/>
                  <a:gd name="T6" fmla="*/ 55 w 80"/>
                  <a:gd name="T7" fmla="*/ 40 h 80"/>
                  <a:gd name="T8" fmla="*/ 40 w 80"/>
                  <a:gd name="T9" fmla="*/ 55 h 80"/>
                  <a:gd name="T10" fmla="*/ 40 w 80"/>
                  <a:gd name="T11" fmla="*/ 0 h 80"/>
                  <a:gd name="T12" fmla="*/ 0 w 80"/>
                  <a:gd name="T13" fmla="*/ 40 h 80"/>
                  <a:gd name="T14" fmla="*/ 40 w 80"/>
                  <a:gd name="T15" fmla="*/ 80 h 80"/>
                  <a:gd name="T16" fmla="*/ 80 w 80"/>
                  <a:gd name="T17" fmla="*/ 40 h 80"/>
                  <a:gd name="T18" fmla="*/ 40 w 80"/>
                  <a:gd name="T19"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0" h="80">
                    <a:moveTo>
                      <a:pt x="40" y="55"/>
                    </a:moveTo>
                    <a:cubicBezTo>
                      <a:pt x="32" y="55"/>
                      <a:pt x="25" y="48"/>
                      <a:pt x="25" y="40"/>
                    </a:cubicBezTo>
                    <a:cubicBezTo>
                      <a:pt x="25" y="32"/>
                      <a:pt x="32" y="25"/>
                      <a:pt x="40" y="25"/>
                    </a:cubicBezTo>
                    <a:cubicBezTo>
                      <a:pt x="48" y="25"/>
                      <a:pt x="55" y="32"/>
                      <a:pt x="55" y="40"/>
                    </a:cubicBezTo>
                    <a:cubicBezTo>
                      <a:pt x="55" y="48"/>
                      <a:pt x="48" y="55"/>
                      <a:pt x="40" y="55"/>
                    </a:cubicBezTo>
                    <a:close/>
                    <a:moveTo>
                      <a:pt x="40" y="0"/>
                    </a:moveTo>
                    <a:cubicBezTo>
                      <a:pt x="18" y="0"/>
                      <a:pt x="0" y="18"/>
                      <a:pt x="0" y="40"/>
                    </a:cubicBezTo>
                    <a:cubicBezTo>
                      <a:pt x="0" y="62"/>
                      <a:pt x="18" y="80"/>
                      <a:pt x="40" y="80"/>
                    </a:cubicBezTo>
                    <a:cubicBezTo>
                      <a:pt x="62" y="80"/>
                      <a:pt x="80" y="62"/>
                      <a:pt x="80" y="40"/>
                    </a:cubicBezTo>
                    <a:cubicBezTo>
                      <a:pt x="80" y="18"/>
                      <a:pt x="62" y="0"/>
                      <a:pt x="40"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2" name="Freeform 199">
                <a:extLst>
                  <a:ext uri="{FF2B5EF4-FFF2-40B4-BE49-F238E27FC236}">
                    <a16:creationId xmlns:a16="http://schemas.microsoft.com/office/drawing/2014/main" id="{F245CB02-AB65-4D49-A2BA-5F364DE1B89C}"/>
                  </a:ext>
                </a:extLst>
              </p:cNvPr>
              <p:cNvSpPr>
                <a:spLocks noEditPoints="1"/>
              </p:cNvSpPr>
              <p:nvPr/>
            </p:nvSpPr>
            <p:spPr bwMode="auto">
              <a:xfrm>
                <a:off x="4929189" y="2386014"/>
                <a:ext cx="55563" cy="55563"/>
              </a:xfrm>
              <a:custGeom>
                <a:avLst/>
                <a:gdLst>
                  <a:gd name="T0" fmla="*/ 40 w 80"/>
                  <a:gd name="T1" fmla="*/ 55 h 80"/>
                  <a:gd name="T2" fmla="*/ 25 w 80"/>
                  <a:gd name="T3" fmla="*/ 40 h 80"/>
                  <a:gd name="T4" fmla="*/ 40 w 80"/>
                  <a:gd name="T5" fmla="*/ 25 h 80"/>
                  <a:gd name="T6" fmla="*/ 55 w 80"/>
                  <a:gd name="T7" fmla="*/ 40 h 80"/>
                  <a:gd name="T8" fmla="*/ 40 w 80"/>
                  <a:gd name="T9" fmla="*/ 55 h 80"/>
                  <a:gd name="T10" fmla="*/ 40 w 80"/>
                  <a:gd name="T11" fmla="*/ 0 h 80"/>
                  <a:gd name="T12" fmla="*/ 0 w 80"/>
                  <a:gd name="T13" fmla="*/ 40 h 80"/>
                  <a:gd name="T14" fmla="*/ 40 w 80"/>
                  <a:gd name="T15" fmla="*/ 80 h 80"/>
                  <a:gd name="T16" fmla="*/ 80 w 80"/>
                  <a:gd name="T17" fmla="*/ 40 h 80"/>
                  <a:gd name="T18" fmla="*/ 40 w 80"/>
                  <a:gd name="T19"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0" h="80">
                    <a:moveTo>
                      <a:pt x="40" y="55"/>
                    </a:moveTo>
                    <a:cubicBezTo>
                      <a:pt x="32" y="55"/>
                      <a:pt x="25" y="48"/>
                      <a:pt x="25" y="40"/>
                    </a:cubicBezTo>
                    <a:cubicBezTo>
                      <a:pt x="25" y="32"/>
                      <a:pt x="32" y="25"/>
                      <a:pt x="40" y="25"/>
                    </a:cubicBezTo>
                    <a:cubicBezTo>
                      <a:pt x="48" y="25"/>
                      <a:pt x="55" y="32"/>
                      <a:pt x="55" y="40"/>
                    </a:cubicBezTo>
                    <a:cubicBezTo>
                      <a:pt x="55" y="48"/>
                      <a:pt x="48" y="55"/>
                      <a:pt x="40" y="55"/>
                    </a:cubicBezTo>
                    <a:close/>
                    <a:moveTo>
                      <a:pt x="40" y="0"/>
                    </a:moveTo>
                    <a:cubicBezTo>
                      <a:pt x="18" y="0"/>
                      <a:pt x="0" y="18"/>
                      <a:pt x="0" y="40"/>
                    </a:cubicBezTo>
                    <a:cubicBezTo>
                      <a:pt x="0" y="62"/>
                      <a:pt x="18" y="80"/>
                      <a:pt x="40" y="80"/>
                    </a:cubicBezTo>
                    <a:cubicBezTo>
                      <a:pt x="62" y="80"/>
                      <a:pt x="80" y="62"/>
                      <a:pt x="80" y="40"/>
                    </a:cubicBezTo>
                    <a:cubicBezTo>
                      <a:pt x="80" y="18"/>
                      <a:pt x="62" y="0"/>
                      <a:pt x="40"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3" name="Freeform 200">
                <a:extLst>
                  <a:ext uri="{FF2B5EF4-FFF2-40B4-BE49-F238E27FC236}">
                    <a16:creationId xmlns:a16="http://schemas.microsoft.com/office/drawing/2014/main" id="{0BD8B8C9-1FC0-47FC-B681-085F63B719C0}"/>
                  </a:ext>
                </a:extLst>
              </p:cNvPr>
              <p:cNvSpPr>
                <a:spLocks noEditPoints="1"/>
              </p:cNvSpPr>
              <p:nvPr/>
            </p:nvSpPr>
            <p:spPr bwMode="auto">
              <a:xfrm>
                <a:off x="4646614" y="2062164"/>
                <a:ext cx="384175" cy="311150"/>
              </a:xfrm>
              <a:custGeom>
                <a:avLst/>
                <a:gdLst>
                  <a:gd name="T0" fmla="*/ 465 w 554"/>
                  <a:gd name="T1" fmla="*/ 168 h 450"/>
                  <a:gd name="T2" fmla="*/ 530 w 554"/>
                  <a:gd name="T3" fmla="*/ 88 h 450"/>
                  <a:gd name="T4" fmla="*/ 483 w 554"/>
                  <a:gd name="T5" fmla="*/ 257 h 450"/>
                  <a:gd name="T6" fmla="*/ 447 w 554"/>
                  <a:gd name="T7" fmla="*/ 273 h 450"/>
                  <a:gd name="T8" fmla="*/ 505 w 554"/>
                  <a:gd name="T9" fmla="*/ 177 h 450"/>
                  <a:gd name="T10" fmla="*/ 432 w 554"/>
                  <a:gd name="T11" fmla="*/ 273 h 450"/>
                  <a:gd name="T12" fmla="*/ 407 w 554"/>
                  <a:gd name="T13" fmla="*/ 177 h 450"/>
                  <a:gd name="T14" fmla="*/ 432 w 554"/>
                  <a:gd name="T15" fmla="*/ 273 h 450"/>
                  <a:gd name="T16" fmla="*/ 352 w 554"/>
                  <a:gd name="T17" fmla="*/ 88 h 450"/>
                  <a:gd name="T18" fmla="*/ 393 w 554"/>
                  <a:gd name="T19" fmla="*/ 168 h 450"/>
                  <a:gd name="T20" fmla="*/ 383 w 554"/>
                  <a:gd name="T21" fmla="*/ 273 h 450"/>
                  <a:gd name="T22" fmla="*/ 352 w 554"/>
                  <a:gd name="T23" fmla="*/ 177 h 450"/>
                  <a:gd name="T24" fmla="*/ 383 w 554"/>
                  <a:gd name="T25" fmla="*/ 273 h 450"/>
                  <a:gd name="T26" fmla="*/ 297 w 554"/>
                  <a:gd name="T27" fmla="*/ 168 h 450"/>
                  <a:gd name="T28" fmla="*/ 337 w 554"/>
                  <a:gd name="T29" fmla="*/ 88 h 450"/>
                  <a:gd name="T30" fmla="*/ 337 w 554"/>
                  <a:gd name="T31" fmla="*/ 273 h 450"/>
                  <a:gd name="T32" fmla="*/ 298 w 554"/>
                  <a:gd name="T33" fmla="*/ 177 h 450"/>
                  <a:gd name="T34" fmla="*/ 337 w 554"/>
                  <a:gd name="T35" fmla="*/ 273 h 450"/>
                  <a:gd name="T36" fmla="*/ 242 w 554"/>
                  <a:gd name="T37" fmla="*/ 177 h 450"/>
                  <a:gd name="T38" fmla="*/ 292 w 554"/>
                  <a:gd name="T39" fmla="*/ 273 h 450"/>
                  <a:gd name="T40" fmla="*/ 210 w 554"/>
                  <a:gd name="T41" fmla="*/ 273 h 450"/>
                  <a:gd name="T42" fmla="*/ 227 w 554"/>
                  <a:gd name="T43" fmla="*/ 177 h 450"/>
                  <a:gd name="T44" fmla="*/ 210 w 554"/>
                  <a:gd name="T45" fmla="*/ 273 h 450"/>
                  <a:gd name="T46" fmla="*/ 157 w 554"/>
                  <a:gd name="T47" fmla="*/ 268 h 450"/>
                  <a:gd name="T48" fmla="*/ 173 w 554"/>
                  <a:gd name="T49" fmla="*/ 177 h 450"/>
                  <a:gd name="T50" fmla="*/ 170 w 554"/>
                  <a:gd name="T51" fmla="*/ 273 h 450"/>
                  <a:gd name="T52" fmla="*/ 106 w 554"/>
                  <a:gd name="T53" fmla="*/ 88 h 450"/>
                  <a:gd name="T54" fmla="*/ 171 w 554"/>
                  <a:gd name="T55" fmla="*/ 168 h 450"/>
                  <a:gd name="T56" fmla="*/ 126 w 554"/>
                  <a:gd name="T57" fmla="*/ 156 h 450"/>
                  <a:gd name="T58" fmla="*/ 225 w 554"/>
                  <a:gd name="T59" fmla="*/ 168 h 450"/>
                  <a:gd name="T60" fmla="*/ 168 w 554"/>
                  <a:gd name="T61" fmla="*/ 88 h 450"/>
                  <a:gd name="T62" fmla="*/ 274 w 554"/>
                  <a:gd name="T63" fmla="*/ 88 h 450"/>
                  <a:gd name="T64" fmla="*/ 241 w 554"/>
                  <a:gd name="T65" fmla="*/ 168 h 450"/>
                  <a:gd name="T66" fmla="*/ 274 w 554"/>
                  <a:gd name="T67" fmla="*/ 88 h 450"/>
                  <a:gd name="T68" fmla="*/ 462 w 554"/>
                  <a:gd name="T69" fmla="*/ 88 h 450"/>
                  <a:gd name="T70" fmla="*/ 408 w 554"/>
                  <a:gd name="T71" fmla="*/ 168 h 450"/>
                  <a:gd name="T72" fmla="*/ 24 w 554"/>
                  <a:gd name="T73" fmla="*/ 29 h 450"/>
                  <a:gd name="T74" fmla="*/ 19 w 554"/>
                  <a:gd name="T75" fmla="*/ 13 h 450"/>
                  <a:gd name="T76" fmla="*/ 24 w 554"/>
                  <a:gd name="T77" fmla="*/ 29 h 450"/>
                  <a:gd name="T78" fmla="*/ 110 w 554"/>
                  <a:gd name="T79" fmla="*/ 63 h 450"/>
                  <a:gd name="T80" fmla="*/ 91 w 554"/>
                  <a:gd name="T81" fmla="*/ 34 h 450"/>
                  <a:gd name="T82" fmla="*/ 39 w 554"/>
                  <a:gd name="T83" fmla="*/ 12 h 450"/>
                  <a:gd name="T84" fmla="*/ 3 w 554"/>
                  <a:gd name="T85" fmla="*/ 27 h 450"/>
                  <a:gd name="T86" fmla="*/ 38 w 554"/>
                  <a:gd name="T87" fmla="*/ 31 h 450"/>
                  <a:gd name="T88" fmla="*/ 67 w 554"/>
                  <a:gd name="T89" fmla="*/ 40 h 450"/>
                  <a:gd name="T90" fmla="*/ 209 w 554"/>
                  <a:gd name="T91" fmla="*/ 450 h 450"/>
                  <a:gd name="T92" fmla="*/ 496 w 554"/>
                  <a:gd name="T93" fmla="*/ 437 h 450"/>
                  <a:gd name="T94" fmla="*/ 212 w 554"/>
                  <a:gd name="T95" fmla="*/ 420 h 450"/>
                  <a:gd name="T96" fmla="*/ 168 w 554"/>
                  <a:gd name="T97" fmla="*/ 309 h 450"/>
                  <a:gd name="T98" fmla="*/ 451 w 554"/>
                  <a:gd name="T99" fmla="*/ 314 h 450"/>
                  <a:gd name="T100" fmla="*/ 552 w 554"/>
                  <a:gd name="T101" fmla="*/ 88 h 4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54" h="450">
                    <a:moveTo>
                      <a:pt x="508" y="168"/>
                    </a:moveTo>
                    <a:lnTo>
                      <a:pt x="465" y="168"/>
                    </a:lnTo>
                    <a:lnTo>
                      <a:pt x="478" y="88"/>
                    </a:lnTo>
                    <a:lnTo>
                      <a:pt x="530" y="88"/>
                    </a:lnTo>
                    <a:lnTo>
                      <a:pt x="508" y="168"/>
                    </a:lnTo>
                    <a:close/>
                    <a:moveTo>
                      <a:pt x="483" y="257"/>
                    </a:moveTo>
                    <a:cubicBezTo>
                      <a:pt x="480" y="265"/>
                      <a:pt x="471" y="273"/>
                      <a:pt x="462" y="273"/>
                    </a:cubicBezTo>
                    <a:lnTo>
                      <a:pt x="447" y="273"/>
                    </a:lnTo>
                    <a:lnTo>
                      <a:pt x="463" y="177"/>
                    </a:lnTo>
                    <a:lnTo>
                      <a:pt x="505" y="177"/>
                    </a:lnTo>
                    <a:lnTo>
                      <a:pt x="483" y="257"/>
                    </a:lnTo>
                    <a:close/>
                    <a:moveTo>
                      <a:pt x="432" y="273"/>
                    </a:moveTo>
                    <a:lnTo>
                      <a:pt x="398" y="273"/>
                    </a:lnTo>
                    <a:lnTo>
                      <a:pt x="407" y="177"/>
                    </a:lnTo>
                    <a:lnTo>
                      <a:pt x="447" y="177"/>
                    </a:lnTo>
                    <a:lnTo>
                      <a:pt x="432" y="273"/>
                    </a:lnTo>
                    <a:close/>
                    <a:moveTo>
                      <a:pt x="352" y="168"/>
                    </a:moveTo>
                    <a:lnTo>
                      <a:pt x="352" y="88"/>
                    </a:lnTo>
                    <a:lnTo>
                      <a:pt x="401" y="88"/>
                    </a:lnTo>
                    <a:lnTo>
                      <a:pt x="393" y="168"/>
                    </a:lnTo>
                    <a:lnTo>
                      <a:pt x="352" y="168"/>
                    </a:lnTo>
                    <a:close/>
                    <a:moveTo>
                      <a:pt x="383" y="273"/>
                    </a:moveTo>
                    <a:lnTo>
                      <a:pt x="352" y="273"/>
                    </a:lnTo>
                    <a:lnTo>
                      <a:pt x="352" y="177"/>
                    </a:lnTo>
                    <a:lnTo>
                      <a:pt x="392" y="177"/>
                    </a:lnTo>
                    <a:lnTo>
                      <a:pt x="383" y="273"/>
                    </a:lnTo>
                    <a:close/>
                    <a:moveTo>
                      <a:pt x="337" y="168"/>
                    </a:moveTo>
                    <a:lnTo>
                      <a:pt x="297" y="168"/>
                    </a:lnTo>
                    <a:lnTo>
                      <a:pt x="289" y="88"/>
                    </a:lnTo>
                    <a:lnTo>
                      <a:pt x="337" y="88"/>
                    </a:lnTo>
                    <a:lnTo>
                      <a:pt x="337" y="168"/>
                    </a:lnTo>
                    <a:close/>
                    <a:moveTo>
                      <a:pt x="337" y="273"/>
                    </a:moveTo>
                    <a:lnTo>
                      <a:pt x="307" y="273"/>
                    </a:lnTo>
                    <a:lnTo>
                      <a:pt x="298" y="177"/>
                    </a:lnTo>
                    <a:lnTo>
                      <a:pt x="337" y="177"/>
                    </a:lnTo>
                    <a:lnTo>
                      <a:pt x="337" y="273"/>
                    </a:lnTo>
                    <a:close/>
                    <a:moveTo>
                      <a:pt x="258" y="273"/>
                    </a:moveTo>
                    <a:lnTo>
                      <a:pt x="242" y="177"/>
                    </a:lnTo>
                    <a:lnTo>
                      <a:pt x="282" y="177"/>
                    </a:lnTo>
                    <a:lnTo>
                      <a:pt x="292" y="273"/>
                    </a:lnTo>
                    <a:lnTo>
                      <a:pt x="258" y="273"/>
                    </a:lnTo>
                    <a:close/>
                    <a:moveTo>
                      <a:pt x="210" y="273"/>
                    </a:moveTo>
                    <a:lnTo>
                      <a:pt x="188" y="177"/>
                    </a:lnTo>
                    <a:lnTo>
                      <a:pt x="227" y="177"/>
                    </a:lnTo>
                    <a:lnTo>
                      <a:pt x="242" y="273"/>
                    </a:lnTo>
                    <a:lnTo>
                      <a:pt x="210" y="273"/>
                    </a:lnTo>
                    <a:close/>
                    <a:moveTo>
                      <a:pt x="170" y="273"/>
                    </a:moveTo>
                    <a:cubicBezTo>
                      <a:pt x="165" y="273"/>
                      <a:pt x="161" y="271"/>
                      <a:pt x="157" y="268"/>
                    </a:cubicBezTo>
                    <a:cubicBezTo>
                      <a:pt x="150" y="244"/>
                      <a:pt x="141" y="211"/>
                      <a:pt x="131" y="177"/>
                    </a:cubicBezTo>
                    <a:lnTo>
                      <a:pt x="173" y="177"/>
                    </a:lnTo>
                    <a:lnTo>
                      <a:pt x="194" y="273"/>
                    </a:lnTo>
                    <a:lnTo>
                      <a:pt x="170" y="273"/>
                    </a:lnTo>
                    <a:close/>
                    <a:moveTo>
                      <a:pt x="126" y="156"/>
                    </a:moveTo>
                    <a:cubicBezTo>
                      <a:pt x="119" y="133"/>
                      <a:pt x="112" y="109"/>
                      <a:pt x="106" y="88"/>
                    </a:cubicBezTo>
                    <a:lnTo>
                      <a:pt x="153" y="88"/>
                    </a:lnTo>
                    <a:lnTo>
                      <a:pt x="171" y="168"/>
                    </a:lnTo>
                    <a:lnTo>
                      <a:pt x="129" y="168"/>
                    </a:lnTo>
                    <a:cubicBezTo>
                      <a:pt x="128" y="164"/>
                      <a:pt x="127" y="160"/>
                      <a:pt x="126" y="156"/>
                    </a:cubicBezTo>
                    <a:close/>
                    <a:moveTo>
                      <a:pt x="212" y="88"/>
                    </a:moveTo>
                    <a:lnTo>
                      <a:pt x="225" y="168"/>
                    </a:lnTo>
                    <a:lnTo>
                      <a:pt x="186" y="168"/>
                    </a:lnTo>
                    <a:lnTo>
                      <a:pt x="168" y="88"/>
                    </a:lnTo>
                    <a:lnTo>
                      <a:pt x="212" y="88"/>
                    </a:lnTo>
                    <a:close/>
                    <a:moveTo>
                      <a:pt x="274" y="88"/>
                    </a:moveTo>
                    <a:lnTo>
                      <a:pt x="281" y="168"/>
                    </a:lnTo>
                    <a:lnTo>
                      <a:pt x="241" y="168"/>
                    </a:lnTo>
                    <a:lnTo>
                      <a:pt x="228" y="88"/>
                    </a:lnTo>
                    <a:lnTo>
                      <a:pt x="274" y="88"/>
                    </a:lnTo>
                    <a:close/>
                    <a:moveTo>
                      <a:pt x="416" y="88"/>
                    </a:moveTo>
                    <a:lnTo>
                      <a:pt x="462" y="88"/>
                    </a:lnTo>
                    <a:lnTo>
                      <a:pt x="449" y="168"/>
                    </a:lnTo>
                    <a:lnTo>
                      <a:pt x="408" y="168"/>
                    </a:lnTo>
                    <a:lnTo>
                      <a:pt x="416" y="88"/>
                    </a:lnTo>
                    <a:close/>
                    <a:moveTo>
                      <a:pt x="24" y="29"/>
                    </a:moveTo>
                    <a:cubicBezTo>
                      <a:pt x="19" y="31"/>
                      <a:pt x="15" y="28"/>
                      <a:pt x="13" y="24"/>
                    </a:cubicBezTo>
                    <a:cubicBezTo>
                      <a:pt x="12" y="19"/>
                      <a:pt x="14" y="14"/>
                      <a:pt x="19" y="13"/>
                    </a:cubicBezTo>
                    <a:cubicBezTo>
                      <a:pt x="24" y="12"/>
                      <a:pt x="28" y="14"/>
                      <a:pt x="30" y="19"/>
                    </a:cubicBezTo>
                    <a:cubicBezTo>
                      <a:pt x="31" y="23"/>
                      <a:pt x="29" y="28"/>
                      <a:pt x="24" y="29"/>
                    </a:cubicBezTo>
                    <a:close/>
                    <a:moveTo>
                      <a:pt x="533" y="63"/>
                    </a:moveTo>
                    <a:lnTo>
                      <a:pt x="110" y="63"/>
                    </a:lnTo>
                    <a:cubicBezTo>
                      <a:pt x="106" y="63"/>
                      <a:pt x="103" y="63"/>
                      <a:pt x="100" y="65"/>
                    </a:cubicBezTo>
                    <a:cubicBezTo>
                      <a:pt x="99" y="61"/>
                      <a:pt x="94" y="44"/>
                      <a:pt x="91" y="34"/>
                    </a:cubicBezTo>
                    <a:cubicBezTo>
                      <a:pt x="88" y="22"/>
                      <a:pt x="79" y="12"/>
                      <a:pt x="64" y="12"/>
                    </a:cubicBezTo>
                    <a:cubicBezTo>
                      <a:pt x="61" y="12"/>
                      <a:pt x="40" y="12"/>
                      <a:pt x="39" y="12"/>
                    </a:cubicBezTo>
                    <a:cubicBezTo>
                      <a:pt x="34" y="4"/>
                      <a:pt x="25" y="0"/>
                      <a:pt x="16" y="2"/>
                    </a:cubicBezTo>
                    <a:cubicBezTo>
                      <a:pt x="5" y="6"/>
                      <a:pt x="0" y="16"/>
                      <a:pt x="3" y="27"/>
                    </a:cubicBezTo>
                    <a:cubicBezTo>
                      <a:pt x="6" y="37"/>
                      <a:pt x="17" y="43"/>
                      <a:pt x="27" y="40"/>
                    </a:cubicBezTo>
                    <a:cubicBezTo>
                      <a:pt x="32" y="39"/>
                      <a:pt x="36" y="35"/>
                      <a:pt x="38" y="31"/>
                    </a:cubicBezTo>
                    <a:cubicBezTo>
                      <a:pt x="40" y="31"/>
                      <a:pt x="52" y="31"/>
                      <a:pt x="54" y="31"/>
                    </a:cubicBezTo>
                    <a:cubicBezTo>
                      <a:pt x="63" y="31"/>
                      <a:pt x="65" y="33"/>
                      <a:pt x="67" y="40"/>
                    </a:cubicBezTo>
                    <a:cubicBezTo>
                      <a:pt x="73" y="61"/>
                      <a:pt x="165" y="388"/>
                      <a:pt x="171" y="409"/>
                    </a:cubicBezTo>
                    <a:cubicBezTo>
                      <a:pt x="180" y="439"/>
                      <a:pt x="194" y="450"/>
                      <a:pt x="209" y="450"/>
                    </a:cubicBezTo>
                    <a:lnTo>
                      <a:pt x="483" y="450"/>
                    </a:lnTo>
                    <a:cubicBezTo>
                      <a:pt x="492" y="450"/>
                      <a:pt x="496" y="441"/>
                      <a:pt x="496" y="437"/>
                    </a:cubicBezTo>
                    <a:cubicBezTo>
                      <a:pt x="498" y="423"/>
                      <a:pt x="486" y="420"/>
                      <a:pt x="480" y="420"/>
                    </a:cubicBezTo>
                    <a:lnTo>
                      <a:pt x="212" y="420"/>
                    </a:lnTo>
                    <a:cubicBezTo>
                      <a:pt x="205" y="420"/>
                      <a:pt x="198" y="415"/>
                      <a:pt x="196" y="408"/>
                    </a:cubicBezTo>
                    <a:cubicBezTo>
                      <a:pt x="195" y="404"/>
                      <a:pt x="170" y="315"/>
                      <a:pt x="168" y="309"/>
                    </a:cubicBezTo>
                    <a:cubicBezTo>
                      <a:pt x="174" y="315"/>
                      <a:pt x="179" y="314"/>
                      <a:pt x="182" y="314"/>
                    </a:cubicBezTo>
                    <a:lnTo>
                      <a:pt x="451" y="314"/>
                    </a:lnTo>
                    <a:cubicBezTo>
                      <a:pt x="486" y="314"/>
                      <a:pt x="500" y="272"/>
                      <a:pt x="503" y="259"/>
                    </a:cubicBezTo>
                    <a:lnTo>
                      <a:pt x="552" y="88"/>
                    </a:lnTo>
                    <a:cubicBezTo>
                      <a:pt x="554" y="81"/>
                      <a:pt x="552" y="63"/>
                      <a:pt x="533" y="63"/>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grpSp>
        <p:nvGrpSpPr>
          <p:cNvPr id="237" name="Groep 236">
            <a:extLst>
              <a:ext uri="{FF2B5EF4-FFF2-40B4-BE49-F238E27FC236}">
                <a16:creationId xmlns:a16="http://schemas.microsoft.com/office/drawing/2014/main" id="{FAE4936E-BF9B-4211-954A-F634DCC5500A}"/>
              </a:ext>
            </a:extLst>
          </p:cNvPr>
          <p:cNvGrpSpPr/>
          <p:nvPr/>
        </p:nvGrpSpPr>
        <p:grpSpPr>
          <a:xfrm>
            <a:off x="10118795" y="2461894"/>
            <a:ext cx="288000" cy="288000"/>
            <a:chOff x="9659317" y="2318319"/>
            <a:chExt cx="329184" cy="329184"/>
          </a:xfrm>
        </p:grpSpPr>
        <p:sp>
          <p:nvSpPr>
            <p:cNvPr id="249" name="Oval 165">
              <a:extLst>
                <a:ext uri="{FF2B5EF4-FFF2-40B4-BE49-F238E27FC236}">
                  <a16:creationId xmlns:a16="http://schemas.microsoft.com/office/drawing/2014/main" id="{5EEA372C-BCDD-4BB2-BC88-7C727615CD77}"/>
                </a:ext>
              </a:extLst>
            </p:cNvPr>
            <p:cNvSpPr/>
            <p:nvPr/>
          </p:nvSpPr>
          <p:spPr>
            <a:xfrm>
              <a:off x="9659317" y="2318319"/>
              <a:ext cx="329184" cy="329184"/>
            </a:xfrm>
            <a:prstGeom prst="ellipse">
              <a:avLst/>
            </a:prstGeom>
            <a:solidFill>
              <a:schemeClr val="accen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0" name="Fast_food2" descr="{&quot;Key&quot;:&quot;POWER_USER_SHAPE_ICON&quot;,&quot;Value&quot;:&quot;POWER_USER_SHAPE_ICON_STYLE_1&quot;}">
              <a:extLst>
                <a:ext uri="{FF2B5EF4-FFF2-40B4-BE49-F238E27FC236}">
                  <a16:creationId xmlns:a16="http://schemas.microsoft.com/office/drawing/2014/main" id="{7C174038-B2F4-475D-A21D-D894720924B1}"/>
                </a:ext>
              </a:extLst>
            </p:cNvPr>
            <p:cNvSpPr>
              <a:spLocks noChangeAspect="1" noEditPoints="1"/>
            </p:cNvSpPr>
            <p:nvPr/>
          </p:nvSpPr>
          <p:spPr bwMode="auto">
            <a:xfrm>
              <a:off x="9730597" y="2330158"/>
              <a:ext cx="180926" cy="251669"/>
            </a:xfrm>
            <a:custGeom>
              <a:avLst/>
              <a:gdLst>
                <a:gd name="T0" fmla="*/ 1247 w 1250"/>
                <a:gd name="T1" fmla="*/ 292 h 1099"/>
                <a:gd name="T2" fmla="*/ 1145 w 1250"/>
                <a:gd name="T3" fmla="*/ 1099 h 1099"/>
                <a:gd name="T4" fmla="*/ 799 w 1250"/>
                <a:gd name="T5" fmla="*/ 1099 h 1099"/>
                <a:gd name="T6" fmla="*/ 697 w 1250"/>
                <a:gd name="T7" fmla="*/ 292 h 1099"/>
                <a:gd name="T8" fmla="*/ 1119 w 1250"/>
                <a:gd name="T9" fmla="*/ 292 h 1099"/>
                <a:gd name="T10" fmla="*/ 1203 w 1250"/>
                <a:gd name="T11" fmla="*/ 0 h 1099"/>
                <a:gd name="T12" fmla="*/ 1250 w 1250"/>
                <a:gd name="T13" fmla="*/ 13 h 1099"/>
                <a:gd name="T14" fmla="*/ 1170 w 1250"/>
                <a:gd name="T15" fmla="*/ 292 h 1099"/>
                <a:gd name="T16" fmla="*/ 1247 w 1250"/>
                <a:gd name="T17" fmla="*/ 292 h 1099"/>
                <a:gd name="T18" fmla="*/ 648 w 1250"/>
                <a:gd name="T19" fmla="*/ 762 h 1099"/>
                <a:gd name="T20" fmla="*/ 481 w 1250"/>
                <a:gd name="T21" fmla="*/ 644 h 1099"/>
                <a:gd name="T22" fmla="*/ 195 w 1250"/>
                <a:gd name="T23" fmla="*/ 644 h 1099"/>
                <a:gd name="T24" fmla="*/ 29 w 1250"/>
                <a:gd name="T25" fmla="*/ 762 h 1099"/>
                <a:gd name="T26" fmla="*/ 648 w 1250"/>
                <a:gd name="T27" fmla="*/ 762 h 1099"/>
                <a:gd name="T28" fmla="*/ 29 w 1250"/>
                <a:gd name="T29" fmla="*/ 981 h 1099"/>
                <a:gd name="T30" fmla="*/ 195 w 1250"/>
                <a:gd name="T31" fmla="*/ 1099 h 1099"/>
                <a:gd name="T32" fmla="*/ 481 w 1250"/>
                <a:gd name="T33" fmla="*/ 1099 h 1099"/>
                <a:gd name="T34" fmla="*/ 648 w 1250"/>
                <a:gd name="T35" fmla="*/ 981 h 1099"/>
                <a:gd name="T36" fmla="*/ 29 w 1250"/>
                <a:gd name="T37" fmla="*/ 981 h 1099"/>
                <a:gd name="T38" fmla="*/ 621 w 1250"/>
                <a:gd name="T39" fmla="*/ 924 h 1099"/>
                <a:gd name="T40" fmla="*/ 674 w 1250"/>
                <a:gd name="T41" fmla="*/ 871 h 1099"/>
                <a:gd name="T42" fmla="*/ 621 w 1250"/>
                <a:gd name="T43" fmla="*/ 818 h 1099"/>
                <a:gd name="T44" fmla="*/ 53 w 1250"/>
                <a:gd name="T45" fmla="*/ 818 h 1099"/>
                <a:gd name="T46" fmla="*/ 0 w 1250"/>
                <a:gd name="T47" fmla="*/ 871 h 1099"/>
                <a:gd name="T48" fmla="*/ 53 w 1250"/>
                <a:gd name="T49" fmla="*/ 924 h 1099"/>
                <a:gd name="T50" fmla="*/ 621 w 1250"/>
                <a:gd name="T51" fmla="*/ 924 h 10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50" h="1099">
                  <a:moveTo>
                    <a:pt x="1247" y="292"/>
                  </a:moveTo>
                  <a:lnTo>
                    <a:pt x="1145" y="1099"/>
                  </a:lnTo>
                  <a:lnTo>
                    <a:pt x="799" y="1099"/>
                  </a:lnTo>
                  <a:lnTo>
                    <a:pt x="697" y="292"/>
                  </a:lnTo>
                  <a:lnTo>
                    <a:pt x="1119" y="292"/>
                  </a:lnTo>
                  <a:lnTo>
                    <a:pt x="1203" y="0"/>
                  </a:lnTo>
                  <a:lnTo>
                    <a:pt x="1250" y="13"/>
                  </a:lnTo>
                  <a:lnTo>
                    <a:pt x="1170" y="292"/>
                  </a:lnTo>
                  <a:lnTo>
                    <a:pt x="1247" y="292"/>
                  </a:lnTo>
                  <a:close/>
                  <a:moveTo>
                    <a:pt x="648" y="762"/>
                  </a:moveTo>
                  <a:cubicBezTo>
                    <a:pt x="648" y="762"/>
                    <a:pt x="661" y="644"/>
                    <a:pt x="481" y="644"/>
                  </a:cubicBezTo>
                  <a:lnTo>
                    <a:pt x="195" y="644"/>
                  </a:lnTo>
                  <a:cubicBezTo>
                    <a:pt x="16" y="644"/>
                    <a:pt x="29" y="762"/>
                    <a:pt x="29" y="762"/>
                  </a:cubicBezTo>
                  <a:lnTo>
                    <a:pt x="648" y="762"/>
                  </a:lnTo>
                  <a:close/>
                  <a:moveTo>
                    <a:pt x="29" y="981"/>
                  </a:moveTo>
                  <a:cubicBezTo>
                    <a:pt x="29" y="981"/>
                    <a:pt x="16" y="1099"/>
                    <a:pt x="195" y="1099"/>
                  </a:cubicBezTo>
                  <a:lnTo>
                    <a:pt x="481" y="1099"/>
                  </a:lnTo>
                  <a:cubicBezTo>
                    <a:pt x="661" y="1099"/>
                    <a:pt x="648" y="981"/>
                    <a:pt x="648" y="981"/>
                  </a:cubicBezTo>
                  <a:lnTo>
                    <a:pt x="29" y="981"/>
                  </a:lnTo>
                  <a:close/>
                  <a:moveTo>
                    <a:pt x="621" y="924"/>
                  </a:moveTo>
                  <a:cubicBezTo>
                    <a:pt x="650" y="924"/>
                    <a:pt x="674" y="900"/>
                    <a:pt x="674" y="871"/>
                  </a:cubicBezTo>
                  <a:cubicBezTo>
                    <a:pt x="674" y="842"/>
                    <a:pt x="650" y="818"/>
                    <a:pt x="621" y="818"/>
                  </a:cubicBezTo>
                  <a:lnTo>
                    <a:pt x="53" y="818"/>
                  </a:lnTo>
                  <a:cubicBezTo>
                    <a:pt x="24" y="818"/>
                    <a:pt x="0" y="842"/>
                    <a:pt x="0" y="871"/>
                  </a:cubicBezTo>
                  <a:cubicBezTo>
                    <a:pt x="0" y="900"/>
                    <a:pt x="24" y="924"/>
                    <a:pt x="53" y="924"/>
                  </a:cubicBezTo>
                  <a:lnTo>
                    <a:pt x="621" y="924"/>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254" name="Groep 253">
            <a:extLst>
              <a:ext uri="{FF2B5EF4-FFF2-40B4-BE49-F238E27FC236}">
                <a16:creationId xmlns:a16="http://schemas.microsoft.com/office/drawing/2014/main" id="{171725E5-BF54-408F-94D2-7726440974FE}"/>
              </a:ext>
            </a:extLst>
          </p:cNvPr>
          <p:cNvGrpSpPr/>
          <p:nvPr/>
        </p:nvGrpSpPr>
        <p:grpSpPr>
          <a:xfrm>
            <a:off x="10246155" y="2033315"/>
            <a:ext cx="288000" cy="288000"/>
            <a:chOff x="2750554" y="409060"/>
            <a:chExt cx="329184" cy="329184"/>
          </a:xfrm>
        </p:grpSpPr>
        <p:sp>
          <p:nvSpPr>
            <p:cNvPr id="255" name="Oval 165">
              <a:extLst>
                <a:ext uri="{FF2B5EF4-FFF2-40B4-BE49-F238E27FC236}">
                  <a16:creationId xmlns:a16="http://schemas.microsoft.com/office/drawing/2014/main" id="{B20F724E-1A7D-411C-AE4B-CA598C1B76AB}"/>
                </a:ext>
              </a:extLst>
            </p:cNvPr>
            <p:cNvSpPr/>
            <p:nvPr/>
          </p:nvSpPr>
          <p:spPr>
            <a:xfrm>
              <a:off x="2750554" y="409060"/>
              <a:ext cx="329184" cy="329184"/>
            </a:xfrm>
            <a:prstGeom prst="ellipse">
              <a:avLst/>
            </a:prstGeom>
            <a:solidFill>
              <a:schemeClr val="accen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8" name="Tag2" descr="{&quot;Key&quot;:&quot;POWER_USER_SHAPE_ICON&quot;,&quot;Value&quot;:&quot;POWER_USER_SHAPE_ICON_STYLE_1&quot;}">
              <a:extLst>
                <a:ext uri="{FF2B5EF4-FFF2-40B4-BE49-F238E27FC236}">
                  <a16:creationId xmlns:a16="http://schemas.microsoft.com/office/drawing/2014/main" id="{0BAA27F7-3328-41C3-B594-17E49AA0B67F}"/>
                </a:ext>
              </a:extLst>
            </p:cNvPr>
            <p:cNvSpPr>
              <a:spLocks noChangeAspect="1" noEditPoints="1"/>
            </p:cNvSpPr>
            <p:nvPr>
              <p:custDataLst>
                <p:tags r:id="rId22"/>
              </p:custDataLst>
            </p:nvPr>
          </p:nvSpPr>
          <p:spPr bwMode="auto">
            <a:xfrm>
              <a:off x="2771278" y="477528"/>
              <a:ext cx="135298" cy="134693"/>
            </a:xfrm>
            <a:custGeom>
              <a:avLst/>
              <a:gdLst>
                <a:gd name="T0" fmla="*/ 537 w 621"/>
                <a:gd name="T1" fmla="*/ 117 h 617"/>
                <a:gd name="T2" fmla="*/ 504 w 621"/>
                <a:gd name="T3" fmla="*/ 83 h 617"/>
                <a:gd name="T4" fmla="*/ 537 w 621"/>
                <a:gd name="T5" fmla="*/ 50 h 617"/>
                <a:gd name="T6" fmla="*/ 571 w 621"/>
                <a:gd name="T7" fmla="*/ 83 h 617"/>
                <a:gd name="T8" fmla="*/ 537 w 621"/>
                <a:gd name="T9" fmla="*/ 117 h 617"/>
                <a:gd name="T10" fmla="*/ 601 w 621"/>
                <a:gd name="T11" fmla="*/ 0 h 617"/>
                <a:gd name="T12" fmla="*/ 600 w 621"/>
                <a:gd name="T13" fmla="*/ 0 h 617"/>
                <a:gd name="T14" fmla="*/ 599 w 621"/>
                <a:gd name="T15" fmla="*/ 0 h 617"/>
                <a:gd name="T16" fmla="*/ 341 w 621"/>
                <a:gd name="T17" fmla="*/ 0 h 617"/>
                <a:gd name="T18" fmla="*/ 318 w 621"/>
                <a:gd name="T19" fmla="*/ 12 h 617"/>
                <a:gd name="T20" fmla="*/ 16 w 621"/>
                <a:gd name="T21" fmla="*/ 314 h 617"/>
                <a:gd name="T22" fmla="*/ 16 w 621"/>
                <a:gd name="T23" fmla="*/ 372 h 617"/>
                <a:gd name="T24" fmla="*/ 248 w 621"/>
                <a:gd name="T25" fmla="*/ 605 h 617"/>
                <a:gd name="T26" fmla="*/ 277 w 621"/>
                <a:gd name="T27" fmla="*/ 617 h 617"/>
                <a:gd name="T28" fmla="*/ 306 w 621"/>
                <a:gd name="T29" fmla="*/ 605 h 617"/>
                <a:gd name="T30" fmla="*/ 608 w 621"/>
                <a:gd name="T31" fmla="*/ 302 h 617"/>
                <a:gd name="T32" fmla="*/ 621 w 621"/>
                <a:gd name="T33" fmla="*/ 280 h 617"/>
                <a:gd name="T34" fmla="*/ 621 w 621"/>
                <a:gd name="T35" fmla="*/ 20 h 617"/>
                <a:gd name="T36" fmla="*/ 601 w 621"/>
                <a:gd name="T37" fmla="*/ 0 h 6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21" h="617">
                  <a:moveTo>
                    <a:pt x="537" y="117"/>
                  </a:moveTo>
                  <a:cubicBezTo>
                    <a:pt x="519" y="117"/>
                    <a:pt x="504" y="102"/>
                    <a:pt x="504" y="83"/>
                  </a:cubicBezTo>
                  <a:cubicBezTo>
                    <a:pt x="504" y="65"/>
                    <a:pt x="519" y="50"/>
                    <a:pt x="537" y="50"/>
                  </a:cubicBezTo>
                  <a:cubicBezTo>
                    <a:pt x="556" y="50"/>
                    <a:pt x="571" y="65"/>
                    <a:pt x="571" y="83"/>
                  </a:cubicBezTo>
                  <a:cubicBezTo>
                    <a:pt x="571" y="102"/>
                    <a:pt x="556" y="117"/>
                    <a:pt x="537" y="117"/>
                  </a:cubicBezTo>
                  <a:close/>
                  <a:moveTo>
                    <a:pt x="601" y="0"/>
                  </a:moveTo>
                  <a:lnTo>
                    <a:pt x="600" y="0"/>
                  </a:lnTo>
                  <a:cubicBezTo>
                    <a:pt x="600" y="0"/>
                    <a:pt x="600" y="0"/>
                    <a:pt x="599" y="0"/>
                  </a:cubicBezTo>
                  <a:lnTo>
                    <a:pt x="341" y="0"/>
                  </a:lnTo>
                  <a:cubicBezTo>
                    <a:pt x="334" y="0"/>
                    <a:pt x="320" y="10"/>
                    <a:pt x="318" y="12"/>
                  </a:cubicBezTo>
                  <a:lnTo>
                    <a:pt x="16" y="314"/>
                  </a:lnTo>
                  <a:cubicBezTo>
                    <a:pt x="0" y="330"/>
                    <a:pt x="0" y="356"/>
                    <a:pt x="16" y="372"/>
                  </a:cubicBezTo>
                  <a:lnTo>
                    <a:pt x="248" y="605"/>
                  </a:lnTo>
                  <a:cubicBezTo>
                    <a:pt x="256" y="613"/>
                    <a:pt x="267" y="617"/>
                    <a:pt x="277" y="617"/>
                  </a:cubicBezTo>
                  <a:cubicBezTo>
                    <a:pt x="288" y="617"/>
                    <a:pt x="298" y="613"/>
                    <a:pt x="306" y="605"/>
                  </a:cubicBezTo>
                  <a:lnTo>
                    <a:pt x="608" y="302"/>
                  </a:lnTo>
                  <a:cubicBezTo>
                    <a:pt x="610" y="300"/>
                    <a:pt x="621" y="288"/>
                    <a:pt x="621" y="280"/>
                  </a:cubicBezTo>
                  <a:lnTo>
                    <a:pt x="621" y="20"/>
                  </a:lnTo>
                  <a:cubicBezTo>
                    <a:pt x="621" y="9"/>
                    <a:pt x="613" y="0"/>
                    <a:pt x="601"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59" name="Shopping_Basket2" descr="{&quot;Key&quot;:&quot;POWER_USER_SHAPE_ICON&quot;,&quot;Value&quot;:&quot;POWER_USER_SHAPE_ICON_STYLE_1&quot;}">
              <a:extLst>
                <a:ext uri="{FF2B5EF4-FFF2-40B4-BE49-F238E27FC236}">
                  <a16:creationId xmlns:a16="http://schemas.microsoft.com/office/drawing/2014/main" id="{1B960A6D-31A7-4F94-A792-700DE135BF1D}"/>
                </a:ext>
              </a:extLst>
            </p:cNvPr>
            <p:cNvSpPr>
              <a:spLocks noChangeAspect="1" noChangeArrowheads="1"/>
            </p:cNvSpPr>
            <p:nvPr>
              <p:custDataLst>
                <p:tags r:id="rId23"/>
              </p:custDataLst>
            </p:nvPr>
          </p:nvSpPr>
          <p:spPr bwMode="auto">
            <a:xfrm>
              <a:off x="2889956" y="506183"/>
              <a:ext cx="146089" cy="128381"/>
            </a:xfrm>
            <a:custGeom>
              <a:avLst/>
              <a:gdLst>
                <a:gd name="T0" fmla="*/ 429 w 583"/>
                <a:gd name="T1" fmla="*/ 183 h 512"/>
                <a:gd name="T2" fmla="*/ 312 w 583"/>
                <a:gd name="T3" fmla="*/ 10 h 512"/>
                <a:gd name="T4" fmla="*/ 291 w 583"/>
                <a:gd name="T5" fmla="*/ 0 h 512"/>
                <a:gd name="T6" fmla="*/ 271 w 583"/>
                <a:gd name="T7" fmla="*/ 10 h 512"/>
                <a:gd name="T8" fmla="*/ 153 w 583"/>
                <a:gd name="T9" fmla="*/ 183 h 512"/>
                <a:gd name="T10" fmla="*/ 26 w 583"/>
                <a:gd name="T11" fmla="*/ 183 h 512"/>
                <a:gd name="T12" fmla="*/ 0 w 583"/>
                <a:gd name="T13" fmla="*/ 214 h 512"/>
                <a:gd name="T14" fmla="*/ 0 w 583"/>
                <a:gd name="T15" fmla="*/ 219 h 512"/>
                <a:gd name="T16" fmla="*/ 66 w 583"/>
                <a:gd name="T17" fmla="*/ 470 h 512"/>
                <a:gd name="T18" fmla="*/ 117 w 583"/>
                <a:gd name="T19" fmla="*/ 511 h 512"/>
                <a:gd name="T20" fmla="*/ 465 w 583"/>
                <a:gd name="T21" fmla="*/ 511 h 512"/>
                <a:gd name="T22" fmla="*/ 516 w 583"/>
                <a:gd name="T23" fmla="*/ 470 h 512"/>
                <a:gd name="T24" fmla="*/ 582 w 583"/>
                <a:gd name="T25" fmla="*/ 219 h 512"/>
                <a:gd name="T26" fmla="*/ 582 w 583"/>
                <a:gd name="T27" fmla="*/ 214 h 512"/>
                <a:gd name="T28" fmla="*/ 552 w 583"/>
                <a:gd name="T29" fmla="*/ 183 h 512"/>
                <a:gd name="T30" fmla="*/ 429 w 583"/>
                <a:gd name="T31" fmla="*/ 183 h 512"/>
                <a:gd name="T32" fmla="*/ 209 w 583"/>
                <a:gd name="T33" fmla="*/ 183 h 512"/>
                <a:gd name="T34" fmla="*/ 291 w 583"/>
                <a:gd name="T35" fmla="*/ 66 h 512"/>
                <a:gd name="T36" fmla="*/ 373 w 583"/>
                <a:gd name="T37" fmla="*/ 183 h 512"/>
                <a:gd name="T38" fmla="*/ 209 w 583"/>
                <a:gd name="T39" fmla="*/ 183 h 512"/>
                <a:gd name="T40" fmla="*/ 291 w 583"/>
                <a:gd name="T41" fmla="*/ 398 h 512"/>
                <a:gd name="T42" fmla="*/ 240 w 583"/>
                <a:gd name="T43" fmla="*/ 347 h 512"/>
                <a:gd name="T44" fmla="*/ 291 w 583"/>
                <a:gd name="T45" fmla="*/ 291 h 512"/>
                <a:gd name="T46" fmla="*/ 347 w 583"/>
                <a:gd name="T47" fmla="*/ 347 h 512"/>
                <a:gd name="T48" fmla="*/ 291 w 583"/>
                <a:gd name="T49" fmla="*/ 39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83" h="512">
                  <a:moveTo>
                    <a:pt x="429" y="183"/>
                  </a:moveTo>
                  <a:lnTo>
                    <a:pt x="312" y="10"/>
                  </a:lnTo>
                  <a:cubicBezTo>
                    <a:pt x="307" y="5"/>
                    <a:pt x="299" y="0"/>
                    <a:pt x="291" y="0"/>
                  </a:cubicBezTo>
                  <a:cubicBezTo>
                    <a:pt x="284" y="0"/>
                    <a:pt x="276" y="0"/>
                    <a:pt x="271" y="10"/>
                  </a:cubicBezTo>
                  <a:lnTo>
                    <a:pt x="153" y="183"/>
                  </a:lnTo>
                  <a:lnTo>
                    <a:pt x="26" y="183"/>
                  </a:lnTo>
                  <a:cubicBezTo>
                    <a:pt x="10" y="183"/>
                    <a:pt x="0" y="194"/>
                    <a:pt x="0" y="214"/>
                  </a:cubicBezTo>
                  <a:lnTo>
                    <a:pt x="0" y="219"/>
                  </a:lnTo>
                  <a:lnTo>
                    <a:pt x="66" y="470"/>
                  </a:lnTo>
                  <a:cubicBezTo>
                    <a:pt x="72" y="490"/>
                    <a:pt x="92" y="511"/>
                    <a:pt x="117" y="511"/>
                  </a:cubicBezTo>
                  <a:lnTo>
                    <a:pt x="465" y="511"/>
                  </a:lnTo>
                  <a:cubicBezTo>
                    <a:pt x="485" y="511"/>
                    <a:pt x="506" y="490"/>
                    <a:pt x="516" y="470"/>
                  </a:cubicBezTo>
                  <a:lnTo>
                    <a:pt x="582" y="219"/>
                  </a:lnTo>
                  <a:lnTo>
                    <a:pt x="582" y="214"/>
                  </a:lnTo>
                  <a:cubicBezTo>
                    <a:pt x="582" y="194"/>
                    <a:pt x="572" y="183"/>
                    <a:pt x="552" y="183"/>
                  </a:cubicBezTo>
                  <a:lnTo>
                    <a:pt x="429" y="183"/>
                  </a:lnTo>
                  <a:close/>
                  <a:moveTo>
                    <a:pt x="209" y="183"/>
                  </a:moveTo>
                  <a:lnTo>
                    <a:pt x="291" y="66"/>
                  </a:lnTo>
                  <a:lnTo>
                    <a:pt x="373" y="183"/>
                  </a:lnTo>
                  <a:lnTo>
                    <a:pt x="209" y="183"/>
                  </a:lnTo>
                  <a:close/>
                  <a:moveTo>
                    <a:pt x="291" y="398"/>
                  </a:moveTo>
                  <a:cubicBezTo>
                    <a:pt x="261" y="398"/>
                    <a:pt x="240" y="375"/>
                    <a:pt x="240" y="347"/>
                  </a:cubicBezTo>
                  <a:cubicBezTo>
                    <a:pt x="240" y="319"/>
                    <a:pt x="261" y="291"/>
                    <a:pt x="291" y="291"/>
                  </a:cubicBezTo>
                  <a:cubicBezTo>
                    <a:pt x="322" y="291"/>
                    <a:pt x="347" y="319"/>
                    <a:pt x="347" y="347"/>
                  </a:cubicBezTo>
                  <a:cubicBezTo>
                    <a:pt x="347" y="375"/>
                    <a:pt x="322" y="398"/>
                    <a:pt x="291" y="398"/>
                  </a:cubicBezTo>
                  <a:close/>
                </a:path>
              </a:pathLst>
            </a:custGeom>
            <a:solidFill>
              <a:schemeClr val="bg1"/>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329" name="Oval 165">
            <a:extLst>
              <a:ext uri="{FF2B5EF4-FFF2-40B4-BE49-F238E27FC236}">
                <a16:creationId xmlns:a16="http://schemas.microsoft.com/office/drawing/2014/main" id="{96765848-228E-477F-A1F6-C0AC72AE8160}"/>
              </a:ext>
            </a:extLst>
          </p:cNvPr>
          <p:cNvSpPr/>
          <p:nvPr/>
        </p:nvSpPr>
        <p:spPr>
          <a:xfrm>
            <a:off x="8618210" y="5139931"/>
            <a:ext cx="329184" cy="329184"/>
          </a:xfrm>
          <a:prstGeom prst="ellipse">
            <a:avLst/>
          </a:prstGeom>
          <a:solidFill>
            <a:schemeClr val="accen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0" name="Fast_food2" descr="{&quot;Key&quot;:&quot;POWER_USER_SHAPE_ICON&quot;,&quot;Value&quot;:&quot;POWER_USER_SHAPE_ICON_STYLE_1&quot;}">
            <a:extLst>
              <a:ext uri="{FF2B5EF4-FFF2-40B4-BE49-F238E27FC236}">
                <a16:creationId xmlns:a16="http://schemas.microsoft.com/office/drawing/2014/main" id="{56183137-CE0C-4F78-987E-59CF4E8F42A7}"/>
              </a:ext>
            </a:extLst>
          </p:cNvPr>
          <p:cNvSpPr>
            <a:spLocks noChangeAspect="1" noEditPoints="1"/>
          </p:cNvSpPr>
          <p:nvPr/>
        </p:nvSpPr>
        <p:spPr bwMode="auto">
          <a:xfrm>
            <a:off x="8689490" y="5151770"/>
            <a:ext cx="180926" cy="251669"/>
          </a:xfrm>
          <a:custGeom>
            <a:avLst/>
            <a:gdLst>
              <a:gd name="T0" fmla="*/ 1247 w 1250"/>
              <a:gd name="T1" fmla="*/ 292 h 1099"/>
              <a:gd name="T2" fmla="*/ 1145 w 1250"/>
              <a:gd name="T3" fmla="*/ 1099 h 1099"/>
              <a:gd name="T4" fmla="*/ 799 w 1250"/>
              <a:gd name="T5" fmla="*/ 1099 h 1099"/>
              <a:gd name="T6" fmla="*/ 697 w 1250"/>
              <a:gd name="T7" fmla="*/ 292 h 1099"/>
              <a:gd name="T8" fmla="*/ 1119 w 1250"/>
              <a:gd name="T9" fmla="*/ 292 h 1099"/>
              <a:gd name="T10" fmla="*/ 1203 w 1250"/>
              <a:gd name="T11" fmla="*/ 0 h 1099"/>
              <a:gd name="T12" fmla="*/ 1250 w 1250"/>
              <a:gd name="T13" fmla="*/ 13 h 1099"/>
              <a:gd name="T14" fmla="*/ 1170 w 1250"/>
              <a:gd name="T15" fmla="*/ 292 h 1099"/>
              <a:gd name="T16" fmla="*/ 1247 w 1250"/>
              <a:gd name="T17" fmla="*/ 292 h 1099"/>
              <a:gd name="T18" fmla="*/ 648 w 1250"/>
              <a:gd name="T19" fmla="*/ 762 h 1099"/>
              <a:gd name="T20" fmla="*/ 481 w 1250"/>
              <a:gd name="T21" fmla="*/ 644 h 1099"/>
              <a:gd name="T22" fmla="*/ 195 w 1250"/>
              <a:gd name="T23" fmla="*/ 644 h 1099"/>
              <a:gd name="T24" fmla="*/ 29 w 1250"/>
              <a:gd name="T25" fmla="*/ 762 h 1099"/>
              <a:gd name="T26" fmla="*/ 648 w 1250"/>
              <a:gd name="T27" fmla="*/ 762 h 1099"/>
              <a:gd name="T28" fmla="*/ 29 w 1250"/>
              <a:gd name="T29" fmla="*/ 981 h 1099"/>
              <a:gd name="T30" fmla="*/ 195 w 1250"/>
              <a:gd name="T31" fmla="*/ 1099 h 1099"/>
              <a:gd name="T32" fmla="*/ 481 w 1250"/>
              <a:gd name="T33" fmla="*/ 1099 h 1099"/>
              <a:gd name="T34" fmla="*/ 648 w 1250"/>
              <a:gd name="T35" fmla="*/ 981 h 1099"/>
              <a:gd name="T36" fmla="*/ 29 w 1250"/>
              <a:gd name="T37" fmla="*/ 981 h 1099"/>
              <a:gd name="T38" fmla="*/ 621 w 1250"/>
              <a:gd name="T39" fmla="*/ 924 h 1099"/>
              <a:gd name="T40" fmla="*/ 674 w 1250"/>
              <a:gd name="T41" fmla="*/ 871 h 1099"/>
              <a:gd name="T42" fmla="*/ 621 w 1250"/>
              <a:gd name="T43" fmla="*/ 818 h 1099"/>
              <a:gd name="T44" fmla="*/ 53 w 1250"/>
              <a:gd name="T45" fmla="*/ 818 h 1099"/>
              <a:gd name="T46" fmla="*/ 0 w 1250"/>
              <a:gd name="T47" fmla="*/ 871 h 1099"/>
              <a:gd name="T48" fmla="*/ 53 w 1250"/>
              <a:gd name="T49" fmla="*/ 924 h 1099"/>
              <a:gd name="T50" fmla="*/ 621 w 1250"/>
              <a:gd name="T51" fmla="*/ 924 h 10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50" h="1099">
                <a:moveTo>
                  <a:pt x="1247" y="292"/>
                </a:moveTo>
                <a:lnTo>
                  <a:pt x="1145" y="1099"/>
                </a:lnTo>
                <a:lnTo>
                  <a:pt x="799" y="1099"/>
                </a:lnTo>
                <a:lnTo>
                  <a:pt x="697" y="292"/>
                </a:lnTo>
                <a:lnTo>
                  <a:pt x="1119" y="292"/>
                </a:lnTo>
                <a:lnTo>
                  <a:pt x="1203" y="0"/>
                </a:lnTo>
                <a:lnTo>
                  <a:pt x="1250" y="13"/>
                </a:lnTo>
                <a:lnTo>
                  <a:pt x="1170" y="292"/>
                </a:lnTo>
                <a:lnTo>
                  <a:pt x="1247" y="292"/>
                </a:lnTo>
                <a:close/>
                <a:moveTo>
                  <a:pt x="648" y="762"/>
                </a:moveTo>
                <a:cubicBezTo>
                  <a:pt x="648" y="762"/>
                  <a:pt x="661" y="644"/>
                  <a:pt x="481" y="644"/>
                </a:cubicBezTo>
                <a:lnTo>
                  <a:pt x="195" y="644"/>
                </a:lnTo>
                <a:cubicBezTo>
                  <a:pt x="16" y="644"/>
                  <a:pt x="29" y="762"/>
                  <a:pt x="29" y="762"/>
                </a:cubicBezTo>
                <a:lnTo>
                  <a:pt x="648" y="762"/>
                </a:lnTo>
                <a:close/>
                <a:moveTo>
                  <a:pt x="29" y="981"/>
                </a:moveTo>
                <a:cubicBezTo>
                  <a:pt x="29" y="981"/>
                  <a:pt x="16" y="1099"/>
                  <a:pt x="195" y="1099"/>
                </a:cubicBezTo>
                <a:lnTo>
                  <a:pt x="481" y="1099"/>
                </a:lnTo>
                <a:cubicBezTo>
                  <a:pt x="661" y="1099"/>
                  <a:pt x="648" y="981"/>
                  <a:pt x="648" y="981"/>
                </a:cubicBezTo>
                <a:lnTo>
                  <a:pt x="29" y="981"/>
                </a:lnTo>
                <a:close/>
                <a:moveTo>
                  <a:pt x="621" y="924"/>
                </a:moveTo>
                <a:cubicBezTo>
                  <a:pt x="650" y="924"/>
                  <a:pt x="674" y="900"/>
                  <a:pt x="674" y="871"/>
                </a:cubicBezTo>
                <a:cubicBezTo>
                  <a:pt x="674" y="842"/>
                  <a:pt x="650" y="818"/>
                  <a:pt x="621" y="818"/>
                </a:cubicBezTo>
                <a:lnTo>
                  <a:pt x="53" y="818"/>
                </a:lnTo>
                <a:cubicBezTo>
                  <a:pt x="24" y="818"/>
                  <a:pt x="0" y="842"/>
                  <a:pt x="0" y="871"/>
                </a:cubicBezTo>
                <a:cubicBezTo>
                  <a:pt x="0" y="900"/>
                  <a:pt x="24" y="924"/>
                  <a:pt x="53" y="924"/>
                </a:cubicBezTo>
                <a:lnTo>
                  <a:pt x="621" y="924"/>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nvGrpSpPr>
          <p:cNvPr id="331" name="Groep 330">
            <a:extLst>
              <a:ext uri="{FF2B5EF4-FFF2-40B4-BE49-F238E27FC236}">
                <a16:creationId xmlns:a16="http://schemas.microsoft.com/office/drawing/2014/main" id="{2020382C-00F0-4B42-ACF6-5FEDCC580339}"/>
              </a:ext>
            </a:extLst>
          </p:cNvPr>
          <p:cNvGrpSpPr/>
          <p:nvPr/>
        </p:nvGrpSpPr>
        <p:grpSpPr>
          <a:xfrm>
            <a:off x="8129213" y="5274137"/>
            <a:ext cx="329184" cy="329184"/>
            <a:chOff x="2750554" y="409060"/>
            <a:chExt cx="329184" cy="329184"/>
          </a:xfrm>
        </p:grpSpPr>
        <p:sp>
          <p:nvSpPr>
            <p:cNvPr id="332" name="Oval 165">
              <a:extLst>
                <a:ext uri="{FF2B5EF4-FFF2-40B4-BE49-F238E27FC236}">
                  <a16:creationId xmlns:a16="http://schemas.microsoft.com/office/drawing/2014/main" id="{61A2D235-7444-4C75-B458-B6AF4E1DAD8D}"/>
                </a:ext>
              </a:extLst>
            </p:cNvPr>
            <p:cNvSpPr/>
            <p:nvPr/>
          </p:nvSpPr>
          <p:spPr>
            <a:xfrm>
              <a:off x="2750554" y="409060"/>
              <a:ext cx="329184" cy="329184"/>
            </a:xfrm>
            <a:prstGeom prst="ellipse">
              <a:avLst/>
            </a:prstGeom>
            <a:solidFill>
              <a:schemeClr val="accen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3" name="Tag2" descr="{&quot;Key&quot;:&quot;POWER_USER_SHAPE_ICON&quot;,&quot;Value&quot;:&quot;POWER_USER_SHAPE_ICON_STYLE_1&quot;}">
              <a:extLst>
                <a:ext uri="{FF2B5EF4-FFF2-40B4-BE49-F238E27FC236}">
                  <a16:creationId xmlns:a16="http://schemas.microsoft.com/office/drawing/2014/main" id="{7A5C0529-8B0E-4152-A18A-51E53ED4091B}"/>
                </a:ext>
              </a:extLst>
            </p:cNvPr>
            <p:cNvSpPr>
              <a:spLocks noChangeAspect="1" noEditPoints="1"/>
            </p:cNvSpPr>
            <p:nvPr>
              <p:custDataLst>
                <p:tags r:id="rId20"/>
              </p:custDataLst>
            </p:nvPr>
          </p:nvSpPr>
          <p:spPr bwMode="auto">
            <a:xfrm>
              <a:off x="2771278" y="477528"/>
              <a:ext cx="135298" cy="134693"/>
            </a:xfrm>
            <a:custGeom>
              <a:avLst/>
              <a:gdLst>
                <a:gd name="T0" fmla="*/ 537 w 621"/>
                <a:gd name="T1" fmla="*/ 117 h 617"/>
                <a:gd name="T2" fmla="*/ 504 w 621"/>
                <a:gd name="T3" fmla="*/ 83 h 617"/>
                <a:gd name="T4" fmla="*/ 537 w 621"/>
                <a:gd name="T5" fmla="*/ 50 h 617"/>
                <a:gd name="T6" fmla="*/ 571 w 621"/>
                <a:gd name="T7" fmla="*/ 83 h 617"/>
                <a:gd name="T8" fmla="*/ 537 w 621"/>
                <a:gd name="T9" fmla="*/ 117 h 617"/>
                <a:gd name="T10" fmla="*/ 601 w 621"/>
                <a:gd name="T11" fmla="*/ 0 h 617"/>
                <a:gd name="T12" fmla="*/ 600 w 621"/>
                <a:gd name="T13" fmla="*/ 0 h 617"/>
                <a:gd name="T14" fmla="*/ 599 w 621"/>
                <a:gd name="T15" fmla="*/ 0 h 617"/>
                <a:gd name="T16" fmla="*/ 341 w 621"/>
                <a:gd name="T17" fmla="*/ 0 h 617"/>
                <a:gd name="T18" fmla="*/ 318 w 621"/>
                <a:gd name="T19" fmla="*/ 12 h 617"/>
                <a:gd name="T20" fmla="*/ 16 w 621"/>
                <a:gd name="T21" fmla="*/ 314 h 617"/>
                <a:gd name="T22" fmla="*/ 16 w 621"/>
                <a:gd name="T23" fmla="*/ 372 h 617"/>
                <a:gd name="T24" fmla="*/ 248 w 621"/>
                <a:gd name="T25" fmla="*/ 605 h 617"/>
                <a:gd name="T26" fmla="*/ 277 w 621"/>
                <a:gd name="T27" fmla="*/ 617 h 617"/>
                <a:gd name="T28" fmla="*/ 306 w 621"/>
                <a:gd name="T29" fmla="*/ 605 h 617"/>
                <a:gd name="T30" fmla="*/ 608 w 621"/>
                <a:gd name="T31" fmla="*/ 302 h 617"/>
                <a:gd name="T32" fmla="*/ 621 w 621"/>
                <a:gd name="T33" fmla="*/ 280 h 617"/>
                <a:gd name="T34" fmla="*/ 621 w 621"/>
                <a:gd name="T35" fmla="*/ 20 h 617"/>
                <a:gd name="T36" fmla="*/ 601 w 621"/>
                <a:gd name="T37" fmla="*/ 0 h 6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21" h="617">
                  <a:moveTo>
                    <a:pt x="537" y="117"/>
                  </a:moveTo>
                  <a:cubicBezTo>
                    <a:pt x="519" y="117"/>
                    <a:pt x="504" y="102"/>
                    <a:pt x="504" y="83"/>
                  </a:cubicBezTo>
                  <a:cubicBezTo>
                    <a:pt x="504" y="65"/>
                    <a:pt x="519" y="50"/>
                    <a:pt x="537" y="50"/>
                  </a:cubicBezTo>
                  <a:cubicBezTo>
                    <a:pt x="556" y="50"/>
                    <a:pt x="571" y="65"/>
                    <a:pt x="571" y="83"/>
                  </a:cubicBezTo>
                  <a:cubicBezTo>
                    <a:pt x="571" y="102"/>
                    <a:pt x="556" y="117"/>
                    <a:pt x="537" y="117"/>
                  </a:cubicBezTo>
                  <a:close/>
                  <a:moveTo>
                    <a:pt x="601" y="0"/>
                  </a:moveTo>
                  <a:lnTo>
                    <a:pt x="600" y="0"/>
                  </a:lnTo>
                  <a:cubicBezTo>
                    <a:pt x="600" y="0"/>
                    <a:pt x="600" y="0"/>
                    <a:pt x="599" y="0"/>
                  </a:cubicBezTo>
                  <a:lnTo>
                    <a:pt x="341" y="0"/>
                  </a:lnTo>
                  <a:cubicBezTo>
                    <a:pt x="334" y="0"/>
                    <a:pt x="320" y="10"/>
                    <a:pt x="318" y="12"/>
                  </a:cubicBezTo>
                  <a:lnTo>
                    <a:pt x="16" y="314"/>
                  </a:lnTo>
                  <a:cubicBezTo>
                    <a:pt x="0" y="330"/>
                    <a:pt x="0" y="356"/>
                    <a:pt x="16" y="372"/>
                  </a:cubicBezTo>
                  <a:lnTo>
                    <a:pt x="248" y="605"/>
                  </a:lnTo>
                  <a:cubicBezTo>
                    <a:pt x="256" y="613"/>
                    <a:pt x="267" y="617"/>
                    <a:pt x="277" y="617"/>
                  </a:cubicBezTo>
                  <a:cubicBezTo>
                    <a:pt x="288" y="617"/>
                    <a:pt x="298" y="613"/>
                    <a:pt x="306" y="605"/>
                  </a:cubicBezTo>
                  <a:lnTo>
                    <a:pt x="608" y="302"/>
                  </a:lnTo>
                  <a:cubicBezTo>
                    <a:pt x="610" y="300"/>
                    <a:pt x="621" y="288"/>
                    <a:pt x="621" y="280"/>
                  </a:cubicBezTo>
                  <a:lnTo>
                    <a:pt x="621" y="20"/>
                  </a:lnTo>
                  <a:cubicBezTo>
                    <a:pt x="621" y="9"/>
                    <a:pt x="613" y="0"/>
                    <a:pt x="601"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34" name="Shopping_Basket2" descr="{&quot;Key&quot;:&quot;POWER_USER_SHAPE_ICON&quot;,&quot;Value&quot;:&quot;POWER_USER_SHAPE_ICON_STYLE_1&quot;}">
              <a:extLst>
                <a:ext uri="{FF2B5EF4-FFF2-40B4-BE49-F238E27FC236}">
                  <a16:creationId xmlns:a16="http://schemas.microsoft.com/office/drawing/2014/main" id="{90BFA5C7-BFCF-4E3B-AF5E-77E0984F969F}"/>
                </a:ext>
              </a:extLst>
            </p:cNvPr>
            <p:cNvSpPr>
              <a:spLocks noChangeAspect="1" noChangeArrowheads="1"/>
            </p:cNvSpPr>
            <p:nvPr>
              <p:custDataLst>
                <p:tags r:id="rId21"/>
              </p:custDataLst>
            </p:nvPr>
          </p:nvSpPr>
          <p:spPr bwMode="auto">
            <a:xfrm>
              <a:off x="2889956" y="506183"/>
              <a:ext cx="146089" cy="128381"/>
            </a:xfrm>
            <a:custGeom>
              <a:avLst/>
              <a:gdLst>
                <a:gd name="T0" fmla="*/ 429 w 583"/>
                <a:gd name="T1" fmla="*/ 183 h 512"/>
                <a:gd name="T2" fmla="*/ 312 w 583"/>
                <a:gd name="T3" fmla="*/ 10 h 512"/>
                <a:gd name="T4" fmla="*/ 291 w 583"/>
                <a:gd name="T5" fmla="*/ 0 h 512"/>
                <a:gd name="T6" fmla="*/ 271 w 583"/>
                <a:gd name="T7" fmla="*/ 10 h 512"/>
                <a:gd name="T8" fmla="*/ 153 w 583"/>
                <a:gd name="T9" fmla="*/ 183 h 512"/>
                <a:gd name="T10" fmla="*/ 26 w 583"/>
                <a:gd name="T11" fmla="*/ 183 h 512"/>
                <a:gd name="T12" fmla="*/ 0 w 583"/>
                <a:gd name="T13" fmla="*/ 214 h 512"/>
                <a:gd name="T14" fmla="*/ 0 w 583"/>
                <a:gd name="T15" fmla="*/ 219 h 512"/>
                <a:gd name="T16" fmla="*/ 66 w 583"/>
                <a:gd name="T17" fmla="*/ 470 h 512"/>
                <a:gd name="T18" fmla="*/ 117 w 583"/>
                <a:gd name="T19" fmla="*/ 511 h 512"/>
                <a:gd name="T20" fmla="*/ 465 w 583"/>
                <a:gd name="T21" fmla="*/ 511 h 512"/>
                <a:gd name="T22" fmla="*/ 516 w 583"/>
                <a:gd name="T23" fmla="*/ 470 h 512"/>
                <a:gd name="T24" fmla="*/ 582 w 583"/>
                <a:gd name="T25" fmla="*/ 219 h 512"/>
                <a:gd name="T26" fmla="*/ 582 w 583"/>
                <a:gd name="T27" fmla="*/ 214 h 512"/>
                <a:gd name="T28" fmla="*/ 552 w 583"/>
                <a:gd name="T29" fmla="*/ 183 h 512"/>
                <a:gd name="T30" fmla="*/ 429 w 583"/>
                <a:gd name="T31" fmla="*/ 183 h 512"/>
                <a:gd name="T32" fmla="*/ 209 w 583"/>
                <a:gd name="T33" fmla="*/ 183 h 512"/>
                <a:gd name="T34" fmla="*/ 291 w 583"/>
                <a:gd name="T35" fmla="*/ 66 h 512"/>
                <a:gd name="T36" fmla="*/ 373 w 583"/>
                <a:gd name="T37" fmla="*/ 183 h 512"/>
                <a:gd name="T38" fmla="*/ 209 w 583"/>
                <a:gd name="T39" fmla="*/ 183 h 512"/>
                <a:gd name="T40" fmla="*/ 291 w 583"/>
                <a:gd name="T41" fmla="*/ 398 h 512"/>
                <a:gd name="T42" fmla="*/ 240 w 583"/>
                <a:gd name="T43" fmla="*/ 347 h 512"/>
                <a:gd name="T44" fmla="*/ 291 w 583"/>
                <a:gd name="T45" fmla="*/ 291 h 512"/>
                <a:gd name="T46" fmla="*/ 347 w 583"/>
                <a:gd name="T47" fmla="*/ 347 h 512"/>
                <a:gd name="T48" fmla="*/ 291 w 583"/>
                <a:gd name="T49" fmla="*/ 39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83" h="512">
                  <a:moveTo>
                    <a:pt x="429" y="183"/>
                  </a:moveTo>
                  <a:lnTo>
                    <a:pt x="312" y="10"/>
                  </a:lnTo>
                  <a:cubicBezTo>
                    <a:pt x="307" y="5"/>
                    <a:pt x="299" y="0"/>
                    <a:pt x="291" y="0"/>
                  </a:cubicBezTo>
                  <a:cubicBezTo>
                    <a:pt x="284" y="0"/>
                    <a:pt x="276" y="0"/>
                    <a:pt x="271" y="10"/>
                  </a:cubicBezTo>
                  <a:lnTo>
                    <a:pt x="153" y="183"/>
                  </a:lnTo>
                  <a:lnTo>
                    <a:pt x="26" y="183"/>
                  </a:lnTo>
                  <a:cubicBezTo>
                    <a:pt x="10" y="183"/>
                    <a:pt x="0" y="194"/>
                    <a:pt x="0" y="214"/>
                  </a:cubicBezTo>
                  <a:lnTo>
                    <a:pt x="0" y="219"/>
                  </a:lnTo>
                  <a:lnTo>
                    <a:pt x="66" y="470"/>
                  </a:lnTo>
                  <a:cubicBezTo>
                    <a:pt x="72" y="490"/>
                    <a:pt x="92" y="511"/>
                    <a:pt x="117" y="511"/>
                  </a:cubicBezTo>
                  <a:lnTo>
                    <a:pt x="465" y="511"/>
                  </a:lnTo>
                  <a:cubicBezTo>
                    <a:pt x="485" y="511"/>
                    <a:pt x="506" y="490"/>
                    <a:pt x="516" y="470"/>
                  </a:cubicBezTo>
                  <a:lnTo>
                    <a:pt x="582" y="219"/>
                  </a:lnTo>
                  <a:lnTo>
                    <a:pt x="582" y="214"/>
                  </a:lnTo>
                  <a:cubicBezTo>
                    <a:pt x="582" y="194"/>
                    <a:pt x="572" y="183"/>
                    <a:pt x="552" y="183"/>
                  </a:cubicBezTo>
                  <a:lnTo>
                    <a:pt x="429" y="183"/>
                  </a:lnTo>
                  <a:close/>
                  <a:moveTo>
                    <a:pt x="209" y="183"/>
                  </a:moveTo>
                  <a:lnTo>
                    <a:pt x="291" y="66"/>
                  </a:lnTo>
                  <a:lnTo>
                    <a:pt x="373" y="183"/>
                  </a:lnTo>
                  <a:lnTo>
                    <a:pt x="209" y="183"/>
                  </a:lnTo>
                  <a:close/>
                  <a:moveTo>
                    <a:pt x="291" y="398"/>
                  </a:moveTo>
                  <a:cubicBezTo>
                    <a:pt x="261" y="398"/>
                    <a:pt x="240" y="375"/>
                    <a:pt x="240" y="347"/>
                  </a:cubicBezTo>
                  <a:cubicBezTo>
                    <a:pt x="240" y="319"/>
                    <a:pt x="261" y="291"/>
                    <a:pt x="291" y="291"/>
                  </a:cubicBezTo>
                  <a:cubicBezTo>
                    <a:pt x="322" y="291"/>
                    <a:pt x="347" y="319"/>
                    <a:pt x="347" y="347"/>
                  </a:cubicBezTo>
                  <a:cubicBezTo>
                    <a:pt x="347" y="375"/>
                    <a:pt x="322" y="398"/>
                    <a:pt x="291" y="398"/>
                  </a:cubicBezTo>
                  <a:close/>
                </a:path>
              </a:pathLst>
            </a:custGeom>
            <a:solidFill>
              <a:schemeClr val="bg1"/>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335" name="Rechthoek 63">
            <a:extLst>
              <a:ext uri="{FF2B5EF4-FFF2-40B4-BE49-F238E27FC236}">
                <a16:creationId xmlns:a16="http://schemas.microsoft.com/office/drawing/2014/main" id="{A1F7EE1D-DE37-47B4-87AA-81A08DBE4BC0}"/>
              </a:ext>
            </a:extLst>
          </p:cNvPr>
          <p:cNvSpPr/>
          <p:nvPr/>
        </p:nvSpPr>
        <p:spPr>
          <a:xfrm>
            <a:off x="7051793" y="1870082"/>
            <a:ext cx="137160" cy="182880"/>
          </a:xfrm>
          <a:prstGeom prst="rect">
            <a:avLst/>
          </a:prstGeom>
          <a:ln/>
        </p:spPr>
        <p:style>
          <a:lnRef idx="0">
            <a:schemeClr val="accent2"/>
          </a:lnRef>
          <a:fillRef idx="3">
            <a:schemeClr val="accent2"/>
          </a:fillRef>
          <a:effectRef idx="3">
            <a:schemeClr val="accent2"/>
          </a:effectRef>
          <a:fontRef idx="minor">
            <a:schemeClr val="lt1"/>
          </a:fontRef>
        </p:style>
        <p:txBody>
          <a:bodyPr rtlCol="0" anchor="ctr"/>
          <a:lstStyle/>
          <a:p>
            <a:pPr algn="ctr"/>
            <a:r>
              <a:rPr lang="nl-NL" sz="1200" b="1"/>
              <a:t>P</a:t>
            </a:r>
          </a:p>
        </p:txBody>
      </p:sp>
      <p:sp>
        <p:nvSpPr>
          <p:cNvPr id="336" name="Rechthoek 63">
            <a:extLst>
              <a:ext uri="{FF2B5EF4-FFF2-40B4-BE49-F238E27FC236}">
                <a16:creationId xmlns:a16="http://schemas.microsoft.com/office/drawing/2014/main" id="{7DAC0B79-FC63-430C-972E-402179FAB90C}"/>
              </a:ext>
            </a:extLst>
          </p:cNvPr>
          <p:cNvSpPr/>
          <p:nvPr/>
        </p:nvSpPr>
        <p:spPr>
          <a:xfrm>
            <a:off x="9031933" y="822275"/>
            <a:ext cx="137160" cy="182880"/>
          </a:xfrm>
          <a:prstGeom prst="rect">
            <a:avLst/>
          </a:prstGeom>
          <a:ln/>
        </p:spPr>
        <p:style>
          <a:lnRef idx="0">
            <a:schemeClr val="accent2"/>
          </a:lnRef>
          <a:fillRef idx="3">
            <a:schemeClr val="accent2"/>
          </a:fillRef>
          <a:effectRef idx="3">
            <a:schemeClr val="accent2"/>
          </a:effectRef>
          <a:fontRef idx="minor">
            <a:schemeClr val="lt1"/>
          </a:fontRef>
        </p:style>
        <p:txBody>
          <a:bodyPr rtlCol="0" anchor="ctr"/>
          <a:lstStyle/>
          <a:p>
            <a:pPr algn="ctr"/>
            <a:r>
              <a:rPr lang="nl-NL" sz="1200" b="1"/>
              <a:t>P</a:t>
            </a:r>
          </a:p>
        </p:txBody>
      </p:sp>
      <p:sp>
        <p:nvSpPr>
          <p:cNvPr id="337" name="Rechthoek 63">
            <a:extLst>
              <a:ext uri="{FF2B5EF4-FFF2-40B4-BE49-F238E27FC236}">
                <a16:creationId xmlns:a16="http://schemas.microsoft.com/office/drawing/2014/main" id="{94D23755-0121-4F85-94A7-9F228E98A493}"/>
              </a:ext>
            </a:extLst>
          </p:cNvPr>
          <p:cNvSpPr/>
          <p:nvPr/>
        </p:nvSpPr>
        <p:spPr>
          <a:xfrm>
            <a:off x="8143560" y="2757227"/>
            <a:ext cx="137160" cy="182880"/>
          </a:xfrm>
          <a:prstGeom prst="rect">
            <a:avLst/>
          </a:prstGeom>
          <a:ln/>
        </p:spPr>
        <p:style>
          <a:lnRef idx="0">
            <a:schemeClr val="accent2"/>
          </a:lnRef>
          <a:fillRef idx="3">
            <a:schemeClr val="accent2"/>
          </a:fillRef>
          <a:effectRef idx="3">
            <a:schemeClr val="accent2"/>
          </a:effectRef>
          <a:fontRef idx="minor">
            <a:schemeClr val="lt1"/>
          </a:fontRef>
        </p:style>
        <p:txBody>
          <a:bodyPr rtlCol="0" anchor="ctr"/>
          <a:lstStyle/>
          <a:p>
            <a:pPr algn="ctr"/>
            <a:r>
              <a:rPr lang="nl-NL" sz="1200" b="1"/>
              <a:t>P</a:t>
            </a:r>
          </a:p>
        </p:txBody>
      </p:sp>
      <p:sp>
        <p:nvSpPr>
          <p:cNvPr id="338" name="Rechthoek 63">
            <a:extLst>
              <a:ext uri="{FF2B5EF4-FFF2-40B4-BE49-F238E27FC236}">
                <a16:creationId xmlns:a16="http://schemas.microsoft.com/office/drawing/2014/main" id="{904D6A68-3925-4541-9804-FA01428062F8}"/>
              </a:ext>
            </a:extLst>
          </p:cNvPr>
          <p:cNvSpPr/>
          <p:nvPr/>
        </p:nvSpPr>
        <p:spPr>
          <a:xfrm>
            <a:off x="7840057" y="3802657"/>
            <a:ext cx="137160" cy="182880"/>
          </a:xfrm>
          <a:prstGeom prst="rect">
            <a:avLst/>
          </a:prstGeom>
          <a:ln/>
        </p:spPr>
        <p:style>
          <a:lnRef idx="0">
            <a:schemeClr val="accent2"/>
          </a:lnRef>
          <a:fillRef idx="3">
            <a:schemeClr val="accent2"/>
          </a:fillRef>
          <a:effectRef idx="3">
            <a:schemeClr val="accent2"/>
          </a:effectRef>
          <a:fontRef idx="minor">
            <a:schemeClr val="lt1"/>
          </a:fontRef>
        </p:style>
        <p:txBody>
          <a:bodyPr rtlCol="0" anchor="ctr"/>
          <a:lstStyle/>
          <a:p>
            <a:pPr algn="ctr"/>
            <a:r>
              <a:rPr lang="nl-NL" sz="1200" b="1"/>
              <a:t>P</a:t>
            </a:r>
          </a:p>
        </p:txBody>
      </p:sp>
      <p:sp>
        <p:nvSpPr>
          <p:cNvPr id="339" name="Rechthoek 63">
            <a:extLst>
              <a:ext uri="{FF2B5EF4-FFF2-40B4-BE49-F238E27FC236}">
                <a16:creationId xmlns:a16="http://schemas.microsoft.com/office/drawing/2014/main" id="{231897D4-B7D6-4431-B946-900F846099DF}"/>
              </a:ext>
            </a:extLst>
          </p:cNvPr>
          <p:cNvSpPr/>
          <p:nvPr/>
        </p:nvSpPr>
        <p:spPr>
          <a:xfrm>
            <a:off x="9446275" y="3022596"/>
            <a:ext cx="137160" cy="182880"/>
          </a:xfrm>
          <a:prstGeom prst="rect">
            <a:avLst/>
          </a:prstGeom>
          <a:ln/>
        </p:spPr>
        <p:style>
          <a:lnRef idx="0">
            <a:schemeClr val="accent2"/>
          </a:lnRef>
          <a:fillRef idx="3">
            <a:schemeClr val="accent2"/>
          </a:fillRef>
          <a:effectRef idx="3">
            <a:schemeClr val="accent2"/>
          </a:effectRef>
          <a:fontRef idx="minor">
            <a:schemeClr val="lt1"/>
          </a:fontRef>
        </p:style>
        <p:txBody>
          <a:bodyPr rtlCol="0" anchor="ctr"/>
          <a:lstStyle/>
          <a:p>
            <a:pPr algn="ctr"/>
            <a:r>
              <a:rPr lang="nl-NL" sz="1200" b="1"/>
              <a:t>P</a:t>
            </a:r>
          </a:p>
        </p:txBody>
      </p:sp>
      <p:sp>
        <p:nvSpPr>
          <p:cNvPr id="340" name="Rechthoek 63">
            <a:extLst>
              <a:ext uri="{FF2B5EF4-FFF2-40B4-BE49-F238E27FC236}">
                <a16:creationId xmlns:a16="http://schemas.microsoft.com/office/drawing/2014/main" id="{D8B5C036-7730-4A59-91D2-CEF81DD269BF}"/>
              </a:ext>
            </a:extLst>
          </p:cNvPr>
          <p:cNvSpPr/>
          <p:nvPr/>
        </p:nvSpPr>
        <p:spPr>
          <a:xfrm>
            <a:off x="9147791" y="4267983"/>
            <a:ext cx="137160" cy="182880"/>
          </a:xfrm>
          <a:prstGeom prst="rect">
            <a:avLst/>
          </a:prstGeom>
          <a:ln/>
        </p:spPr>
        <p:style>
          <a:lnRef idx="0">
            <a:schemeClr val="accent2"/>
          </a:lnRef>
          <a:fillRef idx="3">
            <a:schemeClr val="accent2"/>
          </a:fillRef>
          <a:effectRef idx="3">
            <a:schemeClr val="accent2"/>
          </a:effectRef>
          <a:fontRef idx="minor">
            <a:schemeClr val="lt1"/>
          </a:fontRef>
        </p:style>
        <p:txBody>
          <a:bodyPr rtlCol="0" anchor="ctr"/>
          <a:lstStyle/>
          <a:p>
            <a:pPr algn="ctr"/>
            <a:r>
              <a:rPr lang="nl-NL" sz="1200" b="1"/>
              <a:t>P</a:t>
            </a:r>
          </a:p>
        </p:txBody>
      </p:sp>
      <p:sp>
        <p:nvSpPr>
          <p:cNvPr id="341" name="Rechthoek 63">
            <a:extLst>
              <a:ext uri="{FF2B5EF4-FFF2-40B4-BE49-F238E27FC236}">
                <a16:creationId xmlns:a16="http://schemas.microsoft.com/office/drawing/2014/main" id="{96D27AAB-4510-472C-BE3C-935AB2FDF03B}"/>
              </a:ext>
            </a:extLst>
          </p:cNvPr>
          <p:cNvSpPr/>
          <p:nvPr/>
        </p:nvSpPr>
        <p:spPr>
          <a:xfrm>
            <a:off x="9833367" y="5365890"/>
            <a:ext cx="137160" cy="182880"/>
          </a:xfrm>
          <a:prstGeom prst="rect">
            <a:avLst/>
          </a:prstGeom>
          <a:ln/>
        </p:spPr>
        <p:style>
          <a:lnRef idx="0">
            <a:schemeClr val="accent2"/>
          </a:lnRef>
          <a:fillRef idx="3">
            <a:schemeClr val="accent2"/>
          </a:fillRef>
          <a:effectRef idx="3">
            <a:schemeClr val="accent2"/>
          </a:effectRef>
          <a:fontRef idx="minor">
            <a:schemeClr val="lt1"/>
          </a:fontRef>
        </p:style>
        <p:txBody>
          <a:bodyPr rtlCol="0" anchor="ctr"/>
          <a:lstStyle/>
          <a:p>
            <a:pPr algn="ctr"/>
            <a:r>
              <a:rPr lang="nl-NL" sz="1200" b="1"/>
              <a:t>P</a:t>
            </a:r>
          </a:p>
        </p:txBody>
      </p:sp>
      <p:sp>
        <p:nvSpPr>
          <p:cNvPr id="342" name="Rechthoek 63">
            <a:extLst>
              <a:ext uri="{FF2B5EF4-FFF2-40B4-BE49-F238E27FC236}">
                <a16:creationId xmlns:a16="http://schemas.microsoft.com/office/drawing/2014/main" id="{9E6F288A-F7E4-43CC-8CDB-CB34A6F805BD}"/>
              </a:ext>
            </a:extLst>
          </p:cNvPr>
          <p:cNvSpPr/>
          <p:nvPr/>
        </p:nvSpPr>
        <p:spPr>
          <a:xfrm>
            <a:off x="7440039" y="5084614"/>
            <a:ext cx="137160" cy="182880"/>
          </a:xfrm>
          <a:prstGeom prst="rect">
            <a:avLst/>
          </a:prstGeom>
          <a:ln/>
        </p:spPr>
        <p:style>
          <a:lnRef idx="0">
            <a:schemeClr val="accent2"/>
          </a:lnRef>
          <a:fillRef idx="3">
            <a:schemeClr val="accent2"/>
          </a:fillRef>
          <a:effectRef idx="3">
            <a:schemeClr val="accent2"/>
          </a:effectRef>
          <a:fontRef idx="minor">
            <a:schemeClr val="lt1"/>
          </a:fontRef>
        </p:style>
        <p:txBody>
          <a:bodyPr rtlCol="0" anchor="ctr"/>
          <a:lstStyle/>
          <a:p>
            <a:pPr algn="ctr"/>
            <a:r>
              <a:rPr lang="nl-NL" sz="1200" b="1"/>
              <a:t>P</a:t>
            </a:r>
          </a:p>
        </p:txBody>
      </p:sp>
      <p:sp>
        <p:nvSpPr>
          <p:cNvPr id="343" name="Rechthoek 63">
            <a:extLst>
              <a:ext uri="{FF2B5EF4-FFF2-40B4-BE49-F238E27FC236}">
                <a16:creationId xmlns:a16="http://schemas.microsoft.com/office/drawing/2014/main" id="{E628499F-1E66-4EBB-8F67-976E849D9D45}"/>
              </a:ext>
            </a:extLst>
          </p:cNvPr>
          <p:cNvSpPr/>
          <p:nvPr/>
        </p:nvSpPr>
        <p:spPr>
          <a:xfrm>
            <a:off x="7979493" y="6321626"/>
            <a:ext cx="137160" cy="182880"/>
          </a:xfrm>
          <a:prstGeom prst="rect">
            <a:avLst/>
          </a:prstGeom>
          <a:ln/>
        </p:spPr>
        <p:style>
          <a:lnRef idx="0">
            <a:schemeClr val="accent2"/>
          </a:lnRef>
          <a:fillRef idx="3">
            <a:schemeClr val="accent2"/>
          </a:fillRef>
          <a:effectRef idx="3">
            <a:schemeClr val="accent2"/>
          </a:effectRef>
          <a:fontRef idx="minor">
            <a:schemeClr val="lt1"/>
          </a:fontRef>
        </p:style>
        <p:txBody>
          <a:bodyPr rtlCol="0" anchor="ctr"/>
          <a:lstStyle/>
          <a:p>
            <a:pPr algn="ctr"/>
            <a:r>
              <a:rPr lang="nl-NL" sz="1200" b="1"/>
              <a:t>P</a:t>
            </a:r>
          </a:p>
        </p:txBody>
      </p:sp>
      <p:sp>
        <p:nvSpPr>
          <p:cNvPr id="344" name="Rechthoek 63">
            <a:extLst>
              <a:ext uri="{FF2B5EF4-FFF2-40B4-BE49-F238E27FC236}">
                <a16:creationId xmlns:a16="http://schemas.microsoft.com/office/drawing/2014/main" id="{796829DA-F472-4790-986A-98C6A0E7BA47}"/>
              </a:ext>
            </a:extLst>
          </p:cNvPr>
          <p:cNvSpPr/>
          <p:nvPr/>
        </p:nvSpPr>
        <p:spPr>
          <a:xfrm>
            <a:off x="10658119" y="1097712"/>
            <a:ext cx="137160" cy="182880"/>
          </a:xfrm>
          <a:prstGeom prst="rect">
            <a:avLst/>
          </a:prstGeom>
          <a:ln/>
        </p:spPr>
        <p:style>
          <a:lnRef idx="0">
            <a:schemeClr val="accent2"/>
          </a:lnRef>
          <a:fillRef idx="3">
            <a:schemeClr val="accent2"/>
          </a:fillRef>
          <a:effectRef idx="3">
            <a:schemeClr val="accent2"/>
          </a:effectRef>
          <a:fontRef idx="minor">
            <a:schemeClr val="lt1"/>
          </a:fontRef>
        </p:style>
        <p:txBody>
          <a:bodyPr rtlCol="0" anchor="ctr"/>
          <a:lstStyle/>
          <a:p>
            <a:pPr algn="ctr"/>
            <a:r>
              <a:rPr lang="nl-NL" sz="1200" b="1"/>
              <a:t>P</a:t>
            </a:r>
          </a:p>
        </p:txBody>
      </p:sp>
      <p:sp>
        <p:nvSpPr>
          <p:cNvPr id="345" name="Rechthoek 63">
            <a:extLst>
              <a:ext uri="{FF2B5EF4-FFF2-40B4-BE49-F238E27FC236}">
                <a16:creationId xmlns:a16="http://schemas.microsoft.com/office/drawing/2014/main" id="{D0D05219-A1DE-4090-AD18-3FFB79AAC72A}"/>
              </a:ext>
            </a:extLst>
          </p:cNvPr>
          <p:cNvSpPr/>
          <p:nvPr/>
        </p:nvSpPr>
        <p:spPr>
          <a:xfrm>
            <a:off x="6694074" y="1294503"/>
            <a:ext cx="137160" cy="182880"/>
          </a:xfrm>
          <a:prstGeom prst="rect">
            <a:avLst/>
          </a:prstGeom>
          <a:ln/>
        </p:spPr>
        <p:style>
          <a:lnRef idx="0">
            <a:schemeClr val="accent2"/>
          </a:lnRef>
          <a:fillRef idx="3">
            <a:schemeClr val="accent2"/>
          </a:fillRef>
          <a:effectRef idx="3">
            <a:schemeClr val="accent2"/>
          </a:effectRef>
          <a:fontRef idx="minor">
            <a:schemeClr val="lt1"/>
          </a:fontRef>
        </p:style>
        <p:txBody>
          <a:bodyPr rtlCol="0" anchor="ctr"/>
          <a:lstStyle/>
          <a:p>
            <a:pPr algn="ctr"/>
            <a:r>
              <a:rPr lang="nl-NL" sz="1200" b="1">
                <a:latin typeface="+mj-lt"/>
              </a:rPr>
              <a:t>P</a:t>
            </a:r>
          </a:p>
        </p:txBody>
      </p:sp>
      <p:sp>
        <p:nvSpPr>
          <p:cNvPr id="346" name="Ovaal 345">
            <a:extLst>
              <a:ext uri="{FF2B5EF4-FFF2-40B4-BE49-F238E27FC236}">
                <a16:creationId xmlns:a16="http://schemas.microsoft.com/office/drawing/2014/main" id="{4083B8F3-B630-4FA9-95DE-95DDF803F46C}"/>
              </a:ext>
            </a:extLst>
          </p:cNvPr>
          <p:cNvSpPr/>
          <p:nvPr/>
        </p:nvSpPr>
        <p:spPr>
          <a:xfrm rot="6335418">
            <a:off x="7396082" y="4200009"/>
            <a:ext cx="404813" cy="747905"/>
          </a:xfrm>
          <a:custGeom>
            <a:avLst/>
            <a:gdLst>
              <a:gd name="connsiteX0" fmla="*/ 0 w 404813"/>
              <a:gd name="connsiteY0" fmla="*/ 373953 h 747905"/>
              <a:gd name="connsiteX1" fmla="*/ 202407 w 404813"/>
              <a:gd name="connsiteY1" fmla="*/ 0 h 747905"/>
              <a:gd name="connsiteX2" fmla="*/ 404814 w 404813"/>
              <a:gd name="connsiteY2" fmla="*/ 373953 h 747905"/>
              <a:gd name="connsiteX3" fmla="*/ 202407 w 404813"/>
              <a:gd name="connsiteY3" fmla="*/ 747906 h 747905"/>
              <a:gd name="connsiteX4" fmla="*/ 0 w 404813"/>
              <a:gd name="connsiteY4" fmla="*/ 373953 h 7479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4813" h="747905" fill="none" extrusionOk="0">
                <a:moveTo>
                  <a:pt x="0" y="373953"/>
                </a:moveTo>
                <a:cubicBezTo>
                  <a:pt x="-16879" y="183643"/>
                  <a:pt x="73338" y="2740"/>
                  <a:pt x="202407" y="0"/>
                </a:cubicBezTo>
                <a:cubicBezTo>
                  <a:pt x="349533" y="20451"/>
                  <a:pt x="381757" y="168422"/>
                  <a:pt x="404814" y="373953"/>
                </a:cubicBezTo>
                <a:cubicBezTo>
                  <a:pt x="393256" y="571113"/>
                  <a:pt x="340063" y="741369"/>
                  <a:pt x="202407" y="747906"/>
                </a:cubicBezTo>
                <a:cubicBezTo>
                  <a:pt x="83669" y="725352"/>
                  <a:pt x="-18715" y="599346"/>
                  <a:pt x="0" y="373953"/>
                </a:cubicBezTo>
                <a:close/>
              </a:path>
              <a:path w="404813" h="747905" stroke="0" extrusionOk="0">
                <a:moveTo>
                  <a:pt x="0" y="373953"/>
                </a:moveTo>
                <a:cubicBezTo>
                  <a:pt x="-9239" y="177625"/>
                  <a:pt x="96735" y="-10661"/>
                  <a:pt x="202407" y="0"/>
                </a:cubicBezTo>
                <a:cubicBezTo>
                  <a:pt x="321878" y="-20245"/>
                  <a:pt x="429541" y="171822"/>
                  <a:pt x="404814" y="373953"/>
                </a:cubicBezTo>
                <a:cubicBezTo>
                  <a:pt x="415907" y="584813"/>
                  <a:pt x="307494" y="746999"/>
                  <a:pt x="202407" y="747906"/>
                </a:cubicBezTo>
                <a:cubicBezTo>
                  <a:pt x="92027" y="739344"/>
                  <a:pt x="-12920" y="619683"/>
                  <a:pt x="0" y="373953"/>
                </a:cubicBezTo>
                <a:close/>
              </a:path>
            </a:pathLst>
          </a:custGeom>
          <a:solidFill>
            <a:srgbClr val="62366E">
              <a:alpha val="50196"/>
            </a:srgbClr>
          </a:solidFill>
          <a:ln w="19050">
            <a:solidFill>
              <a:schemeClr val="accent1"/>
            </a:solidFill>
            <a:prstDash val="lgDash"/>
            <a:extLst>
              <a:ext uri="{C807C97D-BFC1-408E-A445-0C87EB9F89A2}">
                <ask:lineSketchStyleProps xmlns:ask="http://schemas.microsoft.com/office/drawing/2018/sketchyshapes" sd="3066130187">
                  <a:prstGeom prst="ellipse">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47" name="Rechthoek: afgeronde hoeken 14">
            <a:extLst>
              <a:ext uri="{FF2B5EF4-FFF2-40B4-BE49-F238E27FC236}">
                <a16:creationId xmlns:a16="http://schemas.microsoft.com/office/drawing/2014/main" id="{678F7555-86AB-4CB8-8643-973A72AAAEB9}"/>
              </a:ext>
            </a:extLst>
          </p:cNvPr>
          <p:cNvSpPr/>
          <p:nvPr/>
        </p:nvSpPr>
        <p:spPr>
          <a:xfrm rot="11571750">
            <a:off x="9707374" y="2938138"/>
            <a:ext cx="326633" cy="699313"/>
          </a:xfrm>
          <a:custGeom>
            <a:avLst/>
            <a:gdLst>
              <a:gd name="connsiteX0" fmla="*/ 41215 w 326633"/>
              <a:gd name="connsiteY0" fmla="*/ 41142 h 699313"/>
              <a:gd name="connsiteX1" fmla="*/ 83166 w 326633"/>
              <a:gd name="connsiteY1" fmla="*/ 304 h 699313"/>
              <a:gd name="connsiteX2" fmla="*/ 264579 w 326633"/>
              <a:gd name="connsiteY2" fmla="*/ 0 h 699313"/>
              <a:gd name="connsiteX3" fmla="*/ 292919 w 326633"/>
              <a:gd name="connsiteY3" fmla="*/ 41142 h 699313"/>
              <a:gd name="connsiteX4" fmla="*/ 326633 w 326633"/>
              <a:gd name="connsiteY4" fmla="*/ 667751 h 699313"/>
              <a:gd name="connsiteX5" fmla="*/ 250967 w 326633"/>
              <a:gd name="connsiteY5" fmla="*/ 699313 h 699313"/>
              <a:gd name="connsiteX6" fmla="*/ 83166 w 326633"/>
              <a:gd name="connsiteY6" fmla="*/ 699313 h 699313"/>
              <a:gd name="connsiteX7" fmla="*/ 41215 w 326633"/>
              <a:gd name="connsiteY7" fmla="*/ 658474 h 699313"/>
              <a:gd name="connsiteX8" fmla="*/ 0 w 326633"/>
              <a:gd name="connsiteY8" fmla="*/ 292059 h 699313"/>
              <a:gd name="connsiteX9" fmla="*/ 41215 w 326633"/>
              <a:gd name="connsiteY9" fmla="*/ 41142 h 6993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26633" h="699313" fill="none" extrusionOk="0">
                <a:moveTo>
                  <a:pt x="41215" y="41142"/>
                </a:moveTo>
                <a:cubicBezTo>
                  <a:pt x="46527" y="19365"/>
                  <a:pt x="57739" y="-2106"/>
                  <a:pt x="83166" y="304"/>
                </a:cubicBezTo>
                <a:cubicBezTo>
                  <a:pt x="146510" y="294"/>
                  <a:pt x="211190" y="-4990"/>
                  <a:pt x="264579" y="0"/>
                </a:cubicBezTo>
                <a:cubicBezTo>
                  <a:pt x="287761" y="1207"/>
                  <a:pt x="290626" y="18176"/>
                  <a:pt x="292919" y="41142"/>
                </a:cubicBezTo>
                <a:cubicBezTo>
                  <a:pt x="313461" y="296224"/>
                  <a:pt x="267889" y="441194"/>
                  <a:pt x="326633" y="667751"/>
                </a:cubicBezTo>
                <a:cubicBezTo>
                  <a:pt x="330276" y="693907"/>
                  <a:pt x="270706" y="699095"/>
                  <a:pt x="250967" y="699313"/>
                </a:cubicBezTo>
                <a:cubicBezTo>
                  <a:pt x="210763" y="698781"/>
                  <a:pt x="130077" y="697708"/>
                  <a:pt x="83166" y="699313"/>
                </a:cubicBezTo>
                <a:cubicBezTo>
                  <a:pt x="60123" y="700529"/>
                  <a:pt x="42584" y="681779"/>
                  <a:pt x="41215" y="658474"/>
                </a:cubicBezTo>
                <a:cubicBezTo>
                  <a:pt x="31787" y="520597"/>
                  <a:pt x="9069" y="399299"/>
                  <a:pt x="0" y="292059"/>
                </a:cubicBezTo>
                <a:cubicBezTo>
                  <a:pt x="23567" y="215025"/>
                  <a:pt x="19997" y="119162"/>
                  <a:pt x="41215" y="41142"/>
                </a:cubicBezTo>
                <a:close/>
              </a:path>
              <a:path w="326633" h="699313" stroke="0" extrusionOk="0">
                <a:moveTo>
                  <a:pt x="41215" y="41142"/>
                </a:moveTo>
                <a:cubicBezTo>
                  <a:pt x="41379" y="17857"/>
                  <a:pt x="55452" y="2229"/>
                  <a:pt x="83166" y="304"/>
                </a:cubicBezTo>
                <a:cubicBezTo>
                  <a:pt x="134729" y="-2620"/>
                  <a:pt x="218615" y="8385"/>
                  <a:pt x="264579" y="0"/>
                </a:cubicBezTo>
                <a:cubicBezTo>
                  <a:pt x="290869" y="2605"/>
                  <a:pt x="292126" y="20255"/>
                  <a:pt x="292919" y="41142"/>
                </a:cubicBezTo>
                <a:cubicBezTo>
                  <a:pt x="334447" y="250029"/>
                  <a:pt x="252114" y="463463"/>
                  <a:pt x="326633" y="667751"/>
                </a:cubicBezTo>
                <a:cubicBezTo>
                  <a:pt x="329251" y="686496"/>
                  <a:pt x="272724" y="695847"/>
                  <a:pt x="250967" y="699313"/>
                </a:cubicBezTo>
                <a:cubicBezTo>
                  <a:pt x="195632" y="695766"/>
                  <a:pt x="134634" y="703016"/>
                  <a:pt x="83166" y="699313"/>
                </a:cubicBezTo>
                <a:cubicBezTo>
                  <a:pt x="59285" y="701873"/>
                  <a:pt x="40460" y="679606"/>
                  <a:pt x="41215" y="658474"/>
                </a:cubicBezTo>
                <a:cubicBezTo>
                  <a:pt x="34037" y="526091"/>
                  <a:pt x="-1268" y="416179"/>
                  <a:pt x="0" y="292059"/>
                </a:cubicBezTo>
                <a:cubicBezTo>
                  <a:pt x="3224" y="236970"/>
                  <a:pt x="33350" y="147320"/>
                  <a:pt x="41215" y="41142"/>
                </a:cubicBezTo>
                <a:close/>
              </a:path>
            </a:pathLst>
          </a:custGeom>
          <a:solidFill>
            <a:schemeClr val="accent3">
              <a:lumMod val="75000"/>
              <a:alpha val="50196"/>
            </a:schemeClr>
          </a:solidFill>
          <a:ln w="19050">
            <a:solidFill>
              <a:schemeClr val="accent3">
                <a:lumMod val="50000"/>
              </a:schemeClr>
            </a:solidFill>
            <a:prstDash val="lgDash"/>
            <a:extLst>
              <a:ext uri="{C807C97D-BFC1-408E-A445-0C87EB9F89A2}">
                <ask:lineSketchStyleProps xmlns:ask="http://schemas.microsoft.com/office/drawing/2018/sketchyshapes" sd="1343802768">
                  <a:custGeom>
                    <a:avLst/>
                    <a:gdLst>
                      <a:gd name="connsiteX0" fmla="*/ 0 w 303332"/>
                      <a:gd name="connsiteY0" fmla="*/ 50556 h 865339"/>
                      <a:gd name="connsiteX1" fmla="*/ 50556 w 303332"/>
                      <a:gd name="connsiteY1" fmla="*/ 0 h 865339"/>
                      <a:gd name="connsiteX2" fmla="*/ 252776 w 303332"/>
                      <a:gd name="connsiteY2" fmla="*/ 0 h 865339"/>
                      <a:gd name="connsiteX3" fmla="*/ 303332 w 303332"/>
                      <a:gd name="connsiteY3" fmla="*/ 50556 h 865339"/>
                      <a:gd name="connsiteX4" fmla="*/ 303332 w 303332"/>
                      <a:gd name="connsiteY4" fmla="*/ 814783 h 865339"/>
                      <a:gd name="connsiteX5" fmla="*/ 252776 w 303332"/>
                      <a:gd name="connsiteY5" fmla="*/ 865339 h 865339"/>
                      <a:gd name="connsiteX6" fmla="*/ 50556 w 303332"/>
                      <a:gd name="connsiteY6" fmla="*/ 865339 h 865339"/>
                      <a:gd name="connsiteX7" fmla="*/ 0 w 303332"/>
                      <a:gd name="connsiteY7" fmla="*/ 814783 h 865339"/>
                      <a:gd name="connsiteX8" fmla="*/ 0 w 303332"/>
                      <a:gd name="connsiteY8" fmla="*/ 50556 h 865339"/>
                      <a:gd name="connsiteX0" fmla="*/ 0 w 303332"/>
                      <a:gd name="connsiteY0" fmla="*/ 50933 h 865716"/>
                      <a:gd name="connsiteX1" fmla="*/ 50556 w 303332"/>
                      <a:gd name="connsiteY1" fmla="*/ 377 h 865716"/>
                      <a:gd name="connsiteX2" fmla="*/ 269179 w 303332"/>
                      <a:gd name="connsiteY2" fmla="*/ 0 h 865716"/>
                      <a:gd name="connsiteX3" fmla="*/ 303332 w 303332"/>
                      <a:gd name="connsiteY3" fmla="*/ 50933 h 865716"/>
                      <a:gd name="connsiteX4" fmla="*/ 303332 w 303332"/>
                      <a:gd name="connsiteY4" fmla="*/ 815160 h 865716"/>
                      <a:gd name="connsiteX5" fmla="*/ 252776 w 303332"/>
                      <a:gd name="connsiteY5" fmla="*/ 865716 h 865716"/>
                      <a:gd name="connsiteX6" fmla="*/ 50556 w 303332"/>
                      <a:gd name="connsiteY6" fmla="*/ 865716 h 865716"/>
                      <a:gd name="connsiteX7" fmla="*/ 0 w 303332"/>
                      <a:gd name="connsiteY7" fmla="*/ 815160 h 865716"/>
                      <a:gd name="connsiteX8" fmla="*/ 0 w 303332"/>
                      <a:gd name="connsiteY8" fmla="*/ 50933 h 865716"/>
                      <a:gd name="connsiteX0" fmla="*/ 49669 w 353001"/>
                      <a:gd name="connsiteY0" fmla="*/ 50933 h 865716"/>
                      <a:gd name="connsiteX1" fmla="*/ 100225 w 353001"/>
                      <a:gd name="connsiteY1" fmla="*/ 377 h 865716"/>
                      <a:gd name="connsiteX2" fmla="*/ 318848 w 353001"/>
                      <a:gd name="connsiteY2" fmla="*/ 0 h 865716"/>
                      <a:gd name="connsiteX3" fmla="*/ 353001 w 353001"/>
                      <a:gd name="connsiteY3" fmla="*/ 50933 h 865716"/>
                      <a:gd name="connsiteX4" fmla="*/ 353001 w 353001"/>
                      <a:gd name="connsiteY4" fmla="*/ 815160 h 865716"/>
                      <a:gd name="connsiteX5" fmla="*/ 302445 w 353001"/>
                      <a:gd name="connsiteY5" fmla="*/ 865716 h 865716"/>
                      <a:gd name="connsiteX6" fmla="*/ 100225 w 353001"/>
                      <a:gd name="connsiteY6" fmla="*/ 865716 h 865716"/>
                      <a:gd name="connsiteX7" fmla="*/ 49669 w 353001"/>
                      <a:gd name="connsiteY7" fmla="*/ 815160 h 865716"/>
                      <a:gd name="connsiteX8" fmla="*/ 0 w 353001"/>
                      <a:gd name="connsiteY8" fmla="*/ 361556 h 865716"/>
                      <a:gd name="connsiteX9" fmla="*/ 49669 w 353001"/>
                      <a:gd name="connsiteY9" fmla="*/ 50933 h 865716"/>
                      <a:gd name="connsiteX0" fmla="*/ 49669 w 393630"/>
                      <a:gd name="connsiteY0" fmla="*/ 50933 h 865716"/>
                      <a:gd name="connsiteX1" fmla="*/ 100225 w 393630"/>
                      <a:gd name="connsiteY1" fmla="*/ 377 h 865716"/>
                      <a:gd name="connsiteX2" fmla="*/ 318848 w 393630"/>
                      <a:gd name="connsiteY2" fmla="*/ 0 h 865716"/>
                      <a:gd name="connsiteX3" fmla="*/ 353001 w 393630"/>
                      <a:gd name="connsiteY3" fmla="*/ 50933 h 865716"/>
                      <a:gd name="connsiteX4" fmla="*/ 393630 w 393630"/>
                      <a:gd name="connsiteY4" fmla="*/ 826644 h 865716"/>
                      <a:gd name="connsiteX5" fmla="*/ 302445 w 393630"/>
                      <a:gd name="connsiteY5" fmla="*/ 865716 h 865716"/>
                      <a:gd name="connsiteX6" fmla="*/ 100225 w 393630"/>
                      <a:gd name="connsiteY6" fmla="*/ 865716 h 865716"/>
                      <a:gd name="connsiteX7" fmla="*/ 49669 w 393630"/>
                      <a:gd name="connsiteY7" fmla="*/ 815160 h 865716"/>
                      <a:gd name="connsiteX8" fmla="*/ 0 w 393630"/>
                      <a:gd name="connsiteY8" fmla="*/ 361556 h 865716"/>
                      <a:gd name="connsiteX9" fmla="*/ 49669 w 393630"/>
                      <a:gd name="connsiteY9" fmla="*/ 50933 h 865716"/>
                      <a:gd name="connsiteX0" fmla="*/ 49669 w 393630"/>
                      <a:gd name="connsiteY0" fmla="*/ 50933 h 865716"/>
                      <a:gd name="connsiteX1" fmla="*/ 100225 w 393630"/>
                      <a:gd name="connsiteY1" fmla="*/ 377 h 865716"/>
                      <a:gd name="connsiteX2" fmla="*/ 318848 w 393630"/>
                      <a:gd name="connsiteY2" fmla="*/ 0 h 865716"/>
                      <a:gd name="connsiteX3" fmla="*/ 353001 w 393630"/>
                      <a:gd name="connsiteY3" fmla="*/ 50933 h 865716"/>
                      <a:gd name="connsiteX4" fmla="*/ 393630 w 393630"/>
                      <a:gd name="connsiteY4" fmla="*/ 826644 h 865716"/>
                      <a:gd name="connsiteX5" fmla="*/ 302445 w 393630"/>
                      <a:gd name="connsiteY5" fmla="*/ 865716 h 865716"/>
                      <a:gd name="connsiteX6" fmla="*/ 100225 w 393630"/>
                      <a:gd name="connsiteY6" fmla="*/ 865716 h 865716"/>
                      <a:gd name="connsiteX7" fmla="*/ 49669 w 393630"/>
                      <a:gd name="connsiteY7" fmla="*/ 815160 h 865716"/>
                      <a:gd name="connsiteX8" fmla="*/ 0 w 393630"/>
                      <a:gd name="connsiteY8" fmla="*/ 361556 h 865716"/>
                      <a:gd name="connsiteX9" fmla="*/ 49669 w 393630"/>
                      <a:gd name="connsiteY9" fmla="*/ 50933 h 8657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93630" h="865716">
                        <a:moveTo>
                          <a:pt x="49669" y="50933"/>
                        </a:moveTo>
                        <a:cubicBezTo>
                          <a:pt x="49669" y="23012"/>
                          <a:pt x="72304" y="377"/>
                          <a:pt x="100225" y="377"/>
                        </a:cubicBezTo>
                        <a:lnTo>
                          <a:pt x="318848" y="0"/>
                        </a:lnTo>
                        <a:cubicBezTo>
                          <a:pt x="346769" y="0"/>
                          <a:pt x="353001" y="23012"/>
                          <a:pt x="353001" y="50933"/>
                        </a:cubicBezTo>
                        <a:cubicBezTo>
                          <a:pt x="366544" y="309503"/>
                          <a:pt x="337945" y="548640"/>
                          <a:pt x="393630" y="826644"/>
                        </a:cubicBezTo>
                        <a:cubicBezTo>
                          <a:pt x="393630" y="854565"/>
                          <a:pt x="330366" y="865716"/>
                          <a:pt x="302445" y="865716"/>
                        </a:cubicBezTo>
                        <a:lnTo>
                          <a:pt x="100225" y="865716"/>
                        </a:lnTo>
                        <a:cubicBezTo>
                          <a:pt x="72304" y="865716"/>
                          <a:pt x="49669" y="843081"/>
                          <a:pt x="49669" y="815160"/>
                        </a:cubicBezTo>
                        <a:cubicBezTo>
                          <a:pt x="47076" y="660384"/>
                          <a:pt x="2593" y="516332"/>
                          <a:pt x="0" y="361556"/>
                        </a:cubicBezTo>
                        <a:lnTo>
                          <a:pt x="49669" y="50933"/>
                        </a:lnTo>
                        <a:close/>
                      </a:path>
                    </a:pathLst>
                  </a:cu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grpSp>
        <p:nvGrpSpPr>
          <p:cNvPr id="348" name="Group 125">
            <a:extLst>
              <a:ext uri="{FF2B5EF4-FFF2-40B4-BE49-F238E27FC236}">
                <a16:creationId xmlns:a16="http://schemas.microsoft.com/office/drawing/2014/main" id="{D6FBAF27-40C5-4BCB-AE0E-5F19AEE59FDD}"/>
              </a:ext>
            </a:extLst>
          </p:cNvPr>
          <p:cNvGrpSpPr/>
          <p:nvPr/>
        </p:nvGrpSpPr>
        <p:grpSpPr>
          <a:xfrm>
            <a:off x="9808037" y="2852510"/>
            <a:ext cx="288000" cy="288000"/>
            <a:chOff x="7095592" y="742073"/>
            <a:chExt cx="329184" cy="329184"/>
          </a:xfrm>
        </p:grpSpPr>
        <p:sp>
          <p:nvSpPr>
            <p:cNvPr id="349" name="Oval 137">
              <a:extLst>
                <a:ext uri="{FF2B5EF4-FFF2-40B4-BE49-F238E27FC236}">
                  <a16:creationId xmlns:a16="http://schemas.microsoft.com/office/drawing/2014/main" id="{67AA64DC-E869-480A-A928-8B0F12F079D2}"/>
                </a:ext>
              </a:extLst>
            </p:cNvPr>
            <p:cNvSpPr/>
            <p:nvPr/>
          </p:nvSpPr>
          <p:spPr>
            <a:xfrm>
              <a:off x="7095592" y="742073"/>
              <a:ext cx="329184" cy="329184"/>
            </a:xfrm>
            <a:prstGeom prst="ellipse">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350" name="Group 127">
              <a:extLst>
                <a:ext uri="{FF2B5EF4-FFF2-40B4-BE49-F238E27FC236}">
                  <a16:creationId xmlns:a16="http://schemas.microsoft.com/office/drawing/2014/main" id="{EF0A3963-58A5-4CC8-BD6C-66DEB22EFE49}"/>
                </a:ext>
              </a:extLst>
            </p:cNvPr>
            <p:cNvGrpSpPr/>
            <p:nvPr/>
          </p:nvGrpSpPr>
          <p:grpSpPr>
            <a:xfrm>
              <a:off x="7176816" y="778521"/>
              <a:ext cx="179310" cy="244447"/>
              <a:chOff x="7176816" y="778521"/>
              <a:chExt cx="179310" cy="244447"/>
            </a:xfrm>
          </p:grpSpPr>
          <p:sp>
            <p:nvSpPr>
              <p:cNvPr id="351" name="Seed" descr="{&quot;Key&quot;:&quot;POWER_USER_SHAPE_ICON&quot;,&quot;Value&quot;:&quot;POWER_USER_SHAPE_ICON_STYLE_1&quot;}">
                <a:extLst>
                  <a:ext uri="{FF2B5EF4-FFF2-40B4-BE49-F238E27FC236}">
                    <a16:creationId xmlns:a16="http://schemas.microsoft.com/office/drawing/2014/main" id="{0034989B-16AE-4C90-93B5-292F5B74BD08}"/>
                  </a:ext>
                </a:extLst>
              </p:cNvPr>
              <p:cNvSpPr>
                <a:spLocks noChangeAspect="1" noEditPoints="1"/>
              </p:cNvSpPr>
              <p:nvPr>
                <p:custDataLst>
                  <p:tags r:id="rId12"/>
                </p:custDataLst>
              </p:nvPr>
            </p:nvSpPr>
            <p:spPr bwMode="auto">
              <a:xfrm>
                <a:off x="7176816" y="878690"/>
                <a:ext cx="162838" cy="144278"/>
              </a:xfrm>
              <a:custGeom>
                <a:avLst/>
                <a:gdLst>
                  <a:gd name="T0" fmla="*/ 6744 w 11364"/>
                  <a:gd name="T1" fmla="*/ 3564 h 10067"/>
                  <a:gd name="T2" fmla="*/ 7042 w 11364"/>
                  <a:gd name="T3" fmla="*/ 3354 h 10067"/>
                  <a:gd name="T4" fmla="*/ 4139 w 11364"/>
                  <a:gd name="T5" fmla="*/ 214 h 10067"/>
                  <a:gd name="T6" fmla="*/ 5282 w 11364"/>
                  <a:gd name="T7" fmla="*/ 2733 h 10067"/>
                  <a:gd name="T8" fmla="*/ 10245 w 11364"/>
                  <a:gd name="T9" fmla="*/ 7311 h 10067"/>
                  <a:gd name="T10" fmla="*/ 7950 w 11364"/>
                  <a:gd name="T11" fmla="*/ 5369 h 10067"/>
                  <a:gd name="T12" fmla="*/ 7665 w 11364"/>
                  <a:gd name="T13" fmla="*/ 5315 h 10067"/>
                  <a:gd name="T14" fmla="*/ 7626 w 11364"/>
                  <a:gd name="T15" fmla="*/ 5310 h 10067"/>
                  <a:gd name="T16" fmla="*/ 7637 w 11364"/>
                  <a:gd name="T17" fmla="*/ 4576 h 10067"/>
                  <a:gd name="T18" fmla="*/ 7646 w 11364"/>
                  <a:gd name="T19" fmla="*/ 4476 h 10067"/>
                  <a:gd name="T20" fmla="*/ 7673 w 11364"/>
                  <a:gd name="T21" fmla="*/ 4234 h 10067"/>
                  <a:gd name="T22" fmla="*/ 8068 w 11364"/>
                  <a:gd name="T23" fmla="*/ 4029 h 10067"/>
                  <a:gd name="T24" fmla="*/ 11244 w 11364"/>
                  <a:gd name="T25" fmla="*/ 0 h 10067"/>
                  <a:gd name="T26" fmla="*/ 7516 w 11364"/>
                  <a:gd name="T27" fmla="*/ 2618 h 10067"/>
                  <a:gd name="T28" fmla="*/ 7233 w 11364"/>
                  <a:gd name="T29" fmla="*/ 4214 h 10067"/>
                  <a:gd name="T30" fmla="*/ 7224 w 11364"/>
                  <a:gd name="T31" fmla="*/ 5280 h 10067"/>
                  <a:gd name="T32" fmla="*/ 7082 w 11364"/>
                  <a:gd name="T33" fmla="*/ 5277 h 10067"/>
                  <a:gd name="T34" fmla="*/ 5070 w 11364"/>
                  <a:gd name="T35" fmla="*/ 6113 h 10067"/>
                  <a:gd name="T36" fmla="*/ 2454 w 11364"/>
                  <a:gd name="T37" fmla="*/ 5748 h 10067"/>
                  <a:gd name="T38" fmla="*/ 1979 w 11364"/>
                  <a:gd name="T39" fmla="*/ 5775 h 10067"/>
                  <a:gd name="T40" fmla="*/ 2514 w 11364"/>
                  <a:gd name="T41" fmla="*/ 6100 h 10067"/>
                  <a:gd name="T42" fmla="*/ 4816 w 11364"/>
                  <a:gd name="T43" fmla="*/ 6387 h 10067"/>
                  <a:gd name="T44" fmla="*/ 6145 w 11364"/>
                  <a:gd name="T45" fmla="*/ 6987 h 10067"/>
                  <a:gd name="T46" fmla="*/ 8301 w 11364"/>
                  <a:gd name="T47" fmla="*/ 7145 h 10067"/>
                  <a:gd name="T48" fmla="*/ 8758 w 11364"/>
                  <a:gd name="T49" fmla="*/ 7918 h 10067"/>
                  <a:gd name="T50" fmla="*/ 8461 w 11364"/>
                  <a:gd name="T51" fmla="*/ 8153 h 10067"/>
                  <a:gd name="T52" fmla="*/ 7099 w 11364"/>
                  <a:gd name="T53" fmla="*/ 8176 h 10067"/>
                  <a:gd name="T54" fmla="*/ 6945 w 11364"/>
                  <a:gd name="T55" fmla="*/ 8155 h 10067"/>
                  <a:gd name="T56" fmla="*/ 6316 w 11364"/>
                  <a:gd name="T57" fmla="*/ 8035 h 10067"/>
                  <a:gd name="T58" fmla="*/ 6020 w 11364"/>
                  <a:gd name="T59" fmla="*/ 7984 h 10067"/>
                  <a:gd name="T60" fmla="*/ 4994 w 11364"/>
                  <a:gd name="T61" fmla="*/ 8127 h 10067"/>
                  <a:gd name="T62" fmla="*/ 4903 w 11364"/>
                  <a:gd name="T63" fmla="*/ 8363 h 10067"/>
                  <a:gd name="T64" fmla="*/ 6233 w 11364"/>
                  <a:gd name="T65" fmla="*/ 8382 h 10067"/>
                  <a:gd name="T66" fmla="*/ 8735 w 11364"/>
                  <a:gd name="T67" fmla="*/ 8429 h 10067"/>
                  <a:gd name="T68" fmla="*/ 9563 w 11364"/>
                  <a:gd name="T69" fmla="*/ 8061 h 10067"/>
                  <a:gd name="T70" fmla="*/ 10404 w 11364"/>
                  <a:gd name="T71" fmla="*/ 7630 h 10067"/>
                  <a:gd name="T72" fmla="*/ 10935 w 11364"/>
                  <a:gd name="T73" fmla="*/ 7937 h 10067"/>
                  <a:gd name="T74" fmla="*/ 10018 w 11364"/>
                  <a:gd name="T75" fmla="*/ 8647 h 10067"/>
                  <a:gd name="T76" fmla="*/ 9086 w 11364"/>
                  <a:gd name="T77" fmla="*/ 9020 h 10067"/>
                  <a:gd name="T78" fmla="*/ 6547 w 11364"/>
                  <a:gd name="T79" fmla="*/ 9626 h 10067"/>
                  <a:gd name="T80" fmla="*/ 2148 w 11364"/>
                  <a:gd name="T81" fmla="*/ 8613 h 10067"/>
                  <a:gd name="T82" fmla="*/ 1979 w 11364"/>
                  <a:gd name="T83" fmla="*/ 8970 h 10067"/>
                  <a:gd name="T84" fmla="*/ 5139 w 11364"/>
                  <a:gd name="T85" fmla="*/ 9875 h 10067"/>
                  <a:gd name="T86" fmla="*/ 6619 w 11364"/>
                  <a:gd name="T87" fmla="*/ 9976 h 10067"/>
                  <a:gd name="T88" fmla="*/ 9235 w 11364"/>
                  <a:gd name="T89" fmla="*/ 9344 h 10067"/>
                  <a:gd name="T90" fmla="*/ 10176 w 11364"/>
                  <a:gd name="T91" fmla="*/ 8967 h 10067"/>
                  <a:gd name="T92" fmla="*/ 11194 w 11364"/>
                  <a:gd name="T93" fmla="*/ 8190 h 10067"/>
                  <a:gd name="T94" fmla="*/ 0 w 11364"/>
                  <a:gd name="T95" fmla="*/ 9309 h 10067"/>
                  <a:gd name="T96" fmla="*/ 1630 w 11364"/>
                  <a:gd name="T97" fmla="*/ 5351 h 10067"/>
                  <a:gd name="T98" fmla="*/ 0 w 11364"/>
                  <a:gd name="T99" fmla="*/ 9309 h 100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1364" h="10067">
                    <a:moveTo>
                      <a:pt x="5282" y="2733"/>
                    </a:moveTo>
                    <a:cubicBezTo>
                      <a:pt x="5856" y="3288"/>
                      <a:pt x="6390" y="3439"/>
                      <a:pt x="6744" y="3564"/>
                    </a:cubicBezTo>
                    <a:cubicBezTo>
                      <a:pt x="6525" y="2306"/>
                      <a:pt x="5827" y="1150"/>
                      <a:pt x="4589" y="609"/>
                    </a:cubicBezTo>
                    <a:cubicBezTo>
                      <a:pt x="5820" y="997"/>
                      <a:pt x="6676" y="2123"/>
                      <a:pt x="7042" y="3354"/>
                    </a:cubicBezTo>
                    <a:cubicBezTo>
                      <a:pt x="7112" y="2949"/>
                      <a:pt x="7216" y="2574"/>
                      <a:pt x="7358" y="2233"/>
                    </a:cubicBezTo>
                    <a:cubicBezTo>
                      <a:pt x="7006" y="1054"/>
                      <a:pt x="5918" y="214"/>
                      <a:pt x="4139" y="214"/>
                    </a:cubicBezTo>
                    <a:cubicBezTo>
                      <a:pt x="3920" y="214"/>
                      <a:pt x="3690" y="227"/>
                      <a:pt x="3450" y="253"/>
                    </a:cubicBezTo>
                    <a:cubicBezTo>
                      <a:pt x="4708" y="954"/>
                      <a:pt x="4033" y="1529"/>
                      <a:pt x="5282" y="2733"/>
                    </a:cubicBezTo>
                    <a:close/>
                    <a:moveTo>
                      <a:pt x="11174" y="7560"/>
                    </a:moveTo>
                    <a:cubicBezTo>
                      <a:pt x="11020" y="7299"/>
                      <a:pt x="10696" y="7094"/>
                      <a:pt x="10245" y="7311"/>
                    </a:cubicBezTo>
                    <a:lnTo>
                      <a:pt x="10145" y="7362"/>
                    </a:lnTo>
                    <a:cubicBezTo>
                      <a:pt x="9750" y="6361"/>
                      <a:pt x="9011" y="5620"/>
                      <a:pt x="7950" y="5369"/>
                    </a:cubicBezTo>
                    <a:cubicBezTo>
                      <a:pt x="7904" y="5358"/>
                      <a:pt x="7855" y="5350"/>
                      <a:pt x="7807" y="5341"/>
                    </a:cubicBezTo>
                    <a:cubicBezTo>
                      <a:pt x="7760" y="5332"/>
                      <a:pt x="7713" y="5323"/>
                      <a:pt x="7665" y="5315"/>
                    </a:cubicBezTo>
                    <a:lnTo>
                      <a:pt x="7665" y="5310"/>
                    </a:lnTo>
                    <a:lnTo>
                      <a:pt x="7626" y="5310"/>
                    </a:lnTo>
                    <a:cubicBezTo>
                      <a:pt x="7615" y="5095"/>
                      <a:pt x="7617" y="4877"/>
                      <a:pt x="7630" y="4658"/>
                    </a:cubicBezTo>
                    <a:cubicBezTo>
                      <a:pt x="7632" y="4631"/>
                      <a:pt x="7635" y="4603"/>
                      <a:pt x="7637" y="4576"/>
                    </a:cubicBezTo>
                    <a:cubicBezTo>
                      <a:pt x="7639" y="4548"/>
                      <a:pt x="7642" y="4521"/>
                      <a:pt x="7645" y="4493"/>
                    </a:cubicBezTo>
                    <a:cubicBezTo>
                      <a:pt x="7645" y="4487"/>
                      <a:pt x="7646" y="4482"/>
                      <a:pt x="7646" y="4476"/>
                    </a:cubicBezTo>
                    <a:cubicBezTo>
                      <a:pt x="7650" y="4440"/>
                      <a:pt x="7653" y="4405"/>
                      <a:pt x="7657" y="4369"/>
                    </a:cubicBezTo>
                    <a:cubicBezTo>
                      <a:pt x="7662" y="4324"/>
                      <a:pt x="7667" y="4279"/>
                      <a:pt x="7673" y="4234"/>
                    </a:cubicBezTo>
                    <a:cubicBezTo>
                      <a:pt x="7872" y="2771"/>
                      <a:pt x="8628" y="1348"/>
                      <a:pt x="9939" y="657"/>
                    </a:cubicBezTo>
                    <a:cubicBezTo>
                      <a:pt x="8766" y="1446"/>
                      <a:pt x="8183" y="2704"/>
                      <a:pt x="8068" y="4029"/>
                    </a:cubicBezTo>
                    <a:cubicBezTo>
                      <a:pt x="8412" y="3957"/>
                      <a:pt x="8947" y="3834"/>
                      <a:pt x="9555" y="3096"/>
                    </a:cubicBezTo>
                    <a:cubicBezTo>
                      <a:pt x="10606" y="1820"/>
                      <a:pt x="10037" y="1108"/>
                      <a:pt x="11244" y="0"/>
                    </a:cubicBezTo>
                    <a:cubicBezTo>
                      <a:pt x="9086" y="152"/>
                      <a:pt x="8041" y="1219"/>
                      <a:pt x="7569" y="2470"/>
                    </a:cubicBezTo>
                    <a:cubicBezTo>
                      <a:pt x="7551" y="2519"/>
                      <a:pt x="7533" y="2568"/>
                      <a:pt x="7516" y="2618"/>
                    </a:cubicBezTo>
                    <a:cubicBezTo>
                      <a:pt x="7499" y="2670"/>
                      <a:pt x="7482" y="2723"/>
                      <a:pt x="7466" y="2776"/>
                    </a:cubicBezTo>
                    <a:cubicBezTo>
                      <a:pt x="7324" y="3251"/>
                      <a:pt x="7255" y="3743"/>
                      <a:pt x="7233" y="4214"/>
                    </a:cubicBezTo>
                    <a:cubicBezTo>
                      <a:pt x="7227" y="4337"/>
                      <a:pt x="7224" y="4458"/>
                      <a:pt x="7224" y="4577"/>
                    </a:cubicBezTo>
                    <a:lnTo>
                      <a:pt x="7224" y="5280"/>
                    </a:lnTo>
                    <a:cubicBezTo>
                      <a:pt x="7190" y="5279"/>
                      <a:pt x="7156" y="5276"/>
                      <a:pt x="7121" y="5276"/>
                    </a:cubicBezTo>
                    <a:cubicBezTo>
                      <a:pt x="7107" y="5276"/>
                      <a:pt x="7095" y="5277"/>
                      <a:pt x="7082" y="5277"/>
                    </a:cubicBezTo>
                    <a:cubicBezTo>
                      <a:pt x="7033" y="5278"/>
                      <a:pt x="6986" y="5280"/>
                      <a:pt x="6939" y="5283"/>
                    </a:cubicBezTo>
                    <a:cubicBezTo>
                      <a:pt x="6217" y="5326"/>
                      <a:pt x="5581" y="5623"/>
                      <a:pt x="5070" y="6113"/>
                    </a:cubicBezTo>
                    <a:cubicBezTo>
                      <a:pt x="4740" y="5948"/>
                      <a:pt x="4382" y="5797"/>
                      <a:pt x="4006" y="5741"/>
                    </a:cubicBezTo>
                    <a:cubicBezTo>
                      <a:pt x="3196" y="5621"/>
                      <a:pt x="2767" y="5694"/>
                      <a:pt x="2454" y="5748"/>
                    </a:cubicBezTo>
                    <a:cubicBezTo>
                      <a:pt x="2277" y="5778"/>
                      <a:pt x="2149" y="5801"/>
                      <a:pt x="2006" y="5779"/>
                    </a:cubicBezTo>
                    <a:lnTo>
                      <a:pt x="1979" y="5775"/>
                    </a:lnTo>
                    <a:lnTo>
                      <a:pt x="1979" y="6135"/>
                    </a:lnTo>
                    <a:cubicBezTo>
                      <a:pt x="2167" y="6158"/>
                      <a:pt x="2329" y="6132"/>
                      <a:pt x="2514" y="6100"/>
                    </a:cubicBezTo>
                    <a:cubicBezTo>
                      <a:pt x="2820" y="6048"/>
                      <a:pt x="3200" y="5983"/>
                      <a:pt x="3953" y="6094"/>
                    </a:cubicBezTo>
                    <a:cubicBezTo>
                      <a:pt x="4247" y="6138"/>
                      <a:pt x="4539" y="6254"/>
                      <a:pt x="4816" y="6387"/>
                    </a:cubicBezTo>
                    <a:cubicBezTo>
                      <a:pt x="4964" y="6458"/>
                      <a:pt x="5108" y="6534"/>
                      <a:pt x="5246" y="6607"/>
                    </a:cubicBezTo>
                    <a:cubicBezTo>
                      <a:pt x="5584" y="6786"/>
                      <a:pt x="5875" y="6940"/>
                      <a:pt x="6145" y="6987"/>
                    </a:cubicBezTo>
                    <a:cubicBezTo>
                      <a:pt x="6374" y="7027"/>
                      <a:pt x="6617" y="7019"/>
                      <a:pt x="6873" y="7011"/>
                    </a:cubicBezTo>
                    <a:cubicBezTo>
                      <a:pt x="7279" y="6999"/>
                      <a:pt x="7740" y="6985"/>
                      <a:pt x="8301" y="7145"/>
                    </a:cubicBezTo>
                    <a:cubicBezTo>
                      <a:pt x="8622" y="7237"/>
                      <a:pt x="8803" y="7401"/>
                      <a:pt x="8825" y="7618"/>
                    </a:cubicBezTo>
                    <a:cubicBezTo>
                      <a:pt x="8835" y="7725"/>
                      <a:pt x="8806" y="7830"/>
                      <a:pt x="8758" y="7918"/>
                    </a:cubicBezTo>
                    <a:cubicBezTo>
                      <a:pt x="8709" y="8005"/>
                      <a:pt x="8640" y="8076"/>
                      <a:pt x="8571" y="8111"/>
                    </a:cubicBezTo>
                    <a:cubicBezTo>
                      <a:pt x="8540" y="8127"/>
                      <a:pt x="8502" y="8141"/>
                      <a:pt x="8461" y="8153"/>
                    </a:cubicBezTo>
                    <a:cubicBezTo>
                      <a:pt x="8371" y="8180"/>
                      <a:pt x="8259" y="8200"/>
                      <a:pt x="8128" y="8211"/>
                    </a:cubicBezTo>
                    <a:cubicBezTo>
                      <a:pt x="7846" y="8235"/>
                      <a:pt x="7483" y="8223"/>
                      <a:pt x="7099" y="8176"/>
                    </a:cubicBezTo>
                    <a:cubicBezTo>
                      <a:pt x="7067" y="8172"/>
                      <a:pt x="7035" y="8168"/>
                      <a:pt x="7003" y="8164"/>
                    </a:cubicBezTo>
                    <a:cubicBezTo>
                      <a:pt x="6984" y="8161"/>
                      <a:pt x="6965" y="8158"/>
                      <a:pt x="6945" y="8155"/>
                    </a:cubicBezTo>
                    <a:cubicBezTo>
                      <a:pt x="6790" y="8133"/>
                      <a:pt x="6633" y="8105"/>
                      <a:pt x="6477" y="8071"/>
                    </a:cubicBezTo>
                    <a:cubicBezTo>
                      <a:pt x="6423" y="8060"/>
                      <a:pt x="6370" y="8048"/>
                      <a:pt x="6316" y="8035"/>
                    </a:cubicBezTo>
                    <a:cubicBezTo>
                      <a:pt x="6270" y="8024"/>
                      <a:pt x="6226" y="8017"/>
                      <a:pt x="6181" y="8008"/>
                    </a:cubicBezTo>
                    <a:cubicBezTo>
                      <a:pt x="6126" y="7998"/>
                      <a:pt x="6072" y="7990"/>
                      <a:pt x="6020" y="7984"/>
                    </a:cubicBezTo>
                    <a:cubicBezTo>
                      <a:pt x="5990" y="7981"/>
                      <a:pt x="5960" y="7977"/>
                      <a:pt x="5931" y="7975"/>
                    </a:cubicBezTo>
                    <a:cubicBezTo>
                      <a:pt x="5524" y="7946"/>
                      <a:pt x="5206" y="8034"/>
                      <a:pt x="4994" y="8127"/>
                    </a:cubicBezTo>
                    <a:cubicBezTo>
                      <a:pt x="4960" y="8142"/>
                      <a:pt x="4936" y="8168"/>
                      <a:pt x="4918" y="8197"/>
                    </a:cubicBezTo>
                    <a:cubicBezTo>
                      <a:pt x="4888" y="8246"/>
                      <a:pt x="4878" y="8306"/>
                      <a:pt x="4903" y="8363"/>
                    </a:cubicBezTo>
                    <a:cubicBezTo>
                      <a:pt x="4943" y="8452"/>
                      <a:pt x="5048" y="8493"/>
                      <a:pt x="5138" y="8454"/>
                    </a:cubicBezTo>
                    <a:cubicBezTo>
                      <a:pt x="5465" y="8310"/>
                      <a:pt x="5833" y="8286"/>
                      <a:pt x="6233" y="8382"/>
                    </a:cubicBezTo>
                    <a:cubicBezTo>
                      <a:pt x="6732" y="8503"/>
                      <a:pt x="7317" y="8582"/>
                      <a:pt x="7817" y="8582"/>
                    </a:cubicBezTo>
                    <a:cubicBezTo>
                      <a:pt x="8196" y="8582"/>
                      <a:pt x="8527" y="8536"/>
                      <a:pt x="8735" y="8429"/>
                    </a:cubicBezTo>
                    <a:cubicBezTo>
                      <a:pt x="8828" y="8381"/>
                      <a:pt x="8910" y="8308"/>
                      <a:pt x="8978" y="8223"/>
                    </a:cubicBezTo>
                    <a:cubicBezTo>
                      <a:pt x="9279" y="8130"/>
                      <a:pt x="9558" y="8062"/>
                      <a:pt x="9563" y="8061"/>
                    </a:cubicBezTo>
                    <a:cubicBezTo>
                      <a:pt x="9577" y="8057"/>
                      <a:pt x="9590" y="8052"/>
                      <a:pt x="9603" y="8045"/>
                    </a:cubicBezTo>
                    <a:lnTo>
                      <a:pt x="10404" y="7630"/>
                    </a:lnTo>
                    <a:cubicBezTo>
                      <a:pt x="10627" y="7523"/>
                      <a:pt x="10731" y="7601"/>
                      <a:pt x="10766" y="7626"/>
                    </a:cubicBezTo>
                    <a:cubicBezTo>
                      <a:pt x="10877" y="7708"/>
                      <a:pt x="10927" y="7862"/>
                      <a:pt x="10935" y="7937"/>
                    </a:cubicBezTo>
                    <a:cubicBezTo>
                      <a:pt x="10867" y="7990"/>
                      <a:pt x="10749" y="8081"/>
                      <a:pt x="10619" y="8183"/>
                    </a:cubicBezTo>
                    <a:cubicBezTo>
                      <a:pt x="10396" y="8357"/>
                      <a:pt x="10058" y="8621"/>
                      <a:pt x="10018" y="8647"/>
                    </a:cubicBezTo>
                    <a:cubicBezTo>
                      <a:pt x="9989" y="8661"/>
                      <a:pt x="9867" y="8708"/>
                      <a:pt x="9720" y="8765"/>
                    </a:cubicBezTo>
                    <a:cubicBezTo>
                      <a:pt x="9489" y="8855"/>
                      <a:pt x="9201" y="8966"/>
                      <a:pt x="9086" y="9020"/>
                    </a:cubicBezTo>
                    <a:cubicBezTo>
                      <a:pt x="8816" y="9144"/>
                      <a:pt x="8300" y="9346"/>
                      <a:pt x="8196" y="9349"/>
                    </a:cubicBezTo>
                    <a:cubicBezTo>
                      <a:pt x="8024" y="9349"/>
                      <a:pt x="7346" y="9463"/>
                      <a:pt x="6547" y="9626"/>
                    </a:cubicBezTo>
                    <a:cubicBezTo>
                      <a:pt x="5919" y="9754"/>
                      <a:pt x="5696" y="9741"/>
                      <a:pt x="5291" y="9552"/>
                    </a:cubicBezTo>
                    <a:cubicBezTo>
                      <a:pt x="4872" y="9356"/>
                      <a:pt x="2441" y="8613"/>
                      <a:pt x="2148" y="8613"/>
                    </a:cubicBezTo>
                    <a:lnTo>
                      <a:pt x="1979" y="8613"/>
                    </a:lnTo>
                    <a:lnTo>
                      <a:pt x="1979" y="8970"/>
                    </a:lnTo>
                    <a:lnTo>
                      <a:pt x="2146" y="8970"/>
                    </a:lnTo>
                    <a:cubicBezTo>
                      <a:pt x="2378" y="8981"/>
                      <a:pt x="4685" y="9662"/>
                      <a:pt x="5139" y="9875"/>
                    </a:cubicBezTo>
                    <a:cubicBezTo>
                      <a:pt x="5427" y="10010"/>
                      <a:pt x="5655" y="10067"/>
                      <a:pt x="5917" y="10067"/>
                    </a:cubicBezTo>
                    <a:cubicBezTo>
                      <a:pt x="6117" y="10067"/>
                      <a:pt x="6337" y="10034"/>
                      <a:pt x="6619" y="9976"/>
                    </a:cubicBezTo>
                    <a:cubicBezTo>
                      <a:pt x="7530" y="9790"/>
                      <a:pt x="8089" y="9706"/>
                      <a:pt x="8196" y="9706"/>
                    </a:cubicBezTo>
                    <a:cubicBezTo>
                      <a:pt x="8437" y="9706"/>
                      <a:pt x="9228" y="9348"/>
                      <a:pt x="9235" y="9344"/>
                    </a:cubicBezTo>
                    <a:cubicBezTo>
                      <a:pt x="9341" y="9296"/>
                      <a:pt x="9635" y="9181"/>
                      <a:pt x="9849" y="9098"/>
                    </a:cubicBezTo>
                    <a:cubicBezTo>
                      <a:pt x="10069" y="9013"/>
                      <a:pt x="10148" y="8982"/>
                      <a:pt x="10176" y="8967"/>
                    </a:cubicBezTo>
                    <a:cubicBezTo>
                      <a:pt x="10216" y="8947"/>
                      <a:pt x="10303" y="8883"/>
                      <a:pt x="10839" y="8464"/>
                    </a:cubicBezTo>
                    <a:cubicBezTo>
                      <a:pt x="11008" y="8332"/>
                      <a:pt x="11155" y="8217"/>
                      <a:pt x="11194" y="8190"/>
                    </a:cubicBezTo>
                    <a:cubicBezTo>
                      <a:pt x="11364" y="8068"/>
                      <a:pt x="11285" y="7748"/>
                      <a:pt x="11174" y="7560"/>
                    </a:cubicBezTo>
                    <a:close/>
                    <a:moveTo>
                      <a:pt x="0" y="9309"/>
                    </a:moveTo>
                    <a:lnTo>
                      <a:pt x="1630" y="9309"/>
                    </a:lnTo>
                    <a:lnTo>
                      <a:pt x="1630" y="5351"/>
                    </a:lnTo>
                    <a:lnTo>
                      <a:pt x="0" y="5351"/>
                    </a:lnTo>
                    <a:lnTo>
                      <a:pt x="0" y="9309"/>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nvGrpSpPr>
              <p:cNvPr id="352" name="Problem_Based_Learning" descr="{&quot;Key&quot;:&quot;POWER_USER_SHAPE_ICON&quot;,&quot;Value&quot;:&quot;POWER_USER_SHAPE_ICON_STYLE_1&quot;}">
                <a:extLst>
                  <a:ext uri="{FF2B5EF4-FFF2-40B4-BE49-F238E27FC236}">
                    <a16:creationId xmlns:a16="http://schemas.microsoft.com/office/drawing/2014/main" id="{8DFBDB91-98E9-4944-B84B-E4D50AF83646}"/>
                  </a:ext>
                </a:extLst>
              </p:cNvPr>
              <p:cNvGrpSpPr>
                <a:grpSpLocks noChangeAspect="1"/>
              </p:cNvGrpSpPr>
              <p:nvPr>
                <p:custDataLst>
                  <p:tags r:id="rId13"/>
                </p:custDataLst>
              </p:nvPr>
            </p:nvGrpSpPr>
            <p:grpSpPr bwMode="auto">
              <a:xfrm>
                <a:off x="7183815" y="778521"/>
                <a:ext cx="172311" cy="185669"/>
                <a:chOff x="7" y="8"/>
                <a:chExt cx="424" cy="471"/>
              </a:xfrm>
              <a:solidFill>
                <a:schemeClr val="bg1"/>
              </a:solidFill>
            </p:grpSpPr>
            <p:sp>
              <p:nvSpPr>
                <p:cNvPr id="353" name="Problem_Based_Learning">
                  <a:extLst>
                    <a:ext uri="{FF2B5EF4-FFF2-40B4-BE49-F238E27FC236}">
                      <a16:creationId xmlns:a16="http://schemas.microsoft.com/office/drawing/2014/main" id="{D2DDA6A5-FC7F-4128-AA68-16FD9E34C85C}"/>
                    </a:ext>
                  </a:extLst>
                </p:cNvPr>
                <p:cNvSpPr>
                  <a:spLocks/>
                </p:cNvSpPr>
                <p:nvPr>
                  <p:custDataLst>
                    <p:tags r:id="rId14"/>
                  </p:custDataLst>
                </p:nvPr>
              </p:nvSpPr>
              <p:spPr bwMode="auto">
                <a:xfrm>
                  <a:off x="214" y="8"/>
                  <a:ext cx="20" cy="69"/>
                </a:xfrm>
                <a:custGeom>
                  <a:avLst/>
                  <a:gdLst>
                    <a:gd name="T0" fmla="*/ 26 w 52"/>
                    <a:gd name="T1" fmla="*/ 183 h 183"/>
                    <a:gd name="T2" fmla="*/ 0 w 52"/>
                    <a:gd name="T3" fmla="*/ 156 h 183"/>
                    <a:gd name="T4" fmla="*/ 0 w 52"/>
                    <a:gd name="T5" fmla="*/ 26 h 183"/>
                    <a:gd name="T6" fmla="*/ 26 w 52"/>
                    <a:gd name="T7" fmla="*/ 0 h 183"/>
                    <a:gd name="T8" fmla="*/ 52 w 52"/>
                    <a:gd name="T9" fmla="*/ 26 h 183"/>
                    <a:gd name="T10" fmla="*/ 52 w 52"/>
                    <a:gd name="T11" fmla="*/ 156 h 183"/>
                    <a:gd name="T12" fmla="*/ 26 w 52"/>
                    <a:gd name="T13" fmla="*/ 183 h 183"/>
                  </a:gdLst>
                  <a:ahLst/>
                  <a:cxnLst>
                    <a:cxn ang="0">
                      <a:pos x="T0" y="T1"/>
                    </a:cxn>
                    <a:cxn ang="0">
                      <a:pos x="T2" y="T3"/>
                    </a:cxn>
                    <a:cxn ang="0">
                      <a:pos x="T4" y="T5"/>
                    </a:cxn>
                    <a:cxn ang="0">
                      <a:pos x="T6" y="T7"/>
                    </a:cxn>
                    <a:cxn ang="0">
                      <a:pos x="T8" y="T9"/>
                    </a:cxn>
                    <a:cxn ang="0">
                      <a:pos x="T10" y="T11"/>
                    </a:cxn>
                    <a:cxn ang="0">
                      <a:pos x="T12" y="T13"/>
                    </a:cxn>
                  </a:cxnLst>
                  <a:rect l="0" t="0" r="r" b="b"/>
                  <a:pathLst>
                    <a:path w="52" h="183">
                      <a:moveTo>
                        <a:pt x="26" y="183"/>
                      </a:moveTo>
                      <a:cubicBezTo>
                        <a:pt x="11" y="183"/>
                        <a:pt x="0" y="171"/>
                        <a:pt x="0" y="156"/>
                      </a:cubicBezTo>
                      <a:lnTo>
                        <a:pt x="0" y="26"/>
                      </a:lnTo>
                      <a:cubicBezTo>
                        <a:pt x="0" y="12"/>
                        <a:pt x="11" y="0"/>
                        <a:pt x="26" y="0"/>
                      </a:cubicBezTo>
                      <a:cubicBezTo>
                        <a:pt x="40" y="0"/>
                        <a:pt x="52" y="12"/>
                        <a:pt x="52" y="26"/>
                      </a:cubicBezTo>
                      <a:lnTo>
                        <a:pt x="52" y="156"/>
                      </a:lnTo>
                      <a:cubicBezTo>
                        <a:pt x="52" y="171"/>
                        <a:pt x="40" y="183"/>
                        <a:pt x="26" y="183"/>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noProof="0">
                    <a:ln>
                      <a:noFill/>
                    </a:ln>
                    <a:solidFill>
                      <a:prstClr val="black"/>
                    </a:solidFill>
                    <a:effectLst/>
                    <a:uLnTx/>
                    <a:uFillTx/>
                    <a:latin typeface="Calibri" panose="020F0502020204030204"/>
                    <a:ea typeface="+mn-ea"/>
                    <a:cs typeface="+mn-cs"/>
                  </a:endParaRPr>
                </a:p>
              </p:txBody>
            </p:sp>
            <p:sp>
              <p:nvSpPr>
                <p:cNvPr id="354" name="Problem_Based_Learning">
                  <a:extLst>
                    <a:ext uri="{FF2B5EF4-FFF2-40B4-BE49-F238E27FC236}">
                      <a16:creationId xmlns:a16="http://schemas.microsoft.com/office/drawing/2014/main" id="{3762C049-54E1-4059-A261-F12B2E7E5E5C}"/>
                    </a:ext>
                  </a:extLst>
                </p:cNvPr>
                <p:cNvSpPr>
                  <a:spLocks/>
                </p:cNvSpPr>
                <p:nvPr>
                  <p:custDataLst>
                    <p:tags r:id="rId15"/>
                  </p:custDataLst>
                </p:nvPr>
              </p:nvSpPr>
              <p:spPr bwMode="auto">
                <a:xfrm>
                  <a:off x="301" y="46"/>
                  <a:ext cx="51" cy="60"/>
                </a:xfrm>
                <a:custGeom>
                  <a:avLst/>
                  <a:gdLst>
                    <a:gd name="T0" fmla="*/ 29 w 137"/>
                    <a:gd name="T1" fmla="*/ 160 h 160"/>
                    <a:gd name="T2" fmla="*/ 14 w 137"/>
                    <a:gd name="T3" fmla="*/ 155 h 160"/>
                    <a:gd name="T4" fmla="*/ 9 w 137"/>
                    <a:gd name="T5" fmla="*/ 118 h 160"/>
                    <a:gd name="T6" fmla="*/ 87 w 137"/>
                    <a:gd name="T7" fmla="*/ 14 h 160"/>
                    <a:gd name="T8" fmla="*/ 123 w 137"/>
                    <a:gd name="T9" fmla="*/ 9 h 160"/>
                    <a:gd name="T10" fmla="*/ 128 w 137"/>
                    <a:gd name="T11" fmla="*/ 45 h 160"/>
                    <a:gd name="T12" fmla="*/ 50 w 137"/>
                    <a:gd name="T13" fmla="*/ 149 h 160"/>
                    <a:gd name="T14" fmla="*/ 29 w 137"/>
                    <a:gd name="T15" fmla="*/ 160 h 16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7" h="160">
                      <a:moveTo>
                        <a:pt x="29" y="160"/>
                      </a:moveTo>
                      <a:cubicBezTo>
                        <a:pt x="24" y="160"/>
                        <a:pt x="18" y="158"/>
                        <a:pt x="14" y="155"/>
                      </a:cubicBezTo>
                      <a:cubicBezTo>
                        <a:pt x="2" y="146"/>
                        <a:pt x="0" y="130"/>
                        <a:pt x="9" y="118"/>
                      </a:cubicBezTo>
                      <a:lnTo>
                        <a:pt x="87" y="14"/>
                      </a:lnTo>
                      <a:cubicBezTo>
                        <a:pt x="95" y="2"/>
                        <a:pt x="112" y="0"/>
                        <a:pt x="123" y="9"/>
                      </a:cubicBezTo>
                      <a:cubicBezTo>
                        <a:pt x="135" y="17"/>
                        <a:pt x="137" y="34"/>
                        <a:pt x="128" y="45"/>
                      </a:cubicBezTo>
                      <a:lnTo>
                        <a:pt x="50" y="149"/>
                      </a:lnTo>
                      <a:cubicBezTo>
                        <a:pt x="45" y="156"/>
                        <a:pt x="37" y="160"/>
                        <a:pt x="29" y="16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noProof="0">
                    <a:ln>
                      <a:noFill/>
                    </a:ln>
                    <a:solidFill>
                      <a:prstClr val="black"/>
                    </a:solidFill>
                    <a:effectLst/>
                    <a:uLnTx/>
                    <a:uFillTx/>
                    <a:latin typeface="Calibri" panose="020F0502020204030204"/>
                    <a:ea typeface="+mn-ea"/>
                    <a:cs typeface="+mn-cs"/>
                  </a:endParaRPr>
                </a:p>
              </p:txBody>
            </p:sp>
            <p:sp>
              <p:nvSpPr>
                <p:cNvPr id="355" name="Problem_Based_Learning">
                  <a:extLst>
                    <a:ext uri="{FF2B5EF4-FFF2-40B4-BE49-F238E27FC236}">
                      <a16:creationId xmlns:a16="http://schemas.microsoft.com/office/drawing/2014/main" id="{7A9DB576-B25B-45EA-AE04-1095001FDA15}"/>
                    </a:ext>
                  </a:extLst>
                </p:cNvPr>
                <p:cNvSpPr>
                  <a:spLocks/>
                </p:cNvSpPr>
                <p:nvPr>
                  <p:custDataLst>
                    <p:tags r:id="rId16"/>
                  </p:custDataLst>
                </p:nvPr>
              </p:nvSpPr>
              <p:spPr bwMode="auto">
                <a:xfrm>
                  <a:off x="85" y="46"/>
                  <a:ext cx="52" cy="60"/>
                </a:xfrm>
                <a:custGeom>
                  <a:avLst/>
                  <a:gdLst>
                    <a:gd name="T0" fmla="*/ 108 w 137"/>
                    <a:gd name="T1" fmla="*/ 160 h 160"/>
                    <a:gd name="T2" fmla="*/ 87 w 137"/>
                    <a:gd name="T3" fmla="*/ 149 h 160"/>
                    <a:gd name="T4" fmla="*/ 9 w 137"/>
                    <a:gd name="T5" fmla="*/ 45 h 160"/>
                    <a:gd name="T6" fmla="*/ 14 w 137"/>
                    <a:gd name="T7" fmla="*/ 9 h 160"/>
                    <a:gd name="T8" fmla="*/ 51 w 137"/>
                    <a:gd name="T9" fmla="*/ 14 h 160"/>
                    <a:gd name="T10" fmla="*/ 129 w 137"/>
                    <a:gd name="T11" fmla="*/ 118 h 160"/>
                    <a:gd name="T12" fmla="*/ 124 w 137"/>
                    <a:gd name="T13" fmla="*/ 155 h 160"/>
                    <a:gd name="T14" fmla="*/ 108 w 137"/>
                    <a:gd name="T15" fmla="*/ 160 h 16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7" h="160">
                      <a:moveTo>
                        <a:pt x="108" y="160"/>
                      </a:moveTo>
                      <a:cubicBezTo>
                        <a:pt x="100" y="160"/>
                        <a:pt x="92" y="156"/>
                        <a:pt x="87" y="149"/>
                      </a:cubicBezTo>
                      <a:lnTo>
                        <a:pt x="9" y="45"/>
                      </a:lnTo>
                      <a:cubicBezTo>
                        <a:pt x="0" y="34"/>
                        <a:pt x="3" y="17"/>
                        <a:pt x="14" y="9"/>
                      </a:cubicBezTo>
                      <a:cubicBezTo>
                        <a:pt x="26" y="0"/>
                        <a:pt x="42" y="2"/>
                        <a:pt x="51" y="14"/>
                      </a:cubicBezTo>
                      <a:lnTo>
                        <a:pt x="129" y="118"/>
                      </a:lnTo>
                      <a:cubicBezTo>
                        <a:pt x="137" y="130"/>
                        <a:pt x="135" y="146"/>
                        <a:pt x="124" y="155"/>
                      </a:cubicBezTo>
                      <a:cubicBezTo>
                        <a:pt x="119" y="158"/>
                        <a:pt x="113" y="160"/>
                        <a:pt x="108" y="16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noProof="0">
                    <a:ln>
                      <a:noFill/>
                    </a:ln>
                    <a:solidFill>
                      <a:prstClr val="black"/>
                    </a:solidFill>
                    <a:effectLst/>
                    <a:uLnTx/>
                    <a:uFillTx/>
                    <a:latin typeface="Calibri" panose="020F0502020204030204"/>
                    <a:ea typeface="+mn-ea"/>
                    <a:cs typeface="+mn-cs"/>
                  </a:endParaRPr>
                </a:p>
              </p:txBody>
            </p:sp>
            <p:sp>
              <p:nvSpPr>
                <p:cNvPr id="356" name="Problem_Based_Learning">
                  <a:extLst>
                    <a:ext uri="{FF2B5EF4-FFF2-40B4-BE49-F238E27FC236}">
                      <a16:creationId xmlns:a16="http://schemas.microsoft.com/office/drawing/2014/main" id="{37D2B0F9-F484-48A7-8758-DEED924C9898}"/>
                    </a:ext>
                  </a:extLst>
                </p:cNvPr>
                <p:cNvSpPr>
                  <a:spLocks/>
                </p:cNvSpPr>
                <p:nvPr>
                  <p:custDataLst>
                    <p:tags r:id="rId17"/>
                  </p:custDataLst>
                </p:nvPr>
              </p:nvSpPr>
              <p:spPr bwMode="auto">
                <a:xfrm>
                  <a:off x="7" y="134"/>
                  <a:ext cx="61" cy="41"/>
                </a:xfrm>
                <a:custGeom>
                  <a:avLst/>
                  <a:gdLst>
                    <a:gd name="T0" fmla="*/ 134 w 164"/>
                    <a:gd name="T1" fmla="*/ 108 h 108"/>
                    <a:gd name="T2" fmla="*/ 123 w 164"/>
                    <a:gd name="T3" fmla="*/ 106 h 108"/>
                    <a:gd name="T4" fmla="*/ 18 w 164"/>
                    <a:gd name="T5" fmla="*/ 53 h 108"/>
                    <a:gd name="T6" fmla="*/ 7 w 164"/>
                    <a:gd name="T7" fmla="*/ 18 h 108"/>
                    <a:gd name="T8" fmla="*/ 42 w 164"/>
                    <a:gd name="T9" fmla="*/ 7 h 108"/>
                    <a:gd name="T10" fmla="*/ 146 w 164"/>
                    <a:gd name="T11" fmla="*/ 59 h 108"/>
                    <a:gd name="T12" fmla="*/ 158 w 164"/>
                    <a:gd name="T13" fmla="*/ 94 h 108"/>
                    <a:gd name="T14" fmla="*/ 134 w 164"/>
                    <a:gd name="T15" fmla="*/ 108 h 1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4" h="108">
                      <a:moveTo>
                        <a:pt x="134" y="108"/>
                      </a:moveTo>
                      <a:cubicBezTo>
                        <a:pt x="130" y="108"/>
                        <a:pt x="126" y="107"/>
                        <a:pt x="123" y="106"/>
                      </a:cubicBezTo>
                      <a:lnTo>
                        <a:pt x="18" y="53"/>
                      </a:lnTo>
                      <a:cubicBezTo>
                        <a:pt x="6" y="47"/>
                        <a:pt x="0" y="31"/>
                        <a:pt x="7" y="18"/>
                      </a:cubicBezTo>
                      <a:cubicBezTo>
                        <a:pt x="13" y="6"/>
                        <a:pt x="29" y="0"/>
                        <a:pt x="42" y="7"/>
                      </a:cubicBezTo>
                      <a:lnTo>
                        <a:pt x="146" y="59"/>
                      </a:lnTo>
                      <a:cubicBezTo>
                        <a:pt x="159" y="65"/>
                        <a:pt x="164" y="81"/>
                        <a:pt x="158" y="94"/>
                      </a:cubicBezTo>
                      <a:cubicBezTo>
                        <a:pt x="153" y="103"/>
                        <a:pt x="144" y="108"/>
                        <a:pt x="134" y="108"/>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noProof="0">
                    <a:ln>
                      <a:noFill/>
                    </a:ln>
                    <a:solidFill>
                      <a:prstClr val="black"/>
                    </a:solidFill>
                    <a:effectLst/>
                    <a:uLnTx/>
                    <a:uFillTx/>
                    <a:latin typeface="Calibri" panose="020F0502020204030204"/>
                    <a:ea typeface="+mn-ea"/>
                    <a:cs typeface="+mn-cs"/>
                  </a:endParaRPr>
                </a:p>
              </p:txBody>
            </p:sp>
            <p:sp>
              <p:nvSpPr>
                <p:cNvPr id="357" name="Problem_Based_Learning">
                  <a:extLst>
                    <a:ext uri="{FF2B5EF4-FFF2-40B4-BE49-F238E27FC236}">
                      <a16:creationId xmlns:a16="http://schemas.microsoft.com/office/drawing/2014/main" id="{689BFDA4-D2E1-486A-9908-89E677BCDB92}"/>
                    </a:ext>
                  </a:extLst>
                </p:cNvPr>
                <p:cNvSpPr>
                  <a:spLocks/>
                </p:cNvSpPr>
                <p:nvPr>
                  <p:custDataLst>
                    <p:tags r:id="rId18"/>
                  </p:custDataLst>
                </p:nvPr>
              </p:nvSpPr>
              <p:spPr bwMode="auto">
                <a:xfrm>
                  <a:off x="369" y="134"/>
                  <a:ext cx="62" cy="41"/>
                </a:xfrm>
                <a:custGeom>
                  <a:avLst/>
                  <a:gdLst>
                    <a:gd name="T0" fmla="*/ 30 w 164"/>
                    <a:gd name="T1" fmla="*/ 108 h 108"/>
                    <a:gd name="T2" fmla="*/ 7 w 164"/>
                    <a:gd name="T3" fmla="*/ 94 h 108"/>
                    <a:gd name="T4" fmla="*/ 18 w 164"/>
                    <a:gd name="T5" fmla="*/ 59 h 108"/>
                    <a:gd name="T6" fmla="*/ 123 w 164"/>
                    <a:gd name="T7" fmla="*/ 7 h 108"/>
                    <a:gd name="T8" fmla="*/ 158 w 164"/>
                    <a:gd name="T9" fmla="*/ 18 h 108"/>
                    <a:gd name="T10" fmla="*/ 146 w 164"/>
                    <a:gd name="T11" fmla="*/ 53 h 108"/>
                    <a:gd name="T12" fmla="*/ 42 w 164"/>
                    <a:gd name="T13" fmla="*/ 106 h 108"/>
                    <a:gd name="T14" fmla="*/ 30 w 164"/>
                    <a:gd name="T15" fmla="*/ 108 h 1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4" h="108">
                      <a:moveTo>
                        <a:pt x="30" y="108"/>
                      </a:moveTo>
                      <a:cubicBezTo>
                        <a:pt x="20" y="108"/>
                        <a:pt x="11" y="103"/>
                        <a:pt x="7" y="94"/>
                      </a:cubicBezTo>
                      <a:cubicBezTo>
                        <a:pt x="0" y="81"/>
                        <a:pt x="5" y="65"/>
                        <a:pt x="18" y="59"/>
                      </a:cubicBezTo>
                      <a:lnTo>
                        <a:pt x="123" y="7"/>
                      </a:lnTo>
                      <a:cubicBezTo>
                        <a:pt x="135" y="0"/>
                        <a:pt x="151" y="6"/>
                        <a:pt x="158" y="18"/>
                      </a:cubicBezTo>
                      <a:cubicBezTo>
                        <a:pt x="164" y="31"/>
                        <a:pt x="159" y="47"/>
                        <a:pt x="146" y="53"/>
                      </a:cubicBezTo>
                      <a:lnTo>
                        <a:pt x="42" y="106"/>
                      </a:lnTo>
                      <a:cubicBezTo>
                        <a:pt x="38" y="107"/>
                        <a:pt x="34" y="108"/>
                        <a:pt x="30" y="108"/>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noProof="0">
                    <a:ln>
                      <a:noFill/>
                    </a:ln>
                    <a:solidFill>
                      <a:prstClr val="black"/>
                    </a:solidFill>
                    <a:effectLst/>
                    <a:uLnTx/>
                    <a:uFillTx/>
                    <a:latin typeface="Calibri" panose="020F0502020204030204"/>
                    <a:ea typeface="+mn-ea"/>
                    <a:cs typeface="+mn-cs"/>
                  </a:endParaRPr>
                </a:p>
              </p:txBody>
            </p:sp>
            <p:sp>
              <p:nvSpPr>
                <p:cNvPr id="358" name="Problem_Based_Learning">
                  <a:extLst>
                    <a:ext uri="{FF2B5EF4-FFF2-40B4-BE49-F238E27FC236}">
                      <a16:creationId xmlns:a16="http://schemas.microsoft.com/office/drawing/2014/main" id="{CF4A830D-544D-4CD9-9F49-51CBDACC3C7E}"/>
                    </a:ext>
                  </a:extLst>
                </p:cNvPr>
                <p:cNvSpPr>
                  <a:spLocks noEditPoints="1"/>
                </p:cNvSpPr>
                <p:nvPr>
                  <p:custDataLst>
                    <p:tags r:id="rId19"/>
                  </p:custDataLst>
                </p:nvPr>
              </p:nvSpPr>
              <p:spPr bwMode="auto">
                <a:xfrm>
                  <a:off x="87" y="106"/>
                  <a:ext cx="303" cy="373"/>
                </a:xfrm>
                <a:custGeom>
                  <a:avLst/>
                  <a:gdLst>
                    <a:gd name="T0" fmla="*/ 730 w 808"/>
                    <a:gd name="T1" fmla="*/ 391 h 989"/>
                    <a:gd name="T2" fmla="*/ 730 w 808"/>
                    <a:gd name="T3" fmla="*/ 365 h 989"/>
                    <a:gd name="T4" fmla="*/ 365 w 808"/>
                    <a:gd name="T5" fmla="*/ 0 h 989"/>
                    <a:gd name="T6" fmla="*/ 0 w 808"/>
                    <a:gd name="T7" fmla="*/ 365 h 989"/>
                    <a:gd name="T8" fmla="*/ 78 w 808"/>
                    <a:gd name="T9" fmla="*/ 590 h 989"/>
                    <a:gd name="T10" fmla="*/ 78 w 808"/>
                    <a:gd name="T11" fmla="*/ 989 h 989"/>
                    <a:gd name="T12" fmla="*/ 547 w 808"/>
                    <a:gd name="T13" fmla="*/ 989 h 989"/>
                    <a:gd name="T14" fmla="*/ 547 w 808"/>
                    <a:gd name="T15" fmla="*/ 860 h 989"/>
                    <a:gd name="T16" fmla="*/ 704 w 808"/>
                    <a:gd name="T17" fmla="*/ 704 h 989"/>
                    <a:gd name="T18" fmla="*/ 704 w 808"/>
                    <a:gd name="T19" fmla="*/ 626 h 989"/>
                    <a:gd name="T20" fmla="*/ 782 w 808"/>
                    <a:gd name="T21" fmla="*/ 626 h 989"/>
                    <a:gd name="T22" fmla="*/ 808 w 808"/>
                    <a:gd name="T23" fmla="*/ 600 h 989"/>
                    <a:gd name="T24" fmla="*/ 730 w 808"/>
                    <a:gd name="T25" fmla="*/ 391 h 989"/>
                    <a:gd name="T26" fmla="*/ 587 w 808"/>
                    <a:gd name="T27" fmla="*/ 387 h 989"/>
                    <a:gd name="T28" fmla="*/ 547 w 808"/>
                    <a:gd name="T29" fmla="*/ 365 h 989"/>
                    <a:gd name="T30" fmla="*/ 522 w 808"/>
                    <a:gd name="T31" fmla="*/ 385 h 989"/>
                    <a:gd name="T32" fmla="*/ 520 w 808"/>
                    <a:gd name="T33" fmla="*/ 474 h 989"/>
                    <a:gd name="T34" fmla="*/ 410 w 808"/>
                    <a:gd name="T35" fmla="*/ 473 h 989"/>
                    <a:gd name="T36" fmla="*/ 390 w 808"/>
                    <a:gd name="T37" fmla="*/ 449 h 989"/>
                    <a:gd name="T38" fmla="*/ 412 w 808"/>
                    <a:gd name="T39" fmla="*/ 409 h 989"/>
                    <a:gd name="T40" fmla="*/ 368 w 808"/>
                    <a:gd name="T41" fmla="*/ 364 h 989"/>
                    <a:gd name="T42" fmla="*/ 325 w 808"/>
                    <a:gd name="T43" fmla="*/ 409 h 989"/>
                    <a:gd name="T44" fmla="*/ 347 w 808"/>
                    <a:gd name="T45" fmla="*/ 449 h 989"/>
                    <a:gd name="T46" fmla="*/ 326 w 808"/>
                    <a:gd name="T47" fmla="*/ 473 h 989"/>
                    <a:gd name="T48" fmla="*/ 214 w 808"/>
                    <a:gd name="T49" fmla="*/ 474 h 989"/>
                    <a:gd name="T50" fmla="*/ 213 w 808"/>
                    <a:gd name="T51" fmla="*/ 385 h 989"/>
                    <a:gd name="T52" fmla="*/ 188 w 808"/>
                    <a:gd name="T53" fmla="*/ 365 h 989"/>
                    <a:gd name="T54" fmla="*/ 148 w 808"/>
                    <a:gd name="T55" fmla="*/ 387 h 989"/>
                    <a:gd name="T56" fmla="*/ 104 w 808"/>
                    <a:gd name="T57" fmla="*/ 344 h 989"/>
                    <a:gd name="T58" fmla="*/ 148 w 808"/>
                    <a:gd name="T59" fmla="*/ 300 h 989"/>
                    <a:gd name="T60" fmla="*/ 188 w 808"/>
                    <a:gd name="T61" fmla="*/ 322 h 989"/>
                    <a:gd name="T62" fmla="*/ 213 w 808"/>
                    <a:gd name="T63" fmla="*/ 302 h 989"/>
                    <a:gd name="T64" fmla="*/ 216 w 808"/>
                    <a:gd name="T65" fmla="*/ 213 h 989"/>
                    <a:gd name="T66" fmla="*/ 326 w 808"/>
                    <a:gd name="T67" fmla="*/ 203 h 989"/>
                    <a:gd name="T68" fmla="*/ 347 w 808"/>
                    <a:gd name="T69" fmla="*/ 227 h 989"/>
                    <a:gd name="T70" fmla="*/ 325 w 808"/>
                    <a:gd name="T71" fmla="*/ 267 h 989"/>
                    <a:gd name="T72" fmla="*/ 368 w 808"/>
                    <a:gd name="T73" fmla="*/ 312 h 989"/>
                    <a:gd name="T74" fmla="*/ 412 w 808"/>
                    <a:gd name="T75" fmla="*/ 267 h 989"/>
                    <a:gd name="T76" fmla="*/ 390 w 808"/>
                    <a:gd name="T77" fmla="*/ 227 h 989"/>
                    <a:gd name="T78" fmla="*/ 410 w 808"/>
                    <a:gd name="T79" fmla="*/ 203 h 989"/>
                    <a:gd name="T80" fmla="*/ 521 w 808"/>
                    <a:gd name="T81" fmla="*/ 213 h 989"/>
                    <a:gd name="T82" fmla="*/ 522 w 808"/>
                    <a:gd name="T83" fmla="*/ 302 h 989"/>
                    <a:gd name="T84" fmla="*/ 547 w 808"/>
                    <a:gd name="T85" fmla="*/ 322 h 989"/>
                    <a:gd name="T86" fmla="*/ 587 w 808"/>
                    <a:gd name="T87" fmla="*/ 300 h 989"/>
                    <a:gd name="T88" fmla="*/ 631 w 808"/>
                    <a:gd name="T89" fmla="*/ 344 h 989"/>
                    <a:gd name="T90" fmla="*/ 587 w 808"/>
                    <a:gd name="T91" fmla="*/ 387 h 9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8" h="989">
                      <a:moveTo>
                        <a:pt x="730" y="391"/>
                      </a:moveTo>
                      <a:lnTo>
                        <a:pt x="730" y="365"/>
                      </a:lnTo>
                      <a:cubicBezTo>
                        <a:pt x="730" y="163"/>
                        <a:pt x="566" y="0"/>
                        <a:pt x="365" y="0"/>
                      </a:cubicBezTo>
                      <a:cubicBezTo>
                        <a:pt x="163" y="0"/>
                        <a:pt x="0" y="163"/>
                        <a:pt x="0" y="365"/>
                      </a:cubicBezTo>
                      <a:cubicBezTo>
                        <a:pt x="0" y="450"/>
                        <a:pt x="29" y="528"/>
                        <a:pt x="78" y="590"/>
                      </a:cubicBezTo>
                      <a:lnTo>
                        <a:pt x="78" y="989"/>
                      </a:lnTo>
                      <a:lnTo>
                        <a:pt x="547" y="989"/>
                      </a:lnTo>
                      <a:lnTo>
                        <a:pt x="547" y="860"/>
                      </a:lnTo>
                      <a:cubicBezTo>
                        <a:pt x="634" y="860"/>
                        <a:pt x="704" y="790"/>
                        <a:pt x="704" y="704"/>
                      </a:cubicBezTo>
                      <a:lnTo>
                        <a:pt x="704" y="626"/>
                      </a:lnTo>
                      <a:lnTo>
                        <a:pt x="782" y="626"/>
                      </a:lnTo>
                      <a:cubicBezTo>
                        <a:pt x="796" y="626"/>
                        <a:pt x="808" y="614"/>
                        <a:pt x="808" y="600"/>
                      </a:cubicBezTo>
                      <a:cubicBezTo>
                        <a:pt x="808" y="593"/>
                        <a:pt x="730" y="391"/>
                        <a:pt x="730" y="391"/>
                      </a:cubicBezTo>
                      <a:close/>
                      <a:moveTo>
                        <a:pt x="587" y="387"/>
                      </a:moveTo>
                      <a:cubicBezTo>
                        <a:pt x="562" y="381"/>
                        <a:pt x="566" y="365"/>
                        <a:pt x="547" y="365"/>
                      </a:cubicBezTo>
                      <a:cubicBezTo>
                        <a:pt x="528" y="365"/>
                        <a:pt x="524" y="378"/>
                        <a:pt x="522" y="385"/>
                      </a:cubicBezTo>
                      <a:cubicBezTo>
                        <a:pt x="519" y="407"/>
                        <a:pt x="520" y="474"/>
                        <a:pt x="520" y="474"/>
                      </a:cubicBezTo>
                      <a:cubicBezTo>
                        <a:pt x="520" y="474"/>
                        <a:pt x="432" y="477"/>
                        <a:pt x="410" y="473"/>
                      </a:cubicBezTo>
                      <a:cubicBezTo>
                        <a:pt x="402" y="472"/>
                        <a:pt x="390" y="468"/>
                        <a:pt x="390" y="449"/>
                      </a:cubicBezTo>
                      <a:cubicBezTo>
                        <a:pt x="390" y="430"/>
                        <a:pt x="406" y="434"/>
                        <a:pt x="412" y="409"/>
                      </a:cubicBezTo>
                      <a:cubicBezTo>
                        <a:pt x="414" y="383"/>
                        <a:pt x="392" y="364"/>
                        <a:pt x="368" y="364"/>
                      </a:cubicBezTo>
                      <a:cubicBezTo>
                        <a:pt x="344" y="364"/>
                        <a:pt x="323" y="383"/>
                        <a:pt x="325" y="409"/>
                      </a:cubicBezTo>
                      <a:cubicBezTo>
                        <a:pt x="331" y="434"/>
                        <a:pt x="347" y="430"/>
                        <a:pt x="347" y="449"/>
                      </a:cubicBezTo>
                      <a:cubicBezTo>
                        <a:pt x="347" y="468"/>
                        <a:pt x="334" y="472"/>
                        <a:pt x="326" y="473"/>
                      </a:cubicBezTo>
                      <a:cubicBezTo>
                        <a:pt x="305" y="477"/>
                        <a:pt x="214" y="474"/>
                        <a:pt x="214" y="474"/>
                      </a:cubicBezTo>
                      <a:cubicBezTo>
                        <a:pt x="214" y="474"/>
                        <a:pt x="216" y="407"/>
                        <a:pt x="213" y="385"/>
                      </a:cubicBezTo>
                      <a:cubicBezTo>
                        <a:pt x="212" y="377"/>
                        <a:pt x="207" y="365"/>
                        <a:pt x="188" y="365"/>
                      </a:cubicBezTo>
                      <a:cubicBezTo>
                        <a:pt x="169" y="365"/>
                        <a:pt x="174" y="381"/>
                        <a:pt x="148" y="387"/>
                      </a:cubicBezTo>
                      <a:cubicBezTo>
                        <a:pt x="123" y="389"/>
                        <a:pt x="104" y="368"/>
                        <a:pt x="104" y="344"/>
                      </a:cubicBezTo>
                      <a:cubicBezTo>
                        <a:pt x="104" y="319"/>
                        <a:pt x="123" y="298"/>
                        <a:pt x="148" y="300"/>
                      </a:cubicBezTo>
                      <a:cubicBezTo>
                        <a:pt x="174" y="306"/>
                        <a:pt x="169" y="322"/>
                        <a:pt x="188" y="322"/>
                      </a:cubicBezTo>
                      <a:cubicBezTo>
                        <a:pt x="207" y="322"/>
                        <a:pt x="212" y="310"/>
                        <a:pt x="213" y="302"/>
                      </a:cubicBezTo>
                      <a:cubicBezTo>
                        <a:pt x="216" y="280"/>
                        <a:pt x="216" y="213"/>
                        <a:pt x="216" y="213"/>
                      </a:cubicBezTo>
                      <a:cubicBezTo>
                        <a:pt x="216" y="213"/>
                        <a:pt x="305" y="199"/>
                        <a:pt x="326" y="203"/>
                      </a:cubicBezTo>
                      <a:cubicBezTo>
                        <a:pt x="334" y="204"/>
                        <a:pt x="347" y="208"/>
                        <a:pt x="347" y="227"/>
                      </a:cubicBezTo>
                      <a:cubicBezTo>
                        <a:pt x="347" y="246"/>
                        <a:pt x="331" y="242"/>
                        <a:pt x="325" y="267"/>
                      </a:cubicBezTo>
                      <a:cubicBezTo>
                        <a:pt x="323" y="293"/>
                        <a:pt x="344" y="312"/>
                        <a:pt x="368" y="312"/>
                      </a:cubicBezTo>
                      <a:cubicBezTo>
                        <a:pt x="392" y="312"/>
                        <a:pt x="414" y="293"/>
                        <a:pt x="412" y="267"/>
                      </a:cubicBezTo>
                      <a:cubicBezTo>
                        <a:pt x="406" y="242"/>
                        <a:pt x="390" y="246"/>
                        <a:pt x="390" y="227"/>
                      </a:cubicBezTo>
                      <a:cubicBezTo>
                        <a:pt x="390" y="208"/>
                        <a:pt x="402" y="204"/>
                        <a:pt x="410" y="203"/>
                      </a:cubicBezTo>
                      <a:cubicBezTo>
                        <a:pt x="432" y="199"/>
                        <a:pt x="521" y="213"/>
                        <a:pt x="521" y="213"/>
                      </a:cubicBezTo>
                      <a:cubicBezTo>
                        <a:pt x="521" y="213"/>
                        <a:pt x="519" y="280"/>
                        <a:pt x="522" y="302"/>
                      </a:cubicBezTo>
                      <a:cubicBezTo>
                        <a:pt x="524" y="310"/>
                        <a:pt x="528" y="322"/>
                        <a:pt x="547" y="322"/>
                      </a:cubicBezTo>
                      <a:cubicBezTo>
                        <a:pt x="566" y="322"/>
                        <a:pt x="562" y="306"/>
                        <a:pt x="587" y="300"/>
                      </a:cubicBezTo>
                      <a:cubicBezTo>
                        <a:pt x="613" y="298"/>
                        <a:pt x="631" y="319"/>
                        <a:pt x="631" y="344"/>
                      </a:cubicBezTo>
                      <a:cubicBezTo>
                        <a:pt x="631" y="368"/>
                        <a:pt x="613" y="389"/>
                        <a:pt x="587" y="387"/>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noProof="0">
                    <a:ln>
                      <a:noFill/>
                    </a:ln>
                    <a:solidFill>
                      <a:prstClr val="black"/>
                    </a:solidFill>
                    <a:effectLst/>
                    <a:uLnTx/>
                    <a:uFillTx/>
                    <a:latin typeface="Calibri" panose="020F0502020204030204"/>
                    <a:ea typeface="+mn-ea"/>
                    <a:cs typeface="+mn-cs"/>
                  </a:endParaRPr>
                </a:p>
              </p:txBody>
            </p:sp>
          </p:grpSp>
        </p:grpSp>
      </p:grpSp>
      <p:sp>
        <p:nvSpPr>
          <p:cNvPr id="359" name="Rechthoek: afgeronde hoeken 14">
            <a:extLst>
              <a:ext uri="{FF2B5EF4-FFF2-40B4-BE49-F238E27FC236}">
                <a16:creationId xmlns:a16="http://schemas.microsoft.com/office/drawing/2014/main" id="{0FB1FF56-1419-4F69-A2BD-1DCAEEBE5A2F}"/>
              </a:ext>
            </a:extLst>
          </p:cNvPr>
          <p:cNvSpPr/>
          <p:nvPr/>
        </p:nvSpPr>
        <p:spPr>
          <a:xfrm rot="11571750">
            <a:off x="9461927" y="4060867"/>
            <a:ext cx="295272" cy="934094"/>
          </a:xfrm>
          <a:custGeom>
            <a:avLst/>
            <a:gdLst>
              <a:gd name="connsiteX0" fmla="*/ 37257 w 295272"/>
              <a:gd name="connsiteY0" fmla="*/ 54955 h 934094"/>
              <a:gd name="connsiteX1" fmla="*/ 75181 w 295272"/>
              <a:gd name="connsiteY1" fmla="*/ 406 h 934094"/>
              <a:gd name="connsiteX2" fmla="*/ 239176 w 295272"/>
              <a:gd name="connsiteY2" fmla="*/ 0 h 934094"/>
              <a:gd name="connsiteX3" fmla="*/ 264795 w 295272"/>
              <a:gd name="connsiteY3" fmla="*/ 54955 h 934094"/>
              <a:gd name="connsiteX4" fmla="*/ 295272 w 295272"/>
              <a:gd name="connsiteY4" fmla="*/ 891935 h 934094"/>
              <a:gd name="connsiteX5" fmla="*/ 226871 w 295272"/>
              <a:gd name="connsiteY5" fmla="*/ 934094 h 934094"/>
              <a:gd name="connsiteX6" fmla="*/ 75181 w 295272"/>
              <a:gd name="connsiteY6" fmla="*/ 934094 h 934094"/>
              <a:gd name="connsiteX7" fmla="*/ 37257 w 295272"/>
              <a:gd name="connsiteY7" fmla="*/ 879544 h 934094"/>
              <a:gd name="connsiteX8" fmla="*/ 0 w 295272"/>
              <a:gd name="connsiteY8" fmla="*/ 390113 h 934094"/>
              <a:gd name="connsiteX9" fmla="*/ 37257 w 295272"/>
              <a:gd name="connsiteY9" fmla="*/ 54955 h 9340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95272" h="934094" fill="none" extrusionOk="0">
                <a:moveTo>
                  <a:pt x="37257" y="54955"/>
                </a:moveTo>
                <a:cubicBezTo>
                  <a:pt x="39618" y="25175"/>
                  <a:pt x="53447" y="-438"/>
                  <a:pt x="75181" y="406"/>
                </a:cubicBezTo>
                <a:cubicBezTo>
                  <a:pt x="143832" y="-5635"/>
                  <a:pt x="195353" y="-431"/>
                  <a:pt x="239176" y="0"/>
                </a:cubicBezTo>
                <a:cubicBezTo>
                  <a:pt x="260190" y="5941"/>
                  <a:pt x="261910" y="24311"/>
                  <a:pt x="264795" y="54955"/>
                </a:cubicBezTo>
                <a:cubicBezTo>
                  <a:pt x="286089" y="389254"/>
                  <a:pt x="217520" y="586264"/>
                  <a:pt x="295272" y="891935"/>
                </a:cubicBezTo>
                <a:cubicBezTo>
                  <a:pt x="298832" y="925583"/>
                  <a:pt x="243511" y="933820"/>
                  <a:pt x="226871" y="934094"/>
                </a:cubicBezTo>
                <a:cubicBezTo>
                  <a:pt x="172159" y="934152"/>
                  <a:pt x="127623" y="926920"/>
                  <a:pt x="75181" y="934094"/>
                </a:cubicBezTo>
                <a:cubicBezTo>
                  <a:pt x="54792" y="939452"/>
                  <a:pt x="38261" y="910222"/>
                  <a:pt x="37257" y="879544"/>
                </a:cubicBezTo>
                <a:cubicBezTo>
                  <a:pt x="18418" y="682704"/>
                  <a:pt x="9096" y="538727"/>
                  <a:pt x="0" y="390113"/>
                </a:cubicBezTo>
                <a:cubicBezTo>
                  <a:pt x="10313" y="253427"/>
                  <a:pt x="23476" y="184916"/>
                  <a:pt x="37257" y="54955"/>
                </a:cubicBezTo>
                <a:close/>
              </a:path>
              <a:path w="295272" h="934094" stroke="0" extrusionOk="0">
                <a:moveTo>
                  <a:pt x="37257" y="54955"/>
                </a:moveTo>
                <a:cubicBezTo>
                  <a:pt x="37935" y="21816"/>
                  <a:pt x="50181" y="2123"/>
                  <a:pt x="75181" y="406"/>
                </a:cubicBezTo>
                <a:cubicBezTo>
                  <a:pt x="114637" y="-2638"/>
                  <a:pt x="204932" y="-6699"/>
                  <a:pt x="239176" y="0"/>
                </a:cubicBezTo>
                <a:cubicBezTo>
                  <a:pt x="264903" y="3991"/>
                  <a:pt x="264530" y="25386"/>
                  <a:pt x="264795" y="54955"/>
                </a:cubicBezTo>
                <a:cubicBezTo>
                  <a:pt x="325100" y="333976"/>
                  <a:pt x="216647" y="618373"/>
                  <a:pt x="295272" y="891935"/>
                </a:cubicBezTo>
                <a:cubicBezTo>
                  <a:pt x="296688" y="920001"/>
                  <a:pt x="246859" y="931744"/>
                  <a:pt x="226871" y="934094"/>
                </a:cubicBezTo>
                <a:cubicBezTo>
                  <a:pt x="172963" y="939387"/>
                  <a:pt x="133927" y="933628"/>
                  <a:pt x="75181" y="934094"/>
                </a:cubicBezTo>
                <a:cubicBezTo>
                  <a:pt x="52855" y="939066"/>
                  <a:pt x="35326" y="906036"/>
                  <a:pt x="37257" y="879544"/>
                </a:cubicBezTo>
                <a:cubicBezTo>
                  <a:pt x="20281" y="690542"/>
                  <a:pt x="-34844" y="547368"/>
                  <a:pt x="0" y="390113"/>
                </a:cubicBezTo>
                <a:cubicBezTo>
                  <a:pt x="31715" y="252942"/>
                  <a:pt x="32650" y="181245"/>
                  <a:pt x="37257" y="54955"/>
                </a:cubicBezTo>
                <a:close/>
              </a:path>
            </a:pathLst>
          </a:custGeom>
          <a:solidFill>
            <a:schemeClr val="accent3">
              <a:lumMod val="75000"/>
              <a:alpha val="50196"/>
            </a:schemeClr>
          </a:solidFill>
          <a:ln w="19050">
            <a:solidFill>
              <a:schemeClr val="accent3">
                <a:lumMod val="50000"/>
              </a:schemeClr>
            </a:solidFill>
            <a:prstDash val="lgDash"/>
            <a:extLst>
              <a:ext uri="{C807C97D-BFC1-408E-A445-0C87EB9F89A2}">
                <ask:lineSketchStyleProps xmlns:ask="http://schemas.microsoft.com/office/drawing/2018/sketchyshapes" sd="1343802768">
                  <a:custGeom>
                    <a:avLst/>
                    <a:gdLst>
                      <a:gd name="connsiteX0" fmla="*/ 0 w 303332"/>
                      <a:gd name="connsiteY0" fmla="*/ 50556 h 865339"/>
                      <a:gd name="connsiteX1" fmla="*/ 50556 w 303332"/>
                      <a:gd name="connsiteY1" fmla="*/ 0 h 865339"/>
                      <a:gd name="connsiteX2" fmla="*/ 252776 w 303332"/>
                      <a:gd name="connsiteY2" fmla="*/ 0 h 865339"/>
                      <a:gd name="connsiteX3" fmla="*/ 303332 w 303332"/>
                      <a:gd name="connsiteY3" fmla="*/ 50556 h 865339"/>
                      <a:gd name="connsiteX4" fmla="*/ 303332 w 303332"/>
                      <a:gd name="connsiteY4" fmla="*/ 814783 h 865339"/>
                      <a:gd name="connsiteX5" fmla="*/ 252776 w 303332"/>
                      <a:gd name="connsiteY5" fmla="*/ 865339 h 865339"/>
                      <a:gd name="connsiteX6" fmla="*/ 50556 w 303332"/>
                      <a:gd name="connsiteY6" fmla="*/ 865339 h 865339"/>
                      <a:gd name="connsiteX7" fmla="*/ 0 w 303332"/>
                      <a:gd name="connsiteY7" fmla="*/ 814783 h 865339"/>
                      <a:gd name="connsiteX8" fmla="*/ 0 w 303332"/>
                      <a:gd name="connsiteY8" fmla="*/ 50556 h 865339"/>
                      <a:gd name="connsiteX0" fmla="*/ 0 w 303332"/>
                      <a:gd name="connsiteY0" fmla="*/ 50933 h 865716"/>
                      <a:gd name="connsiteX1" fmla="*/ 50556 w 303332"/>
                      <a:gd name="connsiteY1" fmla="*/ 377 h 865716"/>
                      <a:gd name="connsiteX2" fmla="*/ 269179 w 303332"/>
                      <a:gd name="connsiteY2" fmla="*/ 0 h 865716"/>
                      <a:gd name="connsiteX3" fmla="*/ 303332 w 303332"/>
                      <a:gd name="connsiteY3" fmla="*/ 50933 h 865716"/>
                      <a:gd name="connsiteX4" fmla="*/ 303332 w 303332"/>
                      <a:gd name="connsiteY4" fmla="*/ 815160 h 865716"/>
                      <a:gd name="connsiteX5" fmla="*/ 252776 w 303332"/>
                      <a:gd name="connsiteY5" fmla="*/ 865716 h 865716"/>
                      <a:gd name="connsiteX6" fmla="*/ 50556 w 303332"/>
                      <a:gd name="connsiteY6" fmla="*/ 865716 h 865716"/>
                      <a:gd name="connsiteX7" fmla="*/ 0 w 303332"/>
                      <a:gd name="connsiteY7" fmla="*/ 815160 h 865716"/>
                      <a:gd name="connsiteX8" fmla="*/ 0 w 303332"/>
                      <a:gd name="connsiteY8" fmla="*/ 50933 h 865716"/>
                      <a:gd name="connsiteX0" fmla="*/ 49669 w 353001"/>
                      <a:gd name="connsiteY0" fmla="*/ 50933 h 865716"/>
                      <a:gd name="connsiteX1" fmla="*/ 100225 w 353001"/>
                      <a:gd name="connsiteY1" fmla="*/ 377 h 865716"/>
                      <a:gd name="connsiteX2" fmla="*/ 318848 w 353001"/>
                      <a:gd name="connsiteY2" fmla="*/ 0 h 865716"/>
                      <a:gd name="connsiteX3" fmla="*/ 353001 w 353001"/>
                      <a:gd name="connsiteY3" fmla="*/ 50933 h 865716"/>
                      <a:gd name="connsiteX4" fmla="*/ 353001 w 353001"/>
                      <a:gd name="connsiteY4" fmla="*/ 815160 h 865716"/>
                      <a:gd name="connsiteX5" fmla="*/ 302445 w 353001"/>
                      <a:gd name="connsiteY5" fmla="*/ 865716 h 865716"/>
                      <a:gd name="connsiteX6" fmla="*/ 100225 w 353001"/>
                      <a:gd name="connsiteY6" fmla="*/ 865716 h 865716"/>
                      <a:gd name="connsiteX7" fmla="*/ 49669 w 353001"/>
                      <a:gd name="connsiteY7" fmla="*/ 815160 h 865716"/>
                      <a:gd name="connsiteX8" fmla="*/ 0 w 353001"/>
                      <a:gd name="connsiteY8" fmla="*/ 361556 h 865716"/>
                      <a:gd name="connsiteX9" fmla="*/ 49669 w 353001"/>
                      <a:gd name="connsiteY9" fmla="*/ 50933 h 865716"/>
                      <a:gd name="connsiteX0" fmla="*/ 49669 w 393630"/>
                      <a:gd name="connsiteY0" fmla="*/ 50933 h 865716"/>
                      <a:gd name="connsiteX1" fmla="*/ 100225 w 393630"/>
                      <a:gd name="connsiteY1" fmla="*/ 377 h 865716"/>
                      <a:gd name="connsiteX2" fmla="*/ 318848 w 393630"/>
                      <a:gd name="connsiteY2" fmla="*/ 0 h 865716"/>
                      <a:gd name="connsiteX3" fmla="*/ 353001 w 393630"/>
                      <a:gd name="connsiteY3" fmla="*/ 50933 h 865716"/>
                      <a:gd name="connsiteX4" fmla="*/ 393630 w 393630"/>
                      <a:gd name="connsiteY4" fmla="*/ 826644 h 865716"/>
                      <a:gd name="connsiteX5" fmla="*/ 302445 w 393630"/>
                      <a:gd name="connsiteY5" fmla="*/ 865716 h 865716"/>
                      <a:gd name="connsiteX6" fmla="*/ 100225 w 393630"/>
                      <a:gd name="connsiteY6" fmla="*/ 865716 h 865716"/>
                      <a:gd name="connsiteX7" fmla="*/ 49669 w 393630"/>
                      <a:gd name="connsiteY7" fmla="*/ 815160 h 865716"/>
                      <a:gd name="connsiteX8" fmla="*/ 0 w 393630"/>
                      <a:gd name="connsiteY8" fmla="*/ 361556 h 865716"/>
                      <a:gd name="connsiteX9" fmla="*/ 49669 w 393630"/>
                      <a:gd name="connsiteY9" fmla="*/ 50933 h 865716"/>
                      <a:gd name="connsiteX0" fmla="*/ 49669 w 393630"/>
                      <a:gd name="connsiteY0" fmla="*/ 50933 h 865716"/>
                      <a:gd name="connsiteX1" fmla="*/ 100225 w 393630"/>
                      <a:gd name="connsiteY1" fmla="*/ 377 h 865716"/>
                      <a:gd name="connsiteX2" fmla="*/ 318848 w 393630"/>
                      <a:gd name="connsiteY2" fmla="*/ 0 h 865716"/>
                      <a:gd name="connsiteX3" fmla="*/ 353001 w 393630"/>
                      <a:gd name="connsiteY3" fmla="*/ 50933 h 865716"/>
                      <a:gd name="connsiteX4" fmla="*/ 393630 w 393630"/>
                      <a:gd name="connsiteY4" fmla="*/ 826644 h 865716"/>
                      <a:gd name="connsiteX5" fmla="*/ 302445 w 393630"/>
                      <a:gd name="connsiteY5" fmla="*/ 865716 h 865716"/>
                      <a:gd name="connsiteX6" fmla="*/ 100225 w 393630"/>
                      <a:gd name="connsiteY6" fmla="*/ 865716 h 865716"/>
                      <a:gd name="connsiteX7" fmla="*/ 49669 w 393630"/>
                      <a:gd name="connsiteY7" fmla="*/ 815160 h 865716"/>
                      <a:gd name="connsiteX8" fmla="*/ 0 w 393630"/>
                      <a:gd name="connsiteY8" fmla="*/ 361556 h 865716"/>
                      <a:gd name="connsiteX9" fmla="*/ 49669 w 393630"/>
                      <a:gd name="connsiteY9" fmla="*/ 50933 h 8657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93630" h="865716">
                        <a:moveTo>
                          <a:pt x="49669" y="50933"/>
                        </a:moveTo>
                        <a:cubicBezTo>
                          <a:pt x="49669" y="23012"/>
                          <a:pt x="72304" y="377"/>
                          <a:pt x="100225" y="377"/>
                        </a:cubicBezTo>
                        <a:lnTo>
                          <a:pt x="318848" y="0"/>
                        </a:lnTo>
                        <a:cubicBezTo>
                          <a:pt x="346769" y="0"/>
                          <a:pt x="353001" y="23012"/>
                          <a:pt x="353001" y="50933"/>
                        </a:cubicBezTo>
                        <a:cubicBezTo>
                          <a:pt x="366544" y="309503"/>
                          <a:pt x="337945" y="548640"/>
                          <a:pt x="393630" y="826644"/>
                        </a:cubicBezTo>
                        <a:cubicBezTo>
                          <a:pt x="393630" y="854565"/>
                          <a:pt x="330366" y="865716"/>
                          <a:pt x="302445" y="865716"/>
                        </a:cubicBezTo>
                        <a:lnTo>
                          <a:pt x="100225" y="865716"/>
                        </a:lnTo>
                        <a:cubicBezTo>
                          <a:pt x="72304" y="865716"/>
                          <a:pt x="49669" y="843081"/>
                          <a:pt x="49669" y="815160"/>
                        </a:cubicBezTo>
                        <a:cubicBezTo>
                          <a:pt x="47076" y="660384"/>
                          <a:pt x="2593" y="516332"/>
                          <a:pt x="0" y="361556"/>
                        </a:cubicBezTo>
                        <a:lnTo>
                          <a:pt x="49669" y="50933"/>
                        </a:lnTo>
                        <a:close/>
                      </a:path>
                    </a:pathLst>
                  </a:cu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grpSp>
        <p:nvGrpSpPr>
          <p:cNvPr id="360" name="Group 125">
            <a:extLst>
              <a:ext uri="{FF2B5EF4-FFF2-40B4-BE49-F238E27FC236}">
                <a16:creationId xmlns:a16="http://schemas.microsoft.com/office/drawing/2014/main" id="{781D7012-8FD3-4E38-B9D0-3C5FCB52BC0F}"/>
              </a:ext>
            </a:extLst>
          </p:cNvPr>
          <p:cNvGrpSpPr/>
          <p:nvPr/>
        </p:nvGrpSpPr>
        <p:grpSpPr>
          <a:xfrm>
            <a:off x="9449674" y="4685750"/>
            <a:ext cx="288000" cy="288000"/>
            <a:chOff x="7095592" y="742073"/>
            <a:chExt cx="329184" cy="329184"/>
          </a:xfrm>
        </p:grpSpPr>
        <p:sp>
          <p:nvSpPr>
            <p:cNvPr id="361" name="Oval 137">
              <a:extLst>
                <a:ext uri="{FF2B5EF4-FFF2-40B4-BE49-F238E27FC236}">
                  <a16:creationId xmlns:a16="http://schemas.microsoft.com/office/drawing/2014/main" id="{92CCAD36-CE72-4ADC-BA5A-F416B7C00649}"/>
                </a:ext>
              </a:extLst>
            </p:cNvPr>
            <p:cNvSpPr/>
            <p:nvPr/>
          </p:nvSpPr>
          <p:spPr>
            <a:xfrm>
              <a:off x="7095592" y="742073"/>
              <a:ext cx="329184" cy="329184"/>
            </a:xfrm>
            <a:prstGeom prst="ellipse">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362" name="Group 127">
              <a:extLst>
                <a:ext uri="{FF2B5EF4-FFF2-40B4-BE49-F238E27FC236}">
                  <a16:creationId xmlns:a16="http://schemas.microsoft.com/office/drawing/2014/main" id="{E8D0B631-55A9-437A-BB82-CF09A6F14A4F}"/>
                </a:ext>
              </a:extLst>
            </p:cNvPr>
            <p:cNvGrpSpPr/>
            <p:nvPr/>
          </p:nvGrpSpPr>
          <p:grpSpPr>
            <a:xfrm>
              <a:off x="7176816" y="778521"/>
              <a:ext cx="179310" cy="244447"/>
              <a:chOff x="7176816" y="778521"/>
              <a:chExt cx="179310" cy="244447"/>
            </a:xfrm>
          </p:grpSpPr>
          <p:sp>
            <p:nvSpPr>
              <p:cNvPr id="363" name="Seed" descr="{&quot;Key&quot;:&quot;POWER_USER_SHAPE_ICON&quot;,&quot;Value&quot;:&quot;POWER_USER_SHAPE_ICON_STYLE_1&quot;}">
                <a:extLst>
                  <a:ext uri="{FF2B5EF4-FFF2-40B4-BE49-F238E27FC236}">
                    <a16:creationId xmlns:a16="http://schemas.microsoft.com/office/drawing/2014/main" id="{26ED710B-2A60-45BE-B0A9-B87CA4A8C23D}"/>
                  </a:ext>
                </a:extLst>
              </p:cNvPr>
              <p:cNvSpPr>
                <a:spLocks noChangeAspect="1" noEditPoints="1"/>
              </p:cNvSpPr>
              <p:nvPr>
                <p:custDataLst>
                  <p:tags r:id="rId4"/>
                </p:custDataLst>
              </p:nvPr>
            </p:nvSpPr>
            <p:spPr bwMode="auto">
              <a:xfrm>
                <a:off x="7176816" y="878690"/>
                <a:ext cx="162838" cy="144278"/>
              </a:xfrm>
              <a:custGeom>
                <a:avLst/>
                <a:gdLst>
                  <a:gd name="T0" fmla="*/ 6744 w 11364"/>
                  <a:gd name="T1" fmla="*/ 3564 h 10067"/>
                  <a:gd name="T2" fmla="*/ 7042 w 11364"/>
                  <a:gd name="T3" fmla="*/ 3354 h 10067"/>
                  <a:gd name="T4" fmla="*/ 4139 w 11364"/>
                  <a:gd name="T5" fmla="*/ 214 h 10067"/>
                  <a:gd name="T6" fmla="*/ 5282 w 11364"/>
                  <a:gd name="T7" fmla="*/ 2733 h 10067"/>
                  <a:gd name="T8" fmla="*/ 10245 w 11364"/>
                  <a:gd name="T9" fmla="*/ 7311 h 10067"/>
                  <a:gd name="T10" fmla="*/ 7950 w 11364"/>
                  <a:gd name="T11" fmla="*/ 5369 h 10067"/>
                  <a:gd name="T12" fmla="*/ 7665 w 11364"/>
                  <a:gd name="T13" fmla="*/ 5315 h 10067"/>
                  <a:gd name="T14" fmla="*/ 7626 w 11364"/>
                  <a:gd name="T15" fmla="*/ 5310 h 10067"/>
                  <a:gd name="T16" fmla="*/ 7637 w 11364"/>
                  <a:gd name="T17" fmla="*/ 4576 h 10067"/>
                  <a:gd name="T18" fmla="*/ 7646 w 11364"/>
                  <a:gd name="T19" fmla="*/ 4476 h 10067"/>
                  <a:gd name="T20" fmla="*/ 7673 w 11364"/>
                  <a:gd name="T21" fmla="*/ 4234 h 10067"/>
                  <a:gd name="T22" fmla="*/ 8068 w 11364"/>
                  <a:gd name="T23" fmla="*/ 4029 h 10067"/>
                  <a:gd name="T24" fmla="*/ 11244 w 11364"/>
                  <a:gd name="T25" fmla="*/ 0 h 10067"/>
                  <a:gd name="T26" fmla="*/ 7516 w 11364"/>
                  <a:gd name="T27" fmla="*/ 2618 h 10067"/>
                  <a:gd name="T28" fmla="*/ 7233 w 11364"/>
                  <a:gd name="T29" fmla="*/ 4214 h 10067"/>
                  <a:gd name="T30" fmla="*/ 7224 w 11364"/>
                  <a:gd name="T31" fmla="*/ 5280 h 10067"/>
                  <a:gd name="T32" fmla="*/ 7082 w 11364"/>
                  <a:gd name="T33" fmla="*/ 5277 h 10067"/>
                  <a:gd name="T34" fmla="*/ 5070 w 11364"/>
                  <a:gd name="T35" fmla="*/ 6113 h 10067"/>
                  <a:gd name="T36" fmla="*/ 2454 w 11364"/>
                  <a:gd name="T37" fmla="*/ 5748 h 10067"/>
                  <a:gd name="T38" fmla="*/ 1979 w 11364"/>
                  <a:gd name="T39" fmla="*/ 5775 h 10067"/>
                  <a:gd name="T40" fmla="*/ 2514 w 11364"/>
                  <a:gd name="T41" fmla="*/ 6100 h 10067"/>
                  <a:gd name="T42" fmla="*/ 4816 w 11364"/>
                  <a:gd name="T43" fmla="*/ 6387 h 10067"/>
                  <a:gd name="T44" fmla="*/ 6145 w 11364"/>
                  <a:gd name="T45" fmla="*/ 6987 h 10067"/>
                  <a:gd name="T46" fmla="*/ 8301 w 11364"/>
                  <a:gd name="T47" fmla="*/ 7145 h 10067"/>
                  <a:gd name="T48" fmla="*/ 8758 w 11364"/>
                  <a:gd name="T49" fmla="*/ 7918 h 10067"/>
                  <a:gd name="T50" fmla="*/ 8461 w 11364"/>
                  <a:gd name="T51" fmla="*/ 8153 h 10067"/>
                  <a:gd name="T52" fmla="*/ 7099 w 11364"/>
                  <a:gd name="T53" fmla="*/ 8176 h 10067"/>
                  <a:gd name="T54" fmla="*/ 6945 w 11364"/>
                  <a:gd name="T55" fmla="*/ 8155 h 10067"/>
                  <a:gd name="T56" fmla="*/ 6316 w 11364"/>
                  <a:gd name="T57" fmla="*/ 8035 h 10067"/>
                  <a:gd name="T58" fmla="*/ 6020 w 11364"/>
                  <a:gd name="T59" fmla="*/ 7984 h 10067"/>
                  <a:gd name="T60" fmla="*/ 4994 w 11364"/>
                  <a:gd name="T61" fmla="*/ 8127 h 10067"/>
                  <a:gd name="T62" fmla="*/ 4903 w 11364"/>
                  <a:gd name="T63" fmla="*/ 8363 h 10067"/>
                  <a:gd name="T64" fmla="*/ 6233 w 11364"/>
                  <a:gd name="T65" fmla="*/ 8382 h 10067"/>
                  <a:gd name="T66" fmla="*/ 8735 w 11364"/>
                  <a:gd name="T67" fmla="*/ 8429 h 10067"/>
                  <a:gd name="T68" fmla="*/ 9563 w 11364"/>
                  <a:gd name="T69" fmla="*/ 8061 h 10067"/>
                  <a:gd name="T70" fmla="*/ 10404 w 11364"/>
                  <a:gd name="T71" fmla="*/ 7630 h 10067"/>
                  <a:gd name="T72" fmla="*/ 10935 w 11364"/>
                  <a:gd name="T73" fmla="*/ 7937 h 10067"/>
                  <a:gd name="T74" fmla="*/ 10018 w 11364"/>
                  <a:gd name="T75" fmla="*/ 8647 h 10067"/>
                  <a:gd name="T76" fmla="*/ 9086 w 11364"/>
                  <a:gd name="T77" fmla="*/ 9020 h 10067"/>
                  <a:gd name="T78" fmla="*/ 6547 w 11364"/>
                  <a:gd name="T79" fmla="*/ 9626 h 10067"/>
                  <a:gd name="T80" fmla="*/ 2148 w 11364"/>
                  <a:gd name="T81" fmla="*/ 8613 h 10067"/>
                  <a:gd name="T82" fmla="*/ 1979 w 11364"/>
                  <a:gd name="T83" fmla="*/ 8970 h 10067"/>
                  <a:gd name="T84" fmla="*/ 5139 w 11364"/>
                  <a:gd name="T85" fmla="*/ 9875 h 10067"/>
                  <a:gd name="T86" fmla="*/ 6619 w 11364"/>
                  <a:gd name="T87" fmla="*/ 9976 h 10067"/>
                  <a:gd name="T88" fmla="*/ 9235 w 11364"/>
                  <a:gd name="T89" fmla="*/ 9344 h 10067"/>
                  <a:gd name="T90" fmla="*/ 10176 w 11364"/>
                  <a:gd name="T91" fmla="*/ 8967 h 10067"/>
                  <a:gd name="T92" fmla="*/ 11194 w 11364"/>
                  <a:gd name="T93" fmla="*/ 8190 h 10067"/>
                  <a:gd name="T94" fmla="*/ 0 w 11364"/>
                  <a:gd name="T95" fmla="*/ 9309 h 10067"/>
                  <a:gd name="T96" fmla="*/ 1630 w 11364"/>
                  <a:gd name="T97" fmla="*/ 5351 h 10067"/>
                  <a:gd name="T98" fmla="*/ 0 w 11364"/>
                  <a:gd name="T99" fmla="*/ 9309 h 100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1364" h="10067">
                    <a:moveTo>
                      <a:pt x="5282" y="2733"/>
                    </a:moveTo>
                    <a:cubicBezTo>
                      <a:pt x="5856" y="3288"/>
                      <a:pt x="6390" y="3439"/>
                      <a:pt x="6744" y="3564"/>
                    </a:cubicBezTo>
                    <a:cubicBezTo>
                      <a:pt x="6525" y="2306"/>
                      <a:pt x="5827" y="1150"/>
                      <a:pt x="4589" y="609"/>
                    </a:cubicBezTo>
                    <a:cubicBezTo>
                      <a:pt x="5820" y="997"/>
                      <a:pt x="6676" y="2123"/>
                      <a:pt x="7042" y="3354"/>
                    </a:cubicBezTo>
                    <a:cubicBezTo>
                      <a:pt x="7112" y="2949"/>
                      <a:pt x="7216" y="2574"/>
                      <a:pt x="7358" y="2233"/>
                    </a:cubicBezTo>
                    <a:cubicBezTo>
                      <a:pt x="7006" y="1054"/>
                      <a:pt x="5918" y="214"/>
                      <a:pt x="4139" y="214"/>
                    </a:cubicBezTo>
                    <a:cubicBezTo>
                      <a:pt x="3920" y="214"/>
                      <a:pt x="3690" y="227"/>
                      <a:pt x="3450" y="253"/>
                    </a:cubicBezTo>
                    <a:cubicBezTo>
                      <a:pt x="4708" y="954"/>
                      <a:pt x="4033" y="1529"/>
                      <a:pt x="5282" y="2733"/>
                    </a:cubicBezTo>
                    <a:close/>
                    <a:moveTo>
                      <a:pt x="11174" y="7560"/>
                    </a:moveTo>
                    <a:cubicBezTo>
                      <a:pt x="11020" y="7299"/>
                      <a:pt x="10696" y="7094"/>
                      <a:pt x="10245" y="7311"/>
                    </a:cubicBezTo>
                    <a:lnTo>
                      <a:pt x="10145" y="7362"/>
                    </a:lnTo>
                    <a:cubicBezTo>
                      <a:pt x="9750" y="6361"/>
                      <a:pt x="9011" y="5620"/>
                      <a:pt x="7950" y="5369"/>
                    </a:cubicBezTo>
                    <a:cubicBezTo>
                      <a:pt x="7904" y="5358"/>
                      <a:pt x="7855" y="5350"/>
                      <a:pt x="7807" y="5341"/>
                    </a:cubicBezTo>
                    <a:cubicBezTo>
                      <a:pt x="7760" y="5332"/>
                      <a:pt x="7713" y="5323"/>
                      <a:pt x="7665" y="5315"/>
                    </a:cubicBezTo>
                    <a:lnTo>
                      <a:pt x="7665" y="5310"/>
                    </a:lnTo>
                    <a:lnTo>
                      <a:pt x="7626" y="5310"/>
                    </a:lnTo>
                    <a:cubicBezTo>
                      <a:pt x="7615" y="5095"/>
                      <a:pt x="7617" y="4877"/>
                      <a:pt x="7630" y="4658"/>
                    </a:cubicBezTo>
                    <a:cubicBezTo>
                      <a:pt x="7632" y="4631"/>
                      <a:pt x="7635" y="4603"/>
                      <a:pt x="7637" y="4576"/>
                    </a:cubicBezTo>
                    <a:cubicBezTo>
                      <a:pt x="7639" y="4548"/>
                      <a:pt x="7642" y="4521"/>
                      <a:pt x="7645" y="4493"/>
                    </a:cubicBezTo>
                    <a:cubicBezTo>
                      <a:pt x="7645" y="4487"/>
                      <a:pt x="7646" y="4482"/>
                      <a:pt x="7646" y="4476"/>
                    </a:cubicBezTo>
                    <a:cubicBezTo>
                      <a:pt x="7650" y="4440"/>
                      <a:pt x="7653" y="4405"/>
                      <a:pt x="7657" y="4369"/>
                    </a:cubicBezTo>
                    <a:cubicBezTo>
                      <a:pt x="7662" y="4324"/>
                      <a:pt x="7667" y="4279"/>
                      <a:pt x="7673" y="4234"/>
                    </a:cubicBezTo>
                    <a:cubicBezTo>
                      <a:pt x="7872" y="2771"/>
                      <a:pt x="8628" y="1348"/>
                      <a:pt x="9939" y="657"/>
                    </a:cubicBezTo>
                    <a:cubicBezTo>
                      <a:pt x="8766" y="1446"/>
                      <a:pt x="8183" y="2704"/>
                      <a:pt x="8068" y="4029"/>
                    </a:cubicBezTo>
                    <a:cubicBezTo>
                      <a:pt x="8412" y="3957"/>
                      <a:pt x="8947" y="3834"/>
                      <a:pt x="9555" y="3096"/>
                    </a:cubicBezTo>
                    <a:cubicBezTo>
                      <a:pt x="10606" y="1820"/>
                      <a:pt x="10037" y="1108"/>
                      <a:pt x="11244" y="0"/>
                    </a:cubicBezTo>
                    <a:cubicBezTo>
                      <a:pt x="9086" y="152"/>
                      <a:pt x="8041" y="1219"/>
                      <a:pt x="7569" y="2470"/>
                    </a:cubicBezTo>
                    <a:cubicBezTo>
                      <a:pt x="7551" y="2519"/>
                      <a:pt x="7533" y="2568"/>
                      <a:pt x="7516" y="2618"/>
                    </a:cubicBezTo>
                    <a:cubicBezTo>
                      <a:pt x="7499" y="2670"/>
                      <a:pt x="7482" y="2723"/>
                      <a:pt x="7466" y="2776"/>
                    </a:cubicBezTo>
                    <a:cubicBezTo>
                      <a:pt x="7324" y="3251"/>
                      <a:pt x="7255" y="3743"/>
                      <a:pt x="7233" y="4214"/>
                    </a:cubicBezTo>
                    <a:cubicBezTo>
                      <a:pt x="7227" y="4337"/>
                      <a:pt x="7224" y="4458"/>
                      <a:pt x="7224" y="4577"/>
                    </a:cubicBezTo>
                    <a:lnTo>
                      <a:pt x="7224" y="5280"/>
                    </a:lnTo>
                    <a:cubicBezTo>
                      <a:pt x="7190" y="5279"/>
                      <a:pt x="7156" y="5276"/>
                      <a:pt x="7121" y="5276"/>
                    </a:cubicBezTo>
                    <a:cubicBezTo>
                      <a:pt x="7107" y="5276"/>
                      <a:pt x="7095" y="5277"/>
                      <a:pt x="7082" y="5277"/>
                    </a:cubicBezTo>
                    <a:cubicBezTo>
                      <a:pt x="7033" y="5278"/>
                      <a:pt x="6986" y="5280"/>
                      <a:pt x="6939" y="5283"/>
                    </a:cubicBezTo>
                    <a:cubicBezTo>
                      <a:pt x="6217" y="5326"/>
                      <a:pt x="5581" y="5623"/>
                      <a:pt x="5070" y="6113"/>
                    </a:cubicBezTo>
                    <a:cubicBezTo>
                      <a:pt x="4740" y="5948"/>
                      <a:pt x="4382" y="5797"/>
                      <a:pt x="4006" y="5741"/>
                    </a:cubicBezTo>
                    <a:cubicBezTo>
                      <a:pt x="3196" y="5621"/>
                      <a:pt x="2767" y="5694"/>
                      <a:pt x="2454" y="5748"/>
                    </a:cubicBezTo>
                    <a:cubicBezTo>
                      <a:pt x="2277" y="5778"/>
                      <a:pt x="2149" y="5801"/>
                      <a:pt x="2006" y="5779"/>
                    </a:cubicBezTo>
                    <a:lnTo>
                      <a:pt x="1979" y="5775"/>
                    </a:lnTo>
                    <a:lnTo>
                      <a:pt x="1979" y="6135"/>
                    </a:lnTo>
                    <a:cubicBezTo>
                      <a:pt x="2167" y="6158"/>
                      <a:pt x="2329" y="6132"/>
                      <a:pt x="2514" y="6100"/>
                    </a:cubicBezTo>
                    <a:cubicBezTo>
                      <a:pt x="2820" y="6048"/>
                      <a:pt x="3200" y="5983"/>
                      <a:pt x="3953" y="6094"/>
                    </a:cubicBezTo>
                    <a:cubicBezTo>
                      <a:pt x="4247" y="6138"/>
                      <a:pt x="4539" y="6254"/>
                      <a:pt x="4816" y="6387"/>
                    </a:cubicBezTo>
                    <a:cubicBezTo>
                      <a:pt x="4964" y="6458"/>
                      <a:pt x="5108" y="6534"/>
                      <a:pt x="5246" y="6607"/>
                    </a:cubicBezTo>
                    <a:cubicBezTo>
                      <a:pt x="5584" y="6786"/>
                      <a:pt x="5875" y="6940"/>
                      <a:pt x="6145" y="6987"/>
                    </a:cubicBezTo>
                    <a:cubicBezTo>
                      <a:pt x="6374" y="7027"/>
                      <a:pt x="6617" y="7019"/>
                      <a:pt x="6873" y="7011"/>
                    </a:cubicBezTo>
                    <a:cubicBezTo>
                      <a:pt x="7279" y="6999"/>
                      <a:pt x="7740" y="6985"/>
                      <a:pt x="8301" y="7145"/>
                    </a:cubicBezTo>
                    <a:cubicBezTo>
                      <a:pt x="8622" y="7237"/>
                      <a:pt x="8803" y="7401"/>
                      <a:pt x="8825" y="7618"/>
                    </a:cubicBezTo>
                    <a:cubicBezTo>
                      <a:pt x="8835" y="7725"/>
                      <a:pt x="8806" y="7830"/>
                      <a:pt x="8758" y="7918"/>
                    </a:cubicBezTo>
                    <a:cubicBezTo>
                      <a:pt x="8709" y="8005"/>
                      <a:pt x="8640" y="8076"/>
                      <a:pt x="8571" y="8111"/>
                    </a:cubicBezTo>
                    <a:cubicBezTo>
                      <a:pt x="8540" y="8127"/>
                      <a:pt x="8502" y="8141"/>
                      <a:pt x="8461" y="8153"/>
                    </a:cubicBezTo>
                    <a:cubicBezTo>
                      <a:pt x="8371" y="8180"/>
                      <a:pt x="8259" y="8200"/>
                      <a:pt x="8128" y="8211"/>
                    </a:cubicBezTo>
                    <a:cubicBezTo>
                      <a:pt x="7846" y="8235"/>
                      <a:pt x="7483" y="8223"/>
                      <a:pt x="7099" y="8176"/>
                    </a:cubicBezTo>
                    <a:cubicBezTo>
                      <a:pt x="7067" y="8172"/>
                      <a:pt x="7035" y="8168"/>
                      <a:pt x="7003" y="8164"/>
                    </a:cubicBezTo>
                    <a:cubicBezTo>
                      <a:pt x="6984" y="8161"/>
                      <a:pt x="6965" y="8158"/>
                      <a:pt x="6945" y="8155"/>
                    </a:cubicBezTo>
                    <a:cubicBezTo>
                      <a:pt x="6790" y="8133"/>
                      <a:pt x="6633" y="8105"/>
                      <a:pt x="6477" y="8071"/>
                    </a:cubicBezTo>
                    <a:cubicBezTo>
                      <a:pt x="6423" y="8060"/>
                      <a:pt x="6370" y="8048"/>
                      <a:pt x="6316" y="8035"/>
                    </a:cubicBezTo>
                    <a:cubicBezTo>
                      <a:pt x="6270" y="8024"/>
                      <a:pt x="6226" y="8017"/>
                      <a:pt x="6181" y="8008"/>
                    </a:cubicBezTo>
                    <a:cubicBezTo>
                      <a:pt x="6126" y="7998"/>
                      <a:pt x="6072" y="7990"/>
                      <a:pt x="6020" y="7984"/>
                    </a:cubicBezTo>
                    <a:cubicBezTo>
                      <a:pt x="5990" y="7981"/>
                      <a:pt x="5960" y="7977"/>
                      <a:pt x="5931" y="7975"/>
                    </a:cubicBezTo>
                    <a:cubicBezTo>
                      <a:pt x="5524" y="7946"/>
                      <a:pt x="5206" y="8034"/>
                      <a:pt x="4994" y="8127"/>
                    </a:cubicBezTo>
                    <a:cubicBezTo>
                      <a:pt x="4960" y="8142"/>
                      <a:pt x="4936" y="8168"/>
                      <a:pt x="4918" y="8197"/>
                    </a:cubicBezTo>
                    <a:cubicBezTo>
                      <a:pt x="4888" y="8246"/>
                      <a:pt x="4878" y="8306"/>
                      <a:pt x="4903" y="8363"/>
                    </a:cubicBezTo>
                    <a:cubicBezTo>
                      <a:pt x="4943" y="8452"/>
                      <a:pt x="5048" y="8493"/>
                      <a:pt x="5138" y="8454"/>
                    </a:cubicBezTo>
                    <a:cubicBezTo>
                      <a:pt x="5465" y="8310"/>
                      <a:pt x="5833" y="8286"/>
                      <a:pt x="6233" y="8382"/>
                    </a:cubicBezTo>
                    <a:cubicBezTo>
                      <a:pt x="6732" y="8503"/>
                      <a:pt x="7317" y="8582"/>
                      <a:pt x="7817" y="8582"/>
                    </a:cubicBezTo>
                    <a:cubicBezTo>
                      <a:pt x="8196" y="8582"/>
                      <a:pt x="8527" y="8536"/>
                      <a:pt x="8735" y="8429"/>
                    </a:cubicBezTo>
                    <a:cubicBezTo>
                      <a:pt x="8828" y="8381"/>
                      <a:pt x="8910" y="8308"/>
                      <a:pt x="8978" y="8223"/>
                    </a:cubicBezTo>
                    <a:cubicBezTo>
                      <a:pt x="9279" y="8130"/>
                      <a:pt x="9558" y="8062"/>
                      <a:pt x="9563" y="8061"/>
                    </a:cubicBezTo>
                    <a:cubicBezTo>
                      <a:pt x="9577" y="8057"/>
                      <a:pt x="9590" y="8052"/>
                      <a:pt x="9603" y="8045"/>
                    </a:cubicBezTo>
                    <a:lnTo>
                      <a:pt x="10404" y="7630"/>
                    </a:lnTo>
                    <a:cubicBezTo>
                      <a:pt x="10627" y="7523"/>
                      <a:pt x="10731" y="7601"/>
                      <a:pt x="10766" y="7626"/>
                    </a:cubicBezTo>
                    <a:cubicBezTo>
                      <a:pt x="10877" y="7708"/>
                      <a:pt x="10927" y="7862"/>
                      <a:pt x="10935" y="7937"/>
                    </a:cubicBezTo>
                    <a:cubicBezTo>
                      <a:pt x="10867" y="7990"/>
                      <a:pt x="10749" y="8081"/>
                      <a:pt x="10619" y="8183"/>
                    </a:cubicBezTo>
                    <a:cubicBezTo>
                      <a:pt x="10396" y="8357"/>
                      <a:pt x="10058" y="8621"/>
                      <a:pt x="10018" y="8647"/>
                    </a:cubicBezTo>
                    <a:cubicBezTo>
                      <a:pt x="9989" y="8661"/>
                      <a:pt x="9867" y="8708"/>
                      <a:pt x="9720" y="8765"/>
                    </a:cubicBezTo>
                    <a:cubicBezTo>
                      <a:pt x="9489" y="8855"/>
                      <a:pt x="9201" y="8966"/>
                      <a:pt x="9086" y="9020"/>
                    </a:cubicBezTo>
                    <a:cubicBezTo>
                      <a:pt x="8816" y="9144"/>
                      <a:pt x="8300" y="9346"/>
                      <a:pt x="8196" y="9349"/>
                    </a:cubicBezTo>
                    <a:cubicBezTo>
                      <a:pt x="8024" y="9349"/>
                      <a:pt x="7346" y="9463"/>
                      <a:pt x="6547" y="9626"/>
                    </a:cubicBezTo>
                    <a:cubicBezTo>
                      <a:pt x="5919" y="9754"/>
                      <a:pt x="5696" y="9741"/>
                      <a:pt x="5291" y="9552"/>
                    </a:cubicBezTo>
                    <a:cubicBezTo>
                      <a:pt x="4872" y="9356"/>
                      <a:pt x="2441" y="8613"/>
                      <a:pt x="2148" y="8613"/>
                    </a:cubicBezTo>
                    <a:lnTo>
                      <a:pt x="1979" y="8613"/>
                    </a:lnTo>
                    <a:lnTo>
                      <a:pt x="1979" y="8970"/>
                    </a:lnTo>
                    <a:lnTo>
                      <a:pt x="2146" y="8970"/>
                    </a:lnTo>
                    <a:cubicBezTo>
                      <a:pt x="2378" y="8981"/>
                      <a:pt x="4685" y="9662"/>
                      <a:pt x="5139" y="9875"/>
                    </a:cubicBezTo>
                    <a:cubicBezTo>
                      <a:pt x="5427" y="10010"/>
                      <a:pt x="5655" y="10067"/>
                      <a:pt x="5917" y="10067"/>
                    </a:cubicBezTo>
                    <a:cubicBezTo>
                      <a:pt x="6117" y="10067"/>
                      <a:pt x="6337" y="10034"/>
                      <a:pt x="6619" y="9976"/>
                    </a:cubicBezTo>
                    <a:cubicBezTo>
                      <a:pt x="7530" y="9790"/>
                      <a:pt x="8089" y="9706"/>
                      <a:pt x="8196" y="9706"/>
                    </a:cubicBezTo>
                    <a:cubicBezTo>
                      <a:pt x="8437" y="9706"/>
                      <a:pt x="9228" y="9348"/>
                      <a:pt x="9235" y="9344"/>
                    </a:cubicBezTo>
                    <a:cubicBezTo>
                      <a:pt x="9341" y="9296"/>
                      <a:pt x="9635" y="9181"/>
                      <a:pt x="9849" y="9098"/>
                    </a:cubicBezTo>
                    <a:cubicBezTo>
                      <a:pt x="10069" y="9013"/>
                      <a:pt x="10148" y="8982"/>
                      <a:pt x="10176" y="8967"/>
                    </a:cubicBezTo>
                    <a:cubicBezTo>
                      <a:pt x="10216" y="8947"/>
                      <a:pt x="10303" y="8883"/>
                      <a:pt x="10839" y="8464"/>
                    </a:cubicBezTo>
                    <a:cubicBezTo>
                      <a:pt x="11008" y="8332"/>
                      <a:pt x="11155" y="8217"/>
                      <a:pt x="11194" y="8190"/>
                    </a:cubicBezTo>
                    <a:cubicBezTo>
                      <a:pt x="11364" y="8068"/>
                      <a:pt x="11285" y="7748"/>
                      <a:pt x="11174" y="7560"/>
                    </a:cubicBezTo>
                    <a:close/>
                    <a:moveTo>
                      <a:pt x="0" y="9309"/>
                    </a:moveTo>
                    <a:lnTo>
                      <a:pt x="1630" y="9309"/>
                    </a:lnTo>
                    <a:lnTo>
                      <a:pt x="1630" y="5351"/>
                    </a:lnTo>
                    <a:lnTo>
                      <a:pt x="0" y="5351"/>
                    </a:lnTo>
                    <a:lnTo>
                      <a:pt x="0" y="9309"/>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nvGrpSpPr>
              <p:cNvPr id="364" name="Problem_Based_Learning" descr="{&quot;Key&quot;:&quot;POWER_USER_SHAPE_ICON&quot;,&quot;Value&quot;:&quot;POWER_USER_SHAPE_ICON_STYLE_1&quot;}">
                <a:extLst>
                  <a:ext uri="{FF2B5EF4-FFF2-40B4-BE49-F238E27FC236}">
                    <a16:creationId xmlns:a16="http://schemas.microsoft.com/office/drawing/2014/main" id="{3AAB8B5D-D4C4-42C9-B170-0A5CBEBFB645}"/>
                  </a:ext>
                </a:extLst>
              </p:cNvPr>
              <p:cNvGrpSpPr>
                <a:grpSpLocks noChangeAspect="1"/>
              </p:cNvGrpSpPr>
              <p:nvPr>
                <p:custDataLst>
                  <p:tags r:id="rId5"/>
                </p:custDataLst>
              </p:nvPr>
            </p:nvGrpSpPr>
            <p:grpSpPr bwMode="auto">
              <a:xfrm>
                <a:off x="7183815" y="778521"/>
                <a:ext cx="172311" cy="185669"/>
                <a:chOff x="7" y="8"/>
                <a:chExt cx="424" cy="471"/>
              </a:xfrm>
              <a:solidFill>
                <a:schemeClr val="bg1"/>
              </a:solidFill>
            </p:grpSpPr>
            <p:sp>
              <p:nvSpPr>
                <p:cNvPr id="365" name="Problem_Based_Learning">
                  <a:extLst>
                    <a:ext uri="{FF2B5EF4-FFF2-40B4-BE49-F238E27FC236}">
                      <a16:creationId xmlns:a16="http://schemas.microsoft.com/office/drawing/2014/main" id="{E0A81E7D-ED7B-480F-80A4-22CB0288FFD2}"/>
                    </a:ext>
                  </a:extLst>
                </p:cNvPr>
                <p:cNvSpPr>
                  <a:spLocks/>
                </p:cNvSpPr>
                <p:nvPr>
                  <p:custDataLst>
                    <p:tags r:id="rId6"/>
                  </p:custDataLst>
                </p:nvPr>
              </p:nvSpPr>
              <p:spPr bwMode="auto">
                <a:xfrm>
                  <a:off x="214" y="8"/>
                  <a:ext cx="20" cy="69"/>
                </a:xfrm>
                <a:custGeom>
                  <a:avLst/>
                  <a:gdLst>
                    <a:gd name="T0" fmla="*/ 26 w 52"/>
                    <a:gd name="T1" fmla="*/ 183 h 183"/>
                    <a:gd name="T2" fmla="*/ 0 w 52"/>
                    <a:gd name="T3" fmla="*/ 156 h 183"/>
                    <a:gd name="T4" fmla="*/ 0 w 52"/>
                    <a:gd name="T5" fmla="*/ 26 h 183"/>
                    <a:gd name="T6" fmla="*/ 26 w 52"/>
                    <a:gd name="T7" fmla="*/ 0 h 183"/>
                    <a:gd name="T8" fmla="*/ 52 w 52"/>
                    <a:gd name="T9" fmla="*/ 26 h 183"/>
                    <a:gd name="T10" fmla="*/ 52 w 52"/>
                    <a:gd name="T11" fmla="*/ 156 h 183"/>
                    <a:gd name="T12" fmla="*/ 26 w 52"/>
                    <a:gd name="T13" fmla="*/ 183 h 183"/>
                  </a:gdLst>
                  <a:ahLst/>
                  <a:cxnLst>
                    <a:cxn ang="0">
                      <a:pos x="T0" y="T1"/>
                    </a:cxn>
                    <a:cxn ang="0">
                      <a:pos x="T2" y="T3"/>
                    </a:cxn>
                    <a:cxn ang="0">
                      <a:pos x="T4" y="T5"/>
                    </a:cxn>
                    <a:cxn ang="0">
                      <a:pos x="T6" y="T7"/>
                    </a:cxn>
                    <a:cxn ang="0">
                      <a:pos x="T8" y="T9"/>
                    </a:cxn>
                    <a:cxn ang="0">
                      <a:pos x="T10" y="T11"/>
                    </a:cxn>
                    <a:cxn ang="0">
                      <a:pos x="T12" y="T13"/>
                    </a:cxn>
                  </a:cxnLst>
                  <a:rect l="0" t="0" r="r" b="b"/>
                  <a:pathLst>
                    <a:path w="52" h="183">
                      <a:moveTo>
                        <a:pt x="26" y="183"/>
                      </a:moveTo>
                      <a:cubicBezTo>
                        <a:pt x="11" y="183"/>
                        <a:pt x="0" y="171"/>
                        <a:pt x="0" y="156"/>
                      </a:cubicBezTo>
                      <a:lnTo>
                        <a:pt x="0" y="26"/>
                      </a:lnTo>
                      <a:cubicBezTo>
                        <a:pt x="0" y="12"/>
                        <a:pt x="11" y="0"/>
                        <a:pt x="26" y="0"/>
                      </a:cubicBezTo>
                      <a:cubicBezTo>
                        <a:pt x="40" y="0"/>
                        <a:pt x="52" y="12"/>
                        <a:pt x="52" y="26"/>
                      </a:cubicBezTo>
                      <a:lnTo>
                        <a:pt x="52" y="156"/>
                      </a:lnTo>
                      <a:cubicBezTo>
                        <a:pt x="52" y="171"/>
                        <a:pt x="40" y="183"/>
                        <a:pt x="26" y="183"/>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noProof="0">
                    <a:ln>
                      <a:noFill/>
                    </a:ln>
                    <a:solidFill>
                      <a:prstClr val="black"/>
                    </a:solidFill>
                    <a:effectLst/>
                    <a:uLnTx/>
                    <a:uFillTx/>
                    <a:latin typeface="Calibri" panose="020F0502020204030204"/>
                    <a:ea typeface="+mn-ea"/>
                    <a:cs typeface="+mn-cs"/>
                  </a:endParaRPr>
                </a:p>
              </p:txBody>
            </p:sp>
            <p:sp>
              <p:nvSpPr>
                <p:cNvPr id="366" name="Problem_Based_Learning">
                  <a:extLst>
                    <a:ext uri="{FF2B5EF4-FFF2-40B4-BE49-F238E27FC236}">
                      <a16:creationId xmlns:a16="http://schemas.microsoft.com/office/drawing/2014/main" id="{F2458B05-50FA-4402-BA5E-316F750A4C7C}"/>
                    </a:ext>
                  </a:extLst>
                </p:cNvPr>
                <p:cNvSpPr>
                  <a:spLocks/>
                </p:cNvSpPr>
                <p:nvPr>
                  <p:custDataLst>
                    <p:tags r:id="rId7"/>
                  </p:custDataLst>
                </p:nvPr>
              </p:nvSpPr>
              <p:spPr bwMode="auto">
                <a:xfrm>
                  <a:off x="301" y="46"/>
                  <a:ext cx="51" cy="60"/>
                </a:xfrm>
                <a:custGeom>
                  <a:avLst/>
                  <a:gdLst>
                    <a:gd name="T0" fmla="*/ 29 w 137"/>
                    <a:gd name="T1" fmla="*/ 160 h 160"/>
                    <a:gd name="T2" fmla="*/ 14 w 137"/>
                    <a:gd name="T3" fmla="*/ 155 h 160"/>
                    <a:gd name="T4" fmla="*/ 9 w 137"/>
                    <a:gd name="T5" fmla="*/ 118 h 160"/>
                    <a:gd name="T6" fmla="*/ 87 w 137"/>
                    <a:gd name="T7" fmla="*/ 14 h 160"/>
                    <a:gd name="T8" fmla="*/ 123 w 137"/>
                    <a:gd name="T9" fmla="*/ 9 h 160"/>
                    <a:gd name="T10" fmla="*/ 128 w 137"/>
                    <a:gd name="T11" fmla="*/ 45 h 160"/>
                    <a:gd name="T12" fmla="*/ 50 w 137"/>
                    <a:gd name="T13" fmla="*/ 149 h 160"/>
                    <a:gd name="T14" fmla="*/ 29 w 137"/>
                    <a:gd name="T15" fmla="*/ 160 h 16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7" h="160">
                      <a:moveTo>
                        <a:pt x="29" y="160"/>
                      </a:moveTo>
                      <a:cubicBezTo>
                        <a:pt x="24" y="160"/>
                        <a:pt x="18" y="158"/>
                        <a:pt x="14" y="155"/>
                      </a:cubicBezTo>
                      <a:cubicBezTo>
                        <a:pt x="2" y="146"/>
                        <a:pt x="0" y="130"/>
                        <a:pt x="9" y="118"/>
                      </a:cubicBezTo>
                      <a:lnTo>
                        <a:pt x="87" y="14"/>
                      </a:lnTo>
                      <a:cubicBezTo>
                        <a:pt x="95" y="2"/>
                        <a:pt x="112" y="0"/>
                        <a:pt x="123" y="9"/>
                      </a:cubicBezTo>
                      <a:cubicBezTo>
                        <a:pt x="135" y="17"/>
                        <a:pt x="137" y="34"/>
                        <a:pt x="128" y="45"/>
                      </a:cubicBezTo>
                      <a:lnTo>
                        <a:pt x="50" y="149"/>
                      </a:lnTo>
                      <a:cubicBezTo>
                        <a:pt x="45" y="156"/>
                        <a:pt x="37" y="160"/>
                        <a:pt x="29" y="16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noProof="0">
                    <a:ln>
                      <a:noFill/>
                    </a:ln>
                    <a:solidFill>
                      <a:prstClr val="black"/>
                    </a:solidFill>
                    <a:effectLst/>
                    <a:uLnTx/>
                    <a:uFillTx/>
                    <a:latin typeface="Calibri" panose="020F0502020204030204"/>
                    <a:ea typeface="+mn-ea"/>
                    <a:cs typeface="+mn-cs"/>
                  </a:endParaRPr>
                </a:p>
              </p:txBody>
            </p:sp>
            <p:sp>
              <p:nvSpPr>
                <p:cNvPr id="367" name="Problem_Based_Learning">
                  <a:extLst>
                    <a:ext uri="{FF2B5EF4-FFF2-40B4-BE49-F238E27FC236}">
                      <a16:creationId xmlns:a16="http://schemas.microsoft.com/office/drawing/2014/main" id="{33555F66-54AE-4F6E-A2FB-0D99DC70E461}"/>
                    </a:ext>
                  </a:extLst>
                </p:cNvPr>
                <p:cNvSpPr>
                  <a:spLocks/>
                </p:cNvSpPr>
                <p:nvPr>
                  <p:custDataLst>
                    <p:tags r:id="rId8"/>
                  </p:custDataLst>
                </p:nvPr>
              </p:nvSpPr>
              <p:spPr bwMode="auto">
                <a:xfrm>
                  <a:off x="85" y="46"/>
                  <a:ext cx="52" cy="60"/>
                </a:xfrm>
                <a:custGeom>
                  <a:avLst/>
                  <a:gdLst>
                    <a:gd name="T0" fmla="*/ 108 w 137"/>
                    <a:gd name="T1" fmla="*/ 160 h 160"/>
                    <a:gd name="T2" fmla="*/ 87 w 137"/>
                    <a:gd name="T3" fmla="*/ 149 h 160"/>
                    <a:gd name="T4" fmla="*/ 9 w 137"/>
                    <a:gd name="T5" fmla="*/ 45 h 160"/>
                    <a:gd name="T6" fmla="*/ 14 w 137"/>
                    <a:gd name="T7" fmla="*/ 9 h 160"/>
                    <a:gd name="T8" fmla="*/ 51 w 137"/>
                    <a:gd name="T9" fmla="*/ 14 h 160"/>
                    <a:gd name="T10" fmla="*/ 129 w 137"/>
                    <a:gd name="T11" fmla="*/ 118 h 160"/>
                    <a:gd name="T12" fmla="*/ 124 w 137"/>
                    <a:gd name="T13" fmla="*/ 155 h 160"/>
                    <a:gd name="T14" fmla="*/ 108 w 137"/>
                    <a:gd name="T15" fmla="*/ 160 h 16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7" h="160">
                      <a:moveTo>
                        <a:pt x="108" y="160"/>
                      </a:moveTo>
                      <a:cubicBezTo>
                        <a:pt x="100" y="160"/>
                        <a:pt x="92" y="156"/>
                        <a:pt x="87" y="149"/>
                      </a:cubicBezTo>
                      <a:lnTo>
                        <a:pt x="9" y="45"/>
                      </a:lnTo>
                      <a:cubicBezTo>
                        <a:pt x="0" y="34"/>
                        <a:pt x="3" y="17"/>
                        <a:pt x="14" y="9"/>
                      </a:cubicBezTo>
                      <a:cubicBezTo>
                        <a:pt x="26" y="0"/>
                        <a:pt x="42" y="2"/>
                        <a:pt x="51" y="14"/>
                      </a:cubicBezTo>
                      <a:lnTo>
                        <a:pt x="129" y="118"/>
                      </a:lnTo>
                      <a:cubicBezTo>
                        <a:pt x="137" y="130"/>
                        <a:pt x="135" y="146"/>
                        <a:pt x="124" y="155"/>
                      </a:cubicBezTo>
                      <a:cubicBezTo>
                        <a:pt x="119" y="158"/>
                        <a:pt x="113" y="160"/>
                        <a:pt x="108" y="16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noProof="0">
                    <a:ln>
                      <a:noFill/>
                    </a:ln>
                    <a:solidFill>
                      <a:prstClr val="black"/>
                    </a:solidFill>
                    <a:effectLst/>
                    <a:uLnTx/>
                    <a:uFillTx/>
                    <a:latin typeface="Calibri" panose="020F0502020204030204"/>
                    <a:ea typeface="+mn-ea"/>
                    <a:cs typeface="+mn-cs"/>
                  </a:endParaRPr>
                </a:p>
              </p:txBody>
            </p:sp>
            <p:sp>
              <p:nvSpPr>
                <p:cNvPr id="368" name="Problem_Based_Learning">
                  <a:extLst>
                    <a:ext uri="{FF2B5EF4-FFF2-40B4-BE49-F238E27FC236}">
                      <a16:creationId xmlns:a16="http://schemas.microsoft.com/office/drawing/2014/main" id="{365A6CBC-70EF-417E-9362-BE45817D2341}"/>
                    </a:ext>
                  </a:extLst>
                </p:cNvPr>
                <p:cNvSpPr>
                  <a:spLocks/>
                </p:cNvSpPr>
                <p:nvPr>
                  <p:custDataLst>
                    <p:tags r:id="rId9"/>
                  </p:custDataLst>
                </p:nvPr>
              </p:nvSpPr>
              <p:spPr bwMode="auto">
                <a:xfrm>
                  <a:off x="7" y="134"/>
                  <a:ext cx="61" cy="41"/>
                </a:xfrm>
                <a:custGeom>
                  <a:avLst/>
                  <a:gdLst>
                    <a:gd name="T0" fmla="*/ 134 w 164"/>
                    <a:gd name="T1" fmla="*/ 108 h 108"/>
                    <a:gd name="T2" fmla="*/ 123 w 164"/>
                    <a:gd name="T3" fmla="*/ 106 h 108"/>
                    <a:gd name="T4" fmla="*/ 18 w 164"/>
                    <a:gd name="T5" fmla="*/ 53 h 108"/>
                    <a:gd name="T6" fmla="*/ 7 w 164"/>
                    <a:gd name="T7" fmla="*/ 18 h 108"/>
                    <a:gd name="T8" fmla="*/ 42 w 164"/>
                    <a:gd name="T9" fmla="*/ 7 h 108"/>
                    <a:gd name="T10" fmla="*/ 146 w 164"/>
                    <a:gd name="T11" fmla="*/ 59 h 108"/>
                    <a:gd name="T12" fmla="*/ 158 w 164"/>
                    <a:gd name="T13" fmla="*/ 94 h 108"/>
                    <a:gd name="T14" fmla="*/ 134 w 164"/>
                    <a:gd name="T15" fmla="*/ 108 h 1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4" h="108">
                      <a:moveTo>
                        <a:pt x="134" y="108"/>
                      </a:moveTo>
                      <a:cubicBezTo>
                        <a:pt x="130" y="108"/>
                        <a:pt x="126" y="107"/>
                        <a:pt x="123" y="106"/>
                      </a:cubicBezTo>
                      <a:lnTo>
                        <a:pt x="18" y="53"/>
                      </a:lnTo>
                      <a:cubicBezTo>
                        <a:pt x="6" y="47"/>
                        <a:pt x="0" y="31"/>
                        <a:pt x="7" y="18"/>
                      </a:cubicBezTo>
                      <a:cubicBezTo>
                        <a:pt x="13" y="6"/>
                        <a:pt x="29" y="0"/>
                        <a:pt x="42" y="7"/>
                      </a:cubicBezTo>
                      <a:lnTo>
                        <a:pt x="146" y="59"/>
                      </a:lnTo>
                      <a:cubicBezTo>
                        <a:pt x="159" y="65"/>
                        <a:pt x="164" y="81"/>
                        <a:pt x="158" y="94"/>
                      </a:cubicBezTo>
                      <a:cubicBezTo>
                        <a:pt x="153" y="103"/>
                        <a:pt x="144" y="108"/>
                        <a:pt x="134" y="108"/>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noProof="0">
                    <a:ln>
                      <a:noFill/>
                    </a:ln>
                    <a:solidFill>
                      <a:prstClr val="black"/>
                    </a:solidFill>
                    <a:effectLst/>
                    <a:uLnTx/>
                    <a:uFillTx/>
                    <a:latin typeface="Calibri" panose="020F0502020204030204"/>
                    <a:ea typeface="+mn-ea"/>
                    <a:cs typeface="+mn-cs"/>
                  </a:endParaRPr>
                </a:p>
              </p:txBody>
            </p:sp>
            <p:sp>
              <p:nvSpPr>
                <p:cNvPr id="369" name="Problem_Based_Learning">
                  <a:extLst>
                    <a:ext uri="{FF2B5EF4-FFF2-40B4-BE49-F238E27FC236}">
                      <a16:creationId xmlns:a16="http://schemas.microsoft.com/office/drawing/2014/main" id="{9728ED09-1E54-4D3A-BA47-AFF03CF57646}"/>
                    </a:ext>
                  </a:extLst>
                </p:cNvPr>
                <p:cNvSpPr>
                  <a:spLocks/>
                </p:cNvSpPr>
                <p:nvPr>
                  <p:custDataLst>
                    <p:tags r:id="rId10"/>
                  </p:custDataLst>
                </p:nvPr>
              </p:nvSpPr>
              <p:spPr bwMode="auto">
                <a:xfrm>
                  <a:off x="369" y="134"/>
                  <a:ext cx="62" cy="41"/>
                </a:xfrm>
                <a:custGeom>
                  <a:avLst/>
                  <a:gdLst>
                    <a:gd name="T0" fmla="*/ 30 w 164"/>
                    <a:gd name="T1" fmla="*/ 108 h 108"/>
                    <a:gd name="T2" fmla="*/ 7 w 164"/>
                    <a:gd name="T3" fmla="*/ 94 h 108"/>
                    <a:gd name="T4" fmla="*/ 18 w 164"/>
                    <a:gd name="T5" fmla="*/ 59 h 108"/>
                    <a:gd name="T6" fmla="*/ 123 w 164"/>
                    <a:gd name="T7" fmla="*/ 7 h 108"/>
                    <a:gd name="T8" fmla="*/ 158 w 164"/>
                    <a:gd name="T9" fmla="*/ 18 h 108"/>
                    <a:gd name="T10" fmla="*/ 146 w 164"/>
                    <a:gd name="T11" fmla="*/ 53 h 108"/>
                    <a:gd name="T12" fmla="*/ 42 w 164"/>
                    <a:gd name="T13" fmla="*/ 106 h 108"/>
                    <a:gd name="T14" fmla="*/ 30 w 164"/>
                    <a:gd name="T15" fmla="*/ 108 h 1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4" h="108">
                      <a:moveTo>
                        <a:pt x="30" y="108"/>
                      </a:moveTo>
                      <a:cubicBezTo>
                        <a:pt x="20" y="108"/>
                        <a:pt x="11" y="103"/>
                        <a:pt x="7" y="94"/>
                      </a:cubicBezTo>
                      <a:cubicBezTo>
                        <a:pt x="0" y="81"/>
                        <a:pt x="5" y="65"/>
                        <a:pt x="18" y="59"/>
                      </a:cubicBezTo>
                      <a:lnTo>
                        <a:pt x="123" y="7"/>
                      </a:lnTo>
                      <a:cubicBezTo>
                        <a:pt x="135" y="0"/>
                        <a:pt x="151" y="6"/>
                        <a:pt x="158" y="18"/>
                      </a:cubicBezTo>
                      <a:cubicBezTo>
                        <a:pt x="164" y="31"/>
                        <a:pt x="159" y="47"/>
                        <a:pt x="146" y="53"/>
                      </a:cubicBezTo>
                      <a:lnTo>
                        <a:pt x="42" y="106"/>
                      </a:lnTo>
                      <a:cubicBezTo>
                        <a:pt x="38" y="107"/>
                        <a:pt x="34" y="108"/>
                        <a:pt x="30" y="108"/>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noProof="0">
                    <a:ln>
                      <a:noFill/>
                    </a:ln>
                    <a:solidFill>
                      <a:prstClr val="black"/>
                    </a:solidFill>
                    <a:effectLst/>
                    <a:uLnTx/>
                    <a:uFillTx/>
                    <a:latin typeface="Calibri" panose="020F0502020204030204"/>
                    <a:ea typeface="+mn-ea"/>
                    <a:cs typeface="+mn-cs"/>
                  </a:endParaRPr>
                </a:p>
              </p:txBody>
            </p:sp>
            <p:sp>
              <p:nvSpPr>
                <p:cNvPr id="370" name="Problem_Based_Learning">
                  <a:extLst>
                    <a:ext uri="{FF2B5EF4-FFF2-40B4-BE49-F238E27FC236}">
                      <a16:creationId xmlns:a16="http://schemas.microsoft.com/office/drawing/2014/main" id="{F1043843-55E8-4526-B410-D3BFD3A788CE}"/>
                    </a:ext>
                  </a:extLst>
                </p:cNvPr>
                <p:cNvSpPr>
                  <a:spLocks noEditPoints="1"/>
                </p:cNvSpPr>
                <p:nvPr>
                  <p:custDataLst>
                    <p:tags r:id="rId11"/>
                  </p:custDataLst>
                </p:nvPr>
              </p:nvSpPr>
              <p:spPr bwMode="auto">
                <a:xfrm>
                  <a:off x="87" y="106"/>
                  <a:ext cx="303" cy="373"/>
                </a:xfrm>
                <a:custGeom>
                  <a:avLst/>
                  <a:gdLst>
                    <a:gd name="T0" fmla="*/ 730 w 808"/>
                    <a:gd name="T1" fmla="*/ 391 h 989"/>
                    <a:gd name="T2" fmla="*/ 730 w 808"/>
                    <a:gd name="T3" fmla="*/ 365 h 989"/>
                    <a:gd name="T4" fmla="*/ 365 w 808"/>
                    <a:gd name="T5" fmla="*/ 0 h 989"/>
                    <a:gd name="T6" fmla="*/ 0 w 808"/>
                    <a:gd name="T7" fmla="*/ 365 h 989"/>
                    <a:gd name="T8" fmla="*/ 78 w 808"/>
                    <a:gd name="T9" fmla="*/ 590 h 989"/>
                    <a:gd name="T10" fmla="*/ 78 w 808"/>
                    <a:gd name="T11" fmla="*/ 989 h 989"/>
                    <a:gd name="T12" fmla="*/ 547 w 808"/>
                    <a:gd name="T13" fmla="*/ 989 h 989"/>
                    <a:gd name="T14" fmla="*/ 547 w 808"/>
                    <a:gd name="T15" fmla="*/ 860 h 989"/>
                    <a:gd name="T16" fmla="*/ 704 w 808"/>
                    <a:gd name="T17" fmla="*/ 704 h 989"/>
                    <a:gd name="T18" fmla="*/ 704 w 808"/>
                    <a:gd name="T19" fmla="*/ 626 h 989"/>
                    <a:gd name="T20" fmla="*/ 782 w 808"/>
                    <a:gd name="T21" fmla="*/ 626 h 989"/>
                    <a:gd name="T22" fmla="*/ 808 w 808"/>
                    <a:gd name="T23" fmla="*/ 600 h 989"/>
                    <a:gd name="T24" fmla="*/ 730 w 808"/>
                    <a:gd name="T25" fmla="*/ 391 h 989"/>
                    <a:gd name="T26" fmla="*/ 587 w 808"/>
                    <a:gd name="T27" fmla="*/ 387 h 989"/>
                    <a:gd name="T28" fmla="*/ 547 w 808"/>
                    <a:gd name="T29" fmla="*/ 365 h 989"/>
                    <a:gd name="T30" fmla="*/ 522 w 808"/>
                    <a:gd name="T31" fmla="*/ 385 h 989"/>
                    <a:gd name="T32" fmla="*/ 520 w 808"/>
                    <a:gd name="T33" fmla="*/ 474 h 989"/>
                    <a:gd name="T34" fmla="*/ 410 w 808"/>
                    <a:gd name="T35" fmla="*/ 473 h 989"/>
                    <a:gd name="T36" fmla="*/ 390 w 808"/>
                    <a:gd name="T37" fmla="*/ 449 h 989"/>
                    <a:gd name="T38" fmla="*/ 412 w 808"/>
                    <a:gd name="T39" fmla="*/ 409 h 989"/>
                    <a:gd name="T40" fmla="*/ 368 w 808"/>
                    <a:gd name="T41" fmla="*/ 364 h 989"/>
                    <a:gd name="T42" fmla="*/ 325 w 808"/>
                    <a:gd name="T43" fmla="*/ 409 h 989"/>
                    <a:gd name="T44" fmla="*/ 347 w 808"/>
                    <a:gd name="T45" fmla="*/ 449 h 989"/>
                    <a:gd name="T46" fmla="*/ 326 w 808"/>
                    <a:gd name="T47" fmla="*/ 473 h 989"/>
                    <a:gd name="T48" fmla="*/ 214 w 808"/>
                    <a:gd name="T49" fmla="*/ 474 h 989"/>
                    <a:gd name="T50" fmla="*/ 213 w 808"/>
                    <a:gd name="T51" fmla="*/ 385 h 989"/>
                    <a:gd name="T52" fmla="*/ 188 w 808"/>
                    <a:gd name="T53" fmla="*/ 365 h 989"/>
                    <a:gd name="T54" fmla="*/ 148 w 808"/>
                    <a:gd name="T55" fmla="*/ 387 h 989"/>
                    <a:gd name="T56" fmla="*/ 104 w 808"/>
                    <a:gd name="T57" fmla="*/ 344 h 989"/>
                    <a:gd name="T58" fmla="*/ 148 w 808"/>
                    <a:gd name="T59" fmla="*/ 300 h 989"/>
                    <a:gd name="T60" fmla="*/ 188 w 808"/>
                    <a:gd name="T61" fmla="*/ 322 h 989"/>
                    <a:gd name="T62" fmla="*/ 213 w 808"/>
                    <a:gd name="T63" fmla="*/ 302 h 989"/>
                    <a:gd name="T64" fmla="*/ 216 w 808"/>
                    <a:gd name="T65" fmla="*/ 213 h 989"/>
                    <a:gd name="T66" fmla="*/ 326 w 808"/>
                    <a:gd name="T67" fmla="*/ 203 h 989"/>
                    <a:gd name="T68" fmla="*/ 347 w 808"/>
                    <a:gd name="T69" fmla="*/ 227 h 989"/>
                    <a:gd name="T70" fmla="*/ 325 w 808"/>
                    <a:gd name="T71" fmla="*/ 267 h 989"/>
                    <a:gd name="T72" fmla="*/ 368 w 808"/>
                    <a:gd name="T73" fmla="*/ 312 h 989"/>
                    <a:gd name="T74" fmla="*/ 412 w 808"/>
                    <a:gd name="T75" fmla="*/ 267 h 989"/>
                    <a:gd name="T76" fmla="*/ 390 w 808"/>
                    <a:gd name="T77" fmla="*/ 227 h 989"/>
                    <a:gd name="T78" fmla="*/ 410 w 808"/>
                    <a:gd name="T79" fmla="*/ 203 h 989"/>
                    <a:gd name="T80" fmla="*/ 521 w 808"/>
                    <a:gd name="T81" fmla="*/ 213 h 989"/>
                    <a:gd name="T82" fmla="*/ 522 w 808"/>
                    <a:gd name="T83" fmla="*/ 302 h 989"/>
                    <a:gd name="T84" fmla="*/ 547 w 808"/>
                    <a:gd name="T85" fmla="*/ 322 h 989"/>
                    <a:gd name="T86" fmla="*/ 587 w 808"/>
                    <a:gd name="T87" fmla="*/ 300 h 989"/>
                    <a:gd name="T88" fmla="*/ 631 w 808"/>
                    <a:gd name="T89" fmla="*/ 344 h 989"/>
                    <a:gd name="T90" fmla="*/ 587 w 808"/>
                    <a:gd name="T91" fmla="*/ 387 h 9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8" h="989">
                      <a:moveTo>
                        <a:pt x="730" y="391"/>
                      </a:moveTo>
                      <a:lnTo>
                        <a:pt x="730" y="365"/>
                      </a:lnTo>
                      <a:cubicBezTo>
                        <a:pt x="730" y="163"/>
                        <a:pt x="566" y="0"/>
                        <a:pt x="365" y="0"/>
                      </a:cubicBezTo>
                      <a:cubicBezTo>
                        <a:pt x="163" y="0"/>
                        <a:pt x="0" y="163"/>
                        <a:pt x="0" y="365"/>
                      </a:cubicBezTo>
                      <a:cubicBezTo>
                        <a:pt x="0" y="450"/>
                        <a:pt x="29" y="528"/>
                        <a:pt x="78" y="590"/>
                      </a:cubicBezTo>
                      <a:lnTo>
                        <a:pt x="78" y="989"/>
                      </a:lnTo>
                      <a:lnTo>
                        <a:pt x="547" y="989"/>
                      </a:lnTo>
                      <a:lnTo>
                        <a:pt x="547" y="860"/>
                      </a:lnTo>
                      <a:cubicBezTo>
                        <a:pt x="634" y="860"/>
                        <a:pt x="704" y="790"/>
                        <a:pt x="704" y="704"/>
                      </a:cubicBezTo>
                      <a:lnTo>
                        <a:pt x="704" y="626"/>
                      </a:lnTo>
                      <a:lnTo>
                        <a:pt x="782" y="626"/>
                      </a:lnTo>
                      <a:cubicBezTo>
                        <a:pt x="796" y="626"/>
                        <a:pt x="808" y="614"/>
                        <a:pt x="808" y="600"/>
                      </a:cubicBezTo>
                      <a:cubicBezTo>
                        <a:pt x="808" y="593"/>
                        <a:pt x="730" y="391"/>
                        <a:pt x="730" y="391"/>
                      </a:cubicBezTo>
                      <a:close/>
                      <a:moveTo>
                        <a:pt x="587" y="387"/>
                      </a:moveTo>
                      <a:cubicBezTo>
                        <a:pt x="562" y="381"/>
                        <a:pt x="566" y="365"/>
                        <a:pt x="547" y="365"/>
                      </a:cubicBezTo>
                      <a:cubicBezTo>
                        <a:pt x="528" y="365"/>
                        <a:pt x="524" y="378"/>
                        <a:pt x="522" y="385"/>
                      </a:cubicBezTo>
                      <a:cubicBezTo>
                        <a:pt x="519" y="407"/>
                        <a:pt x="520" y="474"/>
                        <a:pt x="520" y="474"/>
                      </a:cubicBezTo>
                      <a:cubicBezTo>
                        <a:pt x="520" y="474"/>
                        <a:pt x="432" y="477"/>
                        <a:pt x="410" y="473"/>
                      </a:cubicBezTo>
                      <a:cubicBezTo>
                        <a:pt x="402" y="472"/>
                        <a:pt x="390" y="468"/>
                        <a:pt x="390" y="449"/>
                      </a:cubicBezTo>
                      <a:cubicBezTo>
                        <a:pt x="390" y="430"/>
                        <a:pt x="406" y="434"/>
                        <a:pt x="412" y="409"/>
                      </a:cubicBezTo>
                      <a:cubicBezTo>
                        <a:pt x="414" y="383"/>
                        <a:pt x="392" y="364"/>
                        <a:pt x="368" y="364"/>
                      </a:cubicBezTo>
                      <a:cubicBezTo>
                        <a:pt x="344" y="364"/>
                        <a:pt x="323" y="383"/>
                        <a:pt x="325" y="409"/>
                      </a:cubicBezTo>
                      <a:cubicBezTo>
                        <a:pt x="331" y="434"/>
                        <a:pt x="347" y="430"/>
                        <a:pt x="347" y="449"/>
                      </a:cubicBezTo>
                      <a:cubicBezTo>
                        <a:pt x="347" y="468"/>
                        <a:pt x="334" y="472"/>
                        <a:pt x="326" y="473"/>
                      </a:cubicBezTo>
                      <a:cubicBezTo>
                        <a:pt x="305" y="477"/>
                        <a:pt x="214" y="474"/>
                        <a:pt x="214" y="474"/>
                      </a:cubicBezTo>
                      <a:cubicBezTo>
                        <a:pt x="214" y="474"/>
                        <a:pt x="216" y="407"/>
                        <a:pt x="213" y="385"/>
                      </a:cubicBezTo>
                      <a:cubicBezTo>
                        <a:pt x="212" y="377"/>
                        <a:pt x="207" y="365"/>
                        <a:pt x="188" y="365"/>
                      </a:cubicBezTo>
                      <a:cubicBezTo>
                        <a:pt x="169" y="365"/>
                        <a:pt x="174" y="381"/>
                        <a:pt x="148" y="387"/>
                      </a:cubicBezTo>
                      <a:cubicBezTo>
                        <a:pt x="123" y="389"/>
                        <a:pt x="104" y="368"/>
                        <a:pt x="104" y="344"/>
                      </a:cubicBezTo>
                      <a:cubicBezTo>
                        <a:pt x="104" y="319"/>
                        <a:pt x="123" y="298"/>
                        <a:pt x="148" y="300"/>
                      </a:cubicBezTo>
                      <a:cubicBezTo>
                        <a:pt x="174" y="306"/>
                        <a:pt x="169" y="322"/>
                        <a:pt x="188" y="322"/>
                      </a:cubicBezTo>
                      <a:cubicBezTo>
                        <a:pt x="207" y="322"/>
                        <a:pt x="212" y="310"/>
                        <a:pt x="213" y="302"/>
                      </a:cubicBezTo>
                      <a:cubicBezTo>
                        <a:pt x="216" y="280"/>
                        <a:pt x="216" y="213"/>
                        <a:pt x="216" y="213"/>
                      </a:cubicBezTo>
                      <a:cubicBezTo>
                        <a:pt x="216" y="213"/>
                        <a:pt x="305" y="199"/>
                        <a:pt x="326" y="203"/>
                      </a:cubicBezTo>
                      <a:cubicBezTo>
                        <a:pt x="334" y="204"/>
                        <a:pt x="347" y="208"/>
                        <a:pt x="347" y="227"/>
                      </a:cubicBezTo>
                      <a:cubicBezTo>
                        <a:pt x="347" y="246"/>
                        <a:pt x="331" y="242"/>
                        <a:pt x="325" y="267"/>
                      </a:cubicBezTo>
                      <a:cubicBezTo>
                        <a:pt x="323" y="293"/>
                        <a:pt x="344" y="312"/>
                        <a:pt x="368" y="312"/>
                      </a:cubicBezTo>
                      <a:cubicBezTo>
                        <a:pt x="392" y="312"/>
                        <a:pt x="414" y="293"/>
                        <a:pt x="412" y="267"/>
                      </a:cubicBezTo>
                      <a:cubicBezTo>
                        <a:pt x="406" y="242"/>
                        <a:pt x="390" y="246"/>
                        <a:pt x="390" y="227"/>
                      </a:cubicBezTo>
                      <a:cubicBezTo>
                        <a:pt x="390" y="208"/>
                        <a:pt x="402" y="204"/>
                        <a:pt x="410" y="203"/>
                      </a:cubicBezTo>
                      <a:cubicBezTo>
                        <a:pt x="432" y="199"/>
                        <a:pt x="521" y="213"/>
                        <a:pt x="521" y="213"/>
                      </a:cubicBezTo>
                      <a:cubicBezTo>
                        <a:pt x="521" y="213"/>
                        <a:pt x="519" y="280"/>
                        <a:pt x="522" y="302"/>
                      </a:cubicBezTo>
                      <a:cubicBezTo>
                        <a:pt x="524" y="310"/>
                        <a:pt x="528" y="322"/>
                        <a:pt x="547" y="322"/>
                      </a:cubicBezTo>
                      <a:cubicBezTo>
                        <a:pt x="566" y="322"/>
                        <a:pt x="562" y="306"/>
                        <a:pt x="587" y="300"/>
                      </a:cubicBezTo>
                      <a:cubicBezTo>
                        <a:pt x="613" y="298"/>
                        <a:pt x="631" y="319"/>
                        <a:pt x="631" y="344"/>
                      </a:cubicBezTo>
                      <a:cubicBezTo>
                        <a:pt x="631" y="368"/>
                        <a:pt x="613" y="389"/>
                        <a:pt x="587" y="387"/>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noProof="0">
                    <a:ln>
                      <a:noFill/>
                    </a:ln>
                    <a:solidFill>
                      <a:prstClr val="black"/>
                    </a:solidFill>
                    <a:effectLst/>
                    <a:uLnTx/>
                    <a:uFillTx/>
                    <a:latin typeface="Calibri" panose="020F0502020204030204"/>
                    <a:ea typeface="+mn-ea"/>
                    <a:cs typeface="+mn-cs"/>
                  </a:endParaRPr>
                </a:p>
              </p:txBody>
            </p:sp>
          </p:grpSp>
        </p:grpSp>
      </p:grpSp>
      <p:sp>
        <p:nvSpPr>
          <p:cNvPr id="371" name="Ovaal 370">
            <a:extLst>
              <a:ext uri="{FF2B5EF4-FFF2-40B4-BE49-F238E27FC236}">
                <a16:creationId xmlns:a16="http://schemas.microsoft.com/office/drawing/2014/main" id="{7C4DF57D-D600-4F9D-8581-1D7401994F17}"/>
              </a:ext>
            </a:extLst>
          </p:cNvPr>
          <p:cNvSpPr/>
          <p:nvPr/>
        </p:nvSpPr>
        <p:spPr>
          <a:xfrm rot="549169">
            <a:off x="7456032" y="3167503"/>
            <a:ext cx="935560" cy="201387"/>
          </a:xfrm>
          <a:custGeom>
            <a:avLst/>
            <a:gdLst>
              <a:gd name="connsiteX0" fmla="*/ 0 w 935560"/>
              <a:gd name="connsiteY0" fmla="*/ 100694 h 201387"/>
              <a:gd name="connsiteX1" fmla="*/ 467780 w 935560"/>
              <a:gd name="connsiteY1" fmla="*/ 0 h 201387"/>
              <a:gd name="connsiteX2" fmla="*/ 935560 w 935560"/>
              <a:gd name="connsiteY2" fmla="*/ 100694 h 201387"/>
              <a:gd name="connsiteX3" fmla="*/ 467780 w 935560"/>
              <a:gd name="connsiteY3" fmla="*/ 201388 h 201387"/>
              <a:gd name="connsiteX4" fmla="*/ 0 w 935560"/>
              <a:gd name="connsiteY4" fmla="*/ 100694 h 2013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5560" h="201387" fill="none" extrusionOk="0">
                <a:moveTo>
                  <a:pt x="0" y="100694"/>
                </a:moveTo>
                <a:cubicBezTo>
                  <a:pt x="15988" y="46996"/>
                  <a:pt x="233656" y="-16094"/>
                  <a:pt x="467780" y="0"/>
                </a:cubicBezTo>
                <a:cubicBezTo>
                  <a:pt x="726648" y="-8405"/>
                  <a:pt x="934358" y="45513"/>
                  <a:pt x="935560" y="100694"/>
                </a:cubicBezTo>
                <a:cubicBezTo>
                  <a:pt x="948840" y="168178"/>
                  <a:pt x="764259" y="220493"/>
                  <a:pt x="467780" y="201388"/>
                </a:cubicBezTo>
                <a:cubicBezTo>
                  <a:pt x="216596" y="208049"/>
                  <a:pt x="-3416" y="160229"/>
                  <a:pt x="0" y="100694"/>
                </a:cubicBezTo>
                <a:close/>
              </a:path>
              <a:path w="935560" h="201387" stroke="0" extrusionOk="0">
                <a:moveTo>
                  <a:pt x="0" y="100694"/>
                </a:moveTo>
                <a:cubicBezTo>
                  <a:pt x="40622" y="61544"/>
                  <a:pt x="235923" y="3636"/>
                  <a:pt x="467780" y="0"/>
                </a:cubicBezTo>
                <a:cubicBezTo>
                  <a:pt x="729618" y="2200"/>
                  <a:pt x="936557" y="50657"/>
                  <a:pt x="935560" y="100694"/>
                </a:cubicBezTo>
                <a:cubicBezTo>
                  <a:pt x="944388" y="142629"/>
                  <a:pt x="721254" y="185256"/>
                  <a:pt x="467780" y="201388"/>
                </a:cubicBezTo>
                <a:cubicBezTo>
                  <a:pt x="209716" y="199900"/>
                  <a:pt x="4484" y="148737"/>
                  <a:pt x="0" y="100694"/>
                </a:cubicBezTo>
                <a:close/>
              </a:path>
            </a:pathLst>
          </a:custGeom>
          <a:solidFill>
            <a:srgbClr val="FFC000">
              <a:alpha val="50196"/>
            </a:srgbClr>
          </a:solidFill>
          <a:ln w="19050">
            <a:solidFill>
              <a:srgbClr val="A27402"/>
            </a:solidFill>
            <a:prstDash val="lgDash"/>
            <a:extLst>
              <a:ext uri="{C807C97D-BFC1-408E-A445-0C87EB9F89A2}">
                <ask:lineSketchStyleProps xmlns:ask="http://schemas.microsoft.com/office/drawing/2018/sketchyshapes" sd="891594740">
                  <a:prstGeom prst="ellipse">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72" name="Ovaal 371">
            <a:extLst>
              <a:ext uri="{FF2B5EF4-FFF2-40B4-BE49-F238E27FC236}">
                <a16:creationId xmlns:a16="http://schemas.microsoft.com/office/drawing/2014/main" id="{A250FC1F-AF89-4D89-A38D-617E22C9BCD3}"/>
              </a:ext>
            </a:extLst>
          </p:cNvPr>
          <p:cNvSpPr/>
          <p:nvPr/>
        </p:nvSpPr>
        <p:spPr>
          <a:xfrm rot="549169">
            <a:off x="7372174" y="3475399"/>
            <a:ext cx="970202" cy="194279"/>
          </a:xfrm>
          <a:custGeom>
            <a:avLst/>
            <a:gdLst>
              <a:gd name="connsiteX0" fmla="*/ 0 w 970202"/>
              <a:gd name="connsiteY0" fmla="*/ 97140 h 194279"/>
              <a:gd name="connsiteX1" fmla="*/ 485101 w 970202"/>
              <a:gd name="connsiteY1" fmla="*/ 0 h 194279"/>
              <a:gd name="connsiteX2" fmla="*/ 970202 w 970202"/>
              <a:gd name="connsiteY2" fmla="*/ 97140 h 194279"/>
              <a:gd name="connsiteX3" fmla="*/ 485101 w 970202"/>
              <a:gd name="connsiteY3" fmla="*/ 194280 h 194279"/>
              <a:gd name="connsiteX4" fmla="*/ 0 w 970202"/>
              <a:gd name="connsiteY4" fmla="*/ 97140 h 1942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0202" h="194279" fill="none" extrusionOk="0">
                <a:moveTo>
                  <a:pt x="0" y="97140"/>
                </a:moveTo>
                <a:cubicBezTo>
                  <a:pt x="30766" y="47175"/>
                  <a:pt x="228862" y="-7756"/>
                  <a:pt x="485101" y="0"/>
                </a:cubicBezTo>
                <a:cubicBezTo>
                  <a:pt x="753774" y="-12279"/>
                  <a:pt x="966494" y="44821"/>
                  <a:pt x="970202" y="97140"/>
                </a:cubicBezTo>
                <a:cubicBezTo>
                  <a:pt x="993615" y="171720"/>
                  <a:pt x="800948" y="218296"/>
                  <a:pt x="485101" y="194280"/>
                </a:cubicBezTo>
                <a:cubicBezTo>
                  <a:pt x="220700" y="197546"/>
                  <a:pt x="-8406" y="160441"/>
                  <a:pt x="0" y="97140"/>
                </a:cubicBezTo>
                <a:close/>
              </a:path>
              <a:path w="970202" h="194279" stroke="0" extrusionOk="0">
                <a:moveTo>
                  <a:pt x="0" y="97140"/>
                </a:moveTo>
                <a:cubicBezTo>
                  <a:pt x="38564" y="59119"/>
                  <a:pt x="226765" y="1315"/>
                  <a:pt x="485101" y="0"/>
                </a:cubicBezTo>
                <a:cubicBezTo>
                  <a:pt x="755501" y="1567"/>
                  <a:pt x="972341" y="55452"/>
                  <a:pt x="970202" y="97140"/>
                </a:cubicBezTo>
                <a:cubicBezTo>
                  <a:pt x="999364" y="105606"/>
                  <a:pt x="748135" y="178128"/>
                  <a:pt x="485101" y="194280"/>
                </a:cubicBezTo>
                <a:cubicBezTo>
                  <a:pt x="218416" y="187839"/>
                  <a:pt x="1190" y="148779"/>
                  <a:pt x="0" y="97140"/>
                </a:cubicBezTo>
                <a:close/>
              </a:path>
            </a:pathLst>
          </a:custGeom>
          <a:solidFill>
            <a:srgbClr val="FFC000">
              <a:alpha val="50196"/>
            </a:srgbClr>
          </a:solidFill>
          <a:ln w="19050">
            <a:solidFill>
              <a:srgbClr val="A27402"/>
            </a:solidFill>
            <a:prstDash val="lgDash"/>
            <a:extLst>
              <a:ext uri="{C807C97D-BFC1-408E-A445-0C87EB9F89A2}">
                <ask:lineSketchStyleProps xmlns:ask="http://schemas.microsoft.com/office/drawing/2018/sketchyshapes" sd="891594740">
                  <a:prstGeom prst="ellipse">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grpSp>
        <p:nvGrpSpPr>
          <p:cNvPr id="373" name="Groep 372">
            <a:extLst>
              <a:ext uri="{FF2B5EF4-FFF2-40B4-BE49-F238E27FC236}">
                <a16:creationId xmlns:a16="http://schemas.microsoft.com/office/drawing/2014/main" id="{2325996C-C30B-403A-AE7C-412BE6C5F7FF}"/>
              </a:ext>
            </a:extLst>
          </p:cNvPr>
          <p:cNvGrpSpPr/>
          <p:nvPr/>
        </p:nvGrpSpPr>
        <p:grpSpPr>
          <a:xfrm>
            <a:off x="7665015" y="3277470"/>
            <a:ext cx="288000" cy="288000"/>
            <a:chOff x="7340551" y="3157187"/>
            <a:chExt cx="329184" cy="329184"/>
          </a:xfrm>
        </p:grpSpPr>
        <p:sp>
          <p:nvSpPr>
            <p:cNvPr id="374" name="Oval 79">
              <a:extLst>
                <a:ext uri="{FF2B5EF4-FFF2-40B4-BE49-F238E27FC236}">
                  <a16:creationId xmlns:a16="http://schemas.microsoft.com/office/drawing/2014/main" id="{44702880-B032-4DED-936A-B12DC5534BF5}"/>
                </a:ext>
              </a:extLst>
            </p:cNvPr>
            <p:cNvSpPr/>
            <p:nvPr/>
          </p:nvSpPr>
          <p:spPr>
            <a:xfrm>
              <a:off x="7340551" y="3157187"/>
              <a:ext cx="329184" cy="329184"/>
            </a:xfrm>
            <a:prstGeom prst="ellipse">
              <a:avLst/>
            </a:prstGeom>
            <a:solidFill>
              <a:srgbClr val="CD7C0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a:p>
              <a:pPr algn="ctr"/>
              <a:endParaRPr lang="en-US"/>
            </a:p>
          </p:txBody>
        </p:sp>
        <p:sp>
          <p:nvSpPr>
            <p:cNvPr id="375" name="Random" descr="{&quot;Key&quot;:&quot;POWER_USER_SHAPE_ICON&quot;,&quot;Value&quot;:&quot;POWER_USER_SHAPE_ICON_STYLE_1&quot;}">
              <a:extLst>
                <a:ext uri="{FF2B5EF4-FFF2-40B4-BE49-F238E27FC236}">
                  <a16:creationId xmlns:a16="http://schemas.microsoft.com/office/drawing/2014/main" id="{C7439C34-09BB-4B9D-8083-C2B4B4C65B96}"/>
                </a:ext>
              </a:extLst>
            </p:cNvPr>
            <p:cNvSpPr>
              <a:spLocks noChangeAspect="1"/>
            </p:cNvSpPr>
            <p:nvPr/>
          </p:nvSpPr>
          <p:spPr>
            <a:xfrm>
              <a:off x="7390928" y="3254426"/>
              <a:ext cx="228429" cy="134706"/>
            </a:xfrm>
            <a:custGeom>
              <a:avLst/>
              <a:gdLst>
                <a:gd name="connsiteX0" fmla="*/ 1138479 w 1584175"/>
                <a:gd name="connsiteY0" fmla="*/ 0 h 934194"/>
                <a:gd name="connsiteX1" fmla="*/ 1584175 w 1584175"/>
                <a:gd name="connsiteY1" fmla="*/ 204475 h 934194"/>
                <a:gd name="connsiteX2" fmla="*/ 1138479 w 1584175"/>
                <a:gd name="connsiteY2" fmla="*/ 408948 h 934194"/>
                <a:gd name="connsiteX3" fmla="*/ 1138479 w 1584175"/>
                <a:gd name="connsiteY3" fmla="*/ 294734 h 934194"/>
                <a:gd name="connsiteX4" fmla="*/ 937155 w 1584175"/>
                <a:gd name="connsiteY4" fmla="*/ 294734 h 934194"/>
                <a:gd name="connsiteX5" fmla="*/ 742903 w 1584175"/>
                <a:gd name="connsiteY5" fmla="*/ 487174 h 934194"/>
                <a:gd name="connsiteX6" fmla="*/ 916000 w 1584175"/>
                <a:gd name="connsiteY6" fmla="*/ 643289 h 934194"/>
                <a:gd name="connsiteX7" fmla="*/ 1138479 w 1584175"/>
                <a:gd name="connsiteY7" fmla="*/ 643289 h 934194"/>
                <a:gd name="connsiteX8" fmla="*/ 1138479 w 1584175"/>
                <a:gd name="connsiteY8" fmla="*/ 525247 h 934194"/>
                <a:gd name="connsiteX9" fmla="*/ 1584175 w 1584175"/>
                <a:gd name="connsiteY9" fmla="*/ 729721 h 934194"/>
                <a:gd name="connsiteX10" fmla="*/ 1138479 w 1584175"/>
                <a:gd name="connsiteY10" fmla="*/ 934194 h 934194"/>
                <a:gd name="connsiteX11" fmla="*/ 1138479 w 1584175"/>
                <a:gd name="connsiteY11" fmla="*/ 856252 h 934194"/>
                <a:gd name="connsiteX12" fmla="*/ 895160 w 1584175"/>
                <a:gd name="connsiteY12" fmla="*/ 856252 h 934194"/>
                <a:gd name="connsiteX13" fmla="*/ 895160 w 1584175"/>
                <a:gd name="connsiteY13" fmla="*/ 856250 h 934194"/>
                <a:gd name="connsiteX14" fmla="*/ 858731 w 1584175"/>
                <a:gd name="connsiteY14" fmla="*/ 856250 h 934194"/>
                <a:gd name="connsiteX15" fmla="*/ 603086 w 1584175"/>
                <a:gd name="connsiteY15" fmla="*/ 625686 h 934194"/>
                <a:gd name="connsiteX16" fmla="*/ 370348 w 1584175"/>
                <a:gd name="connsiteY16" fmla="*/ 856251 h 934194"/>
                <a:gd name="connsiteX17" fmla="*/ 252000 w 1584175"/>
                <a:gd name="connsiteY17" fmla="*/ 856251 h 934194"/>
                <a:gd name="connsiteX18" fmla="*/ 252000 w 1584175"/>
                <a:gd name="connsiteY18" fmla="*/ 856252 h 934194"/>
                <a:gd name="connsiteX19" fmla="*/ 0 w 1584175"/>
                <a:gd name="connsiteY19" fmla="*/ 856252 h 934194"/>
                <a:gd name="connsiteX20" fmla="*/ 0 w 1584175"/>
                <a:gd name="connsiteY20" fmla="*/ 856251 h 934194"/>
                <a:gd name="connsiteX21" fmla="*/ 0 w 1584175"/>
                <a:gd name="connsiteY21" fmla="*/ 643289 h 934194"/>
                <a:gd name="connsiteX22" fmla="*/ 214968 w 1584175"/>
                <a:gd name="connsiteY22" fmla="*/ 643289 h 934194"/>
                <a:gd name="connsiteX23" fmla="*/ 409226 w 1584175"/>
                <a:gd name="connsiteY23" fmla="*/ 450844 h 934194"/>
                <a:gd name="connsiteX24" fmla="*/ 236134 w 1584175"/>
                <a:gd name="connsiteY24" fmla="*/ 294734 h 934194"/>
                <a:gd name="connsiteX25" fmla="*/ 0 w 1584175"/>
                <a:gd name="connsiteY25" fmla="*/ 294734 h 934194"/>
                <a:gd name="connsiteX26" fmla="*/ 0 w 1584175"/>
                <a:gd name="connsiteY26" fmla="*/ 81771 h 934194"/>
                <a:gd name="connsiteX27" fmla="*/ 5 w 1584175"/>
                <a:gd name="connsiteY27" fmla="*/ 81771 h 934194"/>
                <a:gd name="connsiteX28" fmla="*/ 0 w 1584175"/>
                <a:gd name="connsiteY28" fmla="*/ 81767 h 934194"/>
                <a:gd name="connsiteX29" fmla="*/ 293396 w 1584175"/>
                <a:gd name="connsiteY29" fmla="*/ 81767 h 934194"/>
                <a:gd name="connsiteX30" fmla="*/ 549043 w 1584175"/>
                <a:gd name="connsiteY30" fmla="*/ 312333 h 934194"/>
                <a:gd name="connsiteX31" fmla="*/ 781779 w 1584175"/>
                <a:gd name="connsiteY31" fmla="*/ 81768 h 934194"/>
                <a:gd name="connsiteX32" fmla="*/ 1138479 w 1584175"/>
                <a:gd name="connsiteY32" fmla="*/ 81768 h 9341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1584175" h="934194">
                  <a:moveTo>
                    <a:pt x="1138479" y="0"/>
                  </a:moveTo>
                  <a:lnTo>
                    <a:pt x="1584175" y="204475"/>
                  </a:lnTo>
                  <a:lnTo>
                    <a:pt x="1138479" y="408948"/>
                  </a:lnTo>
                  <a:lnTo>
                    <a:pt x="1138479" y="294734"/>
                  </a:lnTo>
                  <a:lnTo>
                    <a:pt x="937155" y="294734"/>
                  </a:lnTo>
                  <a:lnTo>
                    <a:pt x="742903" y="487174"/>
                  </a:lnTo>
                  <a:lnTo>
                    <a:pt x="916000" y="643289"/>
                  </a:lnTo>
                  <a:lnTo>
                    <a:pt x="1138479" y="643289"/>
                  </a:lnTo>
                  <a:lnTo>
                    <a:pt x="1138479" y="525247"/>
                  </a:lnTo>
                  <a:lnTo>
                    <a:pt x="1584175" y="729721"/>
                  </a:lnTo>
                  <a:lnTo>
                    <a:pt x="1138479" y="934194"/>
                  </a:lnTo>
                  <a:lnTo>
                    <a:pt x="1138479" y="856252"/>
                  </a:lnTo>
                  <a:lnTo>
                    <a:pt x="895160" y="856252"/>
                  </a:lnTo>
                  <a:lnTo>
                    <a:pt x="895160" y="856250"/>
                  </a:lnTo>
                  <a:lnTo>
                    <a:pt x="858731" y="856250"/>
                  </a:lnTo>
                  <a:lnTo>
                    <a:pt x="603086" y="625686"/>
                  </a:lnTo>
                  <a:lnTo>
                    <a:pt x="370348" y="856251"/>
                  </a:lnTo>
                  <a:lnTo>
                    <a:pt x="252000" y="856251"/>
                  </a:lnTo>
                  <a:lnTo>
                    <a:pt x="252000" y="856252"/>
                  </a:lnTo>
                  <a:lnTo>
                    <a:pt x="0" y="856252"/>
                  </a:lnTo>
                  <a:lnTo>
                    <a:pt x="0" y="856251"/>
                  </a:lnTo>
                  <a:lnTo>
                    <a:pt x="0" y="643289"/>
                  </a:lnTo>
                  <a:lnTo>
                    <a:pt x="214968" y="643289"/>
                  </a:lnTo>
                  <a:lnTo>
                    <a:pt x="409226" y="450844"/>
                  </a:lnTo>
                  <a:lnTo>
                    <a:pt x="236134" y="294734"/>
                  </a:lnTo>
                  <a:lnTo>
                    <a:pt x="0" y="294734"/>
                  </a:lnTo>
                  <a:lnTo>
                    <a:pt x="0" y="81771"/>
                  </a:lnTo>
                  <a:lnTo>
                    <a:pt x="5" y="81771"/>
                  </a:lnTo>
                  <a:lnTo>
                    <a:pt x="0" y="81767"/>
                  </a:lnTo>
                  <a:lnTo>
                    <a:pt x="293396" y="81767"/>
                  </a:lnTo>
                  <a:lnTo>
                    <a:pt x="549043" y="312333"/>
                  </a:lnTo>
                  <a:lnTo>
                    <a:pt x="781779" y="81768"/>
                  </a:lnTo>
                  <a:lnTo>
                    <a:pt x="1138479" y="81768"/>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sp>
        <p:nvSpPr>
          <p:cNvPr id="96" name="Tekstvak 95">
            <a:extLst>
              <a:ext uri="{FF2B5EF4-FFF2-40B4-BE49-F238E27FC236}">
                <a16:creationId xmlns:a16="http://schemas.microsoft.com/office/drawing/2014/main" id="{65DB3C7B-0589-4624-B5A4-D14DCE0D341B}"/>
              </a:ext>
            </a:extLst>
          </p:cNvPr>
          <p:cNvSpPr txBox="1"/>
          <p:nvPr/>
        </p:nvSpPr>
        <p:spPr>
          <a:xfrm>
            <a:off x="356239" y="1085727"/>
            <a:ext cx="5616455" cy="1708160"/>
          </a:xfrm>
          <a:prstGeom prst="rect">
            <a:avLst/>
          </a:prstGeom>
          <a:noFill/>
        </p:spPr>
        <p:txBody>
          <a:bodyPr wrap="square">
            <a:spAutoFit/>
          </a:bodyPr>
          <a:lstStyle/>
          <a:p>
            <a:r>
              <a:rPr lang="nl-NL" sz="1500" dirty="0">
                <a:solidFill>
                  <a:srgbClr val="000000"/>
                </a:solidFill>
                <a:latin typeface="+mj-lt"/>
              </a:rPr>
              <a:t>De passage heeft geen duidelijk profiel en wordt niet automatisch belopen. De noodzaak is om trekkracht achterin de passage te versterken. Op deze manier krijgt de passage (en het hele centrum) een stevige impuls en meer trekkracht. De zwakke Oost-West as wordt aangepakt. Daarnaast kan dit voorzien in de behoefte van de consument (missen bijvoorbeeld een Action). </a:t>
            </a:r>
            <a:r>
              <a:rPr lang="nl-NL" sz="1500" dirty="0">
                <a:solidFill>
                  <a:srgbClr val="A27402"/>
                </a:solidFill>
                <a:latin typeface="+mj-lt"/>
              </a:rPr>
              <a:t> </a:t>
            </a:r>
          </a:p>
        </p:txBody>
      </p:sp>
      <p:sp>
        <p:nvSpPr>
          <p:cNvPr id="105" name="Tekstvak 188">
            <a:extLst>
              <a:ext uri="{FF2B5EF4-FFF2-40B4-BE49-F238E27FC236}">
                <a16:creationId xmlns:a16="http://schemas.microsoft.com/office/drawing/2014/main" id="{8307569B-D3A7-4C8B-82F3-A854AF324BAD}"/>
              </a:ext>
            </a:extLst>
          </p:cNvPr>
          <p:cNvSpPr txBox="1"/>
          <p:nvPr/>
        </p:nvSpPr>
        <p:spPr>
          <a:xfrm>
            <a:off x="422331" y="293083"/>
            <a:ext cx="5616455" cy="338554"/>
          </a:xfrm>
          <a:custGeom>
            <a:avLst/>
            <a:gdLst>
              <a:gd name="connsiteX0" fmla="*/ 0 w 5616455"/>
              <a:gd name="connsiteY0" fmla="*/ 0 h 338554"/>
              <a:gd name="connsiteX1" fmla="*/ 455557 w 5616455"/>
              <a:gd name="connsiteY1" fmla="*/ 0 h 338554"/>
              <a:gd name="connsiteX2" fmla="*/ 911114 w 5616455"/>
              <a:gd name="connsiteY2" fmla="*/ 0 h 338554"/>
              <a:gd name="connsiteX3" fmla="*/ 1366671 w 5616455"/>
              <a:gd name="connsiteY3" fmla="*/ 0 h 338554"/>
              <a:gd name="connsiteX4" fmla="*/ 2046886 w 5616455"/>
              <a:gd name="connsiteY4" fmla="*/ 0 h 338554"/>
              <a:gd name="connsiteX5" fmla="*/ 2783265 w 5616455"/>
              <a:gd name="connsiteY5" fmla="*/ 0 h 338554"/>
              <a:gd name="connsiteX6" fmla="*/ 3407316 w 5616455"/>
              <a:gd name="connsiteY6" fmla="*/ 0 h 338554"/>
              <a:gd name="connsiteX7" fmla="*/ 3862873 w 5616455"/>
              <a:gd name="connsiteY7" fmla="*/ 0 h 338554"/>
              <a:gd name="connsiteX8" fmla="*/ 4543088 w 5616455"/>
              <a:gd name="connsiteY8" fmla="*/ 0 h 338554"/>
              <a:gd name="connsiteX9" fmla="*/ 5616455 w 5616455"/>
              <a:gd name="connsiteY9" fmla="*/ 0 h 338554"/>
              <a:gd name="connsiteX10" fmla="*/ 5616455 w 5616455"/>
              <a:gd name="connsiteY10" fmla="*/ 338554 h 338554"/>
              <a:gd name="connsiteX11" fmla="*/ 5160898 w 5616455"/>
              <a:gd name="connsiteY11" fmla="*/ 338554 h 338554"/>
              <a:gd name="connsiteX12" fmla="*/ 4424518 w 5616455"/>
              <a:gd name="connsiteY12" fmla="*/ 338554 h 338554"/>
              <a:gd name="connsiteX13" fmla="*/ 3968962 w 5616455"/>
              <a:gd name="connsiteY13" fmla="*/ 338554 h 338554"/>
              <a:gd name="connsiteX14" fmla="*/ 3401076 w 5616455"/>
              <a:gd name="connsiteY14" fmla="*/ 338554 h 338554"/>
              <a:gd name="connsiteX15" fmla="*/ 2720860 w 5616455"/>
              <a:gd name="connsiteY15" fmla="*/ 338554 h 338554"/>
              <a:gd name="connsiteX16" fmla="*/ 2265304 w 5616455"/>
              <a:gd name="connsiteY16" fmla="*/ 338554 h 338554"/>
              <a:gd name="connsiteX17" fmla="*/ 1528924 w 5616455"/>
              <a:gd name="connsiteY17" fmla="*/ 338554 h 338554"/>
              <a:gd name="connsiteX18" fmla="*/ 904873 w 5616455"/>
              <a:gd name="connsiteY18" fmla="*/ 338554 h 338554"/>
              <a:gd name="connsiteX19" fmla="*/ 0 w 5616455"/>
              <a:gd name="connsiteY19" fmla="*/ 338554 h 338554"/>
              <a:gd name="connsiteX20" fmla="*/ 0 w 5616455"/>
              <a:gd name="connsiteY20" fmla="*/ 0 h 3385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5616455" h="338554" fill="none" extrusionOk="0">
                <a:moveTo>
                  <a:pt x="0" y="0"/>
                </a:moveTo>
                <a:cubicBezTo>
                  <a:pt x="113200" y="-11623"/>
                  <a:pt x="312290" y="-4716"/>
                  <a:pt x="455557" y="0"/>
                </a:cubicBezTo>
                <a:cubicBezTo>
                  <a:pt x="598824" y="4716"/>
                  <a:pt x="752234" y="-16708"/>
                  <a:pt x="911114" y="0"/>
                </a:cubicBezTo>
                <a:cubicBezTo>
                  <a:pt x="1069994" y="16708"/>
                  <a:pt x="1170282" y="-5018"/>
                  <a:pt x="1366671" y="0"/>
                </a:cubicBezTo>
                <a:cubicBezTo>
                  <a:pt x="1563060" y="5018"/>
                  <a:pt x="1748533" y="-17622"/>
                  <a:pt x="2046886" y="0"/>
                </a:cubicBezTo>
                <a:cubicBezTo>
                  <a:pt x="2345240" y="17622"/>
                  <a:pt x="2533018" y="6852"/>
                  <a:pt x="2783265" y="0"/>
                </a:cubicBezTo>
                <a:cubicBezTo>
                  <a:pt x="3033512" y="-6852"/>
                  <a:pt x="3111017" y="-16879"/>
                  <a:pt x="3407316" y="0"/>
                </a:cubicBezTo>
                <a:cubicBezTo>
                  <a:pt x="3703615" y="16879"/>
                  <a:pt x="3652536" y="20529"/>
                  <a:pt x="3862873" y="0"/>
                </a:cubicBezTo>
                <a:cubicBezTo>
                  <a:pt x="4073210" y="-20529"/>
                  <a:pt x="4262318" y="28035"/>
                  <a:pt x="4543088" y="0"/>
                </a:cubicBezTo>
                <a:cubicBezTo>
                  <a:pt x="4823858" y="-28035"/>
                  <a:pt x="5108479" y="43343"/>
                  <a:pt x="5616455" y="0"/>
                </a:cubicBezTo>
                <a:cubicBezTo>
                  <a:pt x="5627139" y="166770"/>
                  <a:pt x="5631500" y="263256"/>
                  <a:pt x="5616455" y="338554"/>
                </a:cubicBezTo>
                <a:cubicBezTo>
                  <a:pt x="5477970" y="350901"/>
                  <a:pt x="5288808" y="356088"/>
                  <a:pt x="5160898" y="338554"/>
                </a:cubicBezTo>
                <a:cubicBezTo>
                  <a:pt x="5032988" y="321020"/>
                  <a:pt x="4580637" y="323802"/>
                  <a:pt x="4424518" y="338554"/>
                </a:cubicBezTo>
                <a:cubicBezTo>
                  <a:pt x="4268399" y="353306"/>
                  <a:pt x="4159930" y="320518"/>
                  <a:pt x="3968962" y="338554"/>
                </a:cubicBezTo>
                <a:cubicBezTo>
                  <a:pt x="3777994" y="356590"/>
                  <a:pt x="3526896" y="338358"/>
                  <a:pt x="3401076" y="338554"/>
                </a:cubicBezTo>
                <a:cubicBezTo>
                  <a:pt x="3275256" y="338750"/>
                  <a:pt x="3039096" y="307401"/>
                  <a:pt x="2720860" y="338554"/>
                </a:cubicBezTo>
                <a:cubicBezTo>
                  <a:pt x="2402624" y="369707"/>
                  <a:pt x="2457563" y="325882"/>
                  <a:pt x="2265304" y="338554"/>
                </a:cubicBezTo>
                <a:cubicBezTo>
                  <a:pt x="2073045" y="351226"/>
                  <a:pt x="1698259" y="355666"/>
                  <a:pt x="1528924" y="338554"/>
                </a:cubicBezTo>
                <a:cubicBezTo>
                  <a:pt x="1359589" y="321442"/>
                  <a:pt x="1198228" y="363730"/>
                  <a:pt x="904873" y="338554"/>
                </a:cubicBezTo>
                <a:cubicBezTo>
                  <a:pt x="611518" y="313378"/>
                  <a:pt x="315137" y="368741"/>
                  <a:pt x="0" y="338554"/>
                </a:cubicBezTo>
                <a:cubicBezTo>
                  <a:pt x="-5093" y="226344"/>
                  <a:pt x="-6930" y="85612"/>
                  <a:pt x="0" y="0"/>
                </a:cubicBezTo>
                <a:close/>
              </a:path>
              <a:path w="5616455" h="338554" stroke="0" extrusionOk="0">
                <a:moveTo>
                  <a:pt x="0" y="0"/>
                </a:moveTo>
                <a:cubicBezTo>
                  <a:pt x="137562" y="-15735"/>
                  <a:pt x="296279" y="12051"/>
                  <a:pt x="511721" y="0"/>
                </a:cubicBezTo>
                <a:cubicBezTo>
                  <a:pt x="727163" y="-12051"/>
                  <a:pt x="832438" y="-6928"/>
                  <a:pt x="1135772" y="0"/>
                </a:cubicBezTo>
                <a:cubicBezTo>
                  <a:pt x="1439106" y="6928"/>
                  <a:pt x="1394177" y="12991"/>
                  <a:pt x="1591329" y="0"/>
                </a:cubicBezTo>
                <a:cubicBezTo>
                  <a:pt x="1788481" y="-12991"/>
                  <a:pt x="1994485" y="-18791"/>
                  <a:pt x="2271544" y="0"/>
                </a:cubicBezTo>
                <a:cubicBezTo>
                  <a:pt x="2548603" y="18791"/>
                  <a:pt x="2520903" y="-15347"/>
                  <a:pt x="2727101" y="0"/>
                </a:cubicBezTo>
                <a:cubicBezTo>
                  <a:pt x="2933299" y="15347"/>
                  <a:pt x="3169345" y="-13544"/>
                  <a:pt x="3294987" y="0"/>
                </a:cubicBezTo>
                <a:cubicBezTo>
                  <a:pt x="3420629" y="13544"/>
                  <a:pt x="3756492" y="-20046"/>
                  <a:pt x="4031367" y="0"/>
                </a:cubicBezTo>
                <a:cubicBezTo>
                  <a:pt x="4306242" y="20046"/>
                  <a:pt x="4461056" y="1903"/>
                  <a:pt x="4711582" y="0"/>
                </a:cubicBezTo>
                <a:cubicBezTo>
                  <a:pt x="4962109" y="-1903"/>
                  <a:pt x="5350009" y="-43196"/>
                  <a:pt x="5616455" y="0"/>
                </a:cubicBezTo>
                <a:cubicBezTo>
                  <a:pt x="5604513" y="131217"/>
                  <a:pt x="5600744" y="256242"/>
                  <a:pt x="5616455" y="338554"/>
                </a:cubicBezTo>
                <a:cubicBezTo>
                  <a:pt x="5485186" y="364519"/>
                  <a:pt x="5240539" y="366877"/>
                  <a:pt x="5048569" y="338554"/>
                </a:cubicBezTo>
                <a:cubicBezTo>
                  <a:pt x="4856599" y="310231"/>
                  <a:pt x="4611689" y="363996"/>
                  <a:pt x="4368354" y="338554"/>
                </a:cubicBezTo>
                <a:cubicBezTo>
                  <a:pt x="4125020" y="313112"/>
                  <a:pt x="3974105" y="344157"/>
                  <a:pt x="3631974" y="338554"/>
                </a:cubicBezTo>
                <a:cubicBezTo>
                  <a:pt x="3289843" y="332951"/>
                  <a:pt x="3306623" y="327002"/>
                  <a:pt x="3064088" y="338554"/>
                </a:cubicBezTo>
                <a:cubicBezTo>
                  <a:pt x="2821553" y="350106"/>
                  <a:pt x="2528278" y="363698"/>
                  <a:pt x="2383873" y="338554"/>
                </a:cubicBezTo>
                <a:cubicBezTo>
                  <a:pt x="2239468" y="313410"/>
                  <a:pt x="1918027" y="340231"/>
                  <a:pt x="1759823" y="338554"/>
                </a:cubicBezTo>
                <a:cubicBezTo>
                  <a:pt x="1601619" y="336878"/>
                  <a:pt x="1474760" y="331905"/>
                  <a:pt x="1304266" y="338554"/>
                </a:cubicBezTo>
                <a:cubicBezTo>
                  <a:pt x="1133772" y="345203"/>
                  <a:pt x="996421" y="320941"/>
                  <a:pt x="848709" y="338554"/>
                </a:cubicBezTo>
                <a:cubicBezTo>
                  <a:pt x="700997" y="356167"/>
                  <a:pt x="308719" y="349375"/>
                  <a:pt x="0" y="338554"/>
                </a:cubicBezTo>
                <a:cubicBezTo>
                  <a:pt x="-10105" y="225520"/>
                  <a:pt x="4390" y="117182"/>
                  <a:pt x="0" y="0"/>
                </a:cubicBezTo>
                <a:close/>
              </a:path>
            </a:pathLst>
          </a:custGeom>
          <a:solidFill>
            <a:srgbClr val="F6BD65"/>
          </a:solidFill>
          <a:ln>
            <a:solidFill>
              <a:srgbClr val="774803"/>
            </a:solidFill>
            <a:extLst>
              <a:ext uri="{C807C97D-BFC1-408E-A445-0C87EB9F89A2}">
                <ask:lineSketchStyleProps xmlns:ask="http://schemas.microsoft.com/office/drawing/2018/sketchyshapes" sd="927657231">
                  <a:prstGeom prst="rect">
                    <a:avLst/>
                  </a:prstGeom>
                  <ask:type>
                    <ask:lineSketchFreehand/>
                  </ask:type>
                </ask:lineSketchStyleProps>
              </a:ext>
            </a:extLst>
          </a:ln>
        </p:spPr>
        <p:txBody>
          <a:bodyPr wrap="square" lIns="91440" tIns="45720" rIns="91440" bIns="45720" rtlCol="0" anchor="t">
            <a:spAutoFit/>
          </a:bodyPr>
          <a:lstStyle/>
          <a:p>
            <a:r>
              <a:rPr lang="nl-NL" sz="1600" b="1">
                <a:solidFill>
                  <a:srgbClr val="A27402"/>
                </a:solidFill>
                <a:latin typeface="+mj-lt"/>
              </a:rPr>
              <a:t>6. Passage – </a:t>
            </a:r>
            <a:r>
              <a:rPr lang="nl-NL" sz="1600">
                <a:solidFill>
                  <a:srgbClr val="A27402"/>
                </a:solidFill>
                <a:latin typeface="+mj-lt"/>
              </a:rPr>
              <a:t>ontwikkellocatie  </a:t>
            </a:r>
          </a:p>
        </p:txBody>
      </p:sp>
      <p:sp>
        <p:nvSpPr>
          <p:cNvPr id="2" name="Tekstvak 1">
            <a:extLst>
              <a:ext uri="{FF2B5EF4-FFF2-40B4-BE49-F238E27FC236}">
                <a16:creationId xmlns:a16="http://schemas.microsoft.com/office/drawing/2014/main" id="{4A0E2775-1277-433D-B265-EFBC46C64185}"/>
              </a:ext>
            </a:extLst>
          </p:cNvPr>
          <p:cNvSpPr txBox="1"/>
          <p:nvPr/>
        </p:nvSpPr>
        <p:spPr>
          <a:xfrm>
            <a:off x="10370609" y="3783408"/>
            <a:ext cx="454303" cy="553998"/>
          </a:xfrm>
          <a:prstGeom prst="rect">
            <a:avLst/>
          </a:prstGeom>
          <a:noFill/>
        </p:spPr>
        <p:txBody>
          <a:bodyPr wrap="square" rtlCol="0">
            <a:spAutoFit/>
          </a:bodyPr>
          <a:lstStyle/>
          <a:p>
            <a:r>
              <a:rPr lang="nl-NL" sz="3000" b="1" dirty="0"/>
              <a:t>?</a:t>
            </a:r>
          </a:p>
        </p:txBody>
      </p:sp>
      <p:sp>
        <p:nvSpPr>
          <p:cNvPr id="8" name="Paginanummer Seinpost">
            <a:extLst>
              <a:ext uri="{FF2B5EF4-FFF2-40B4-BE49-F238E27FC236}">
                <a16:creationId xmlns:a16="http://schemas.microsoft.com/office/drawing/2014/main" id="{DC0494AA-101C-4EC2-93B4-B913D8924D56}"/>
              </a:ext>
            </a:extLst>
          </p:cNvPr>
          <p:cNvSpPr txBox="1">
            <a:spLocks/>
          </p:cNvSpPr>
          <p:nvPr>
            <p:custDataLst>
              <p:tags r:id="rId1"/>
            </p:custDataLst>
          </p:nvPr>
        </p:nvSpPr>
        <p:spPr>
          <a:xfrm>
            <a:off x="11628018" y="252000"/>
            <a:ext cx="381601" cy="244800"/>
          </a:xfrm>
          <a:prstGeom prst="rect">
            <a:avLst/>
          </a:prstGeom>
          <a:noFill/>
        </p:spPr>
        <p:txBody>
          <a:bodyPr vert="horz" lIns="0" tIns="0" rIns="0" bIns="0" rtlCol="0" anchor="t">
            <a:noAutofit/>
          </a:bodyPr>
          <a:lstStyle/>
          <a:p>
            <a:pPr algn="ctr"/>
            <a:r>
              <a:rPr lang="nl-NL" sz="1000" b="1">
                <a:solidFill>
                  <a:srgbClr val="62366E"/>
                </a:solidFill>
                <a:latin typeface="Open Sans" panose="020B0606030504020204" pitchFamily="34" charset="0"/>
              </a:rPr>
              <a:t>20</a:t>
            </a:r>
          </a:p>
        </p:txBody>
      </p:sp>
      <p:pic>
        <p:nvPicPr>
          <p:cNvPr id="10" name="Paginanummer Seinpost">
            <a:extLst>
              <a:ext uri="{FF2B5EF4-FFF2-40B4-BE49-F238E27FC236}">
                <a16:creationId xmlns:a16="http://schemas.microsoft.com/office/drawing/2014/main" id="{1A2FF069-403B-4EE9-8950-3D3F3D1B295F}"/>
              </a:ext>
            </a:extLst>
          </p:cNvPr>
          <p:cNvPicPr>
            <a:picLocks noChangeAspect="1"/>
          </p:cNvPicPr>
          <p:nvPr>
            <p:custDataLst>
              <p:tags r:id="rId2"/>
            </p:custDataLst>
          </p:nvPr>
        </p:nvPicPr>
        <p:blipFill>
          <a:blip r:embed="rId56">
            <a:extLst>
              <a:ext uri="{28A0092B-C50C-407E-A947-70E740481C1C}">
                <a14:useLocalDpi xmlns:a14="http://schemas.microsoft.com/office/drawing/2010/main" val="0"/>
              </a:ext>
            </a:extLst>
          </a:blip>
          <a:stretch>
            <a:fillRect/>
          </a:stretch>
        </p:blipFill>
        <p:spPr>
          <a:xfrm>
            <a:off x="11674818" y="172800"/>
            <a:ext cx="298705" cy="289561"/>
          </a:xfrm>
          <a:prstGeom prst="rect">
            <a:avLst/>
          </a:prstGeom>
        </p:spPr>
      </p:pic>
      <p:sp>
        <p:nvSpPr>
          <p:cNvPr id="11" name="Paginanummer Seinpost">
            <a:extLst>
              <a:ext uri="{FF2B5EF4-FFF2-40B4-BE49-F238E27FC236}">
                <a16:creationId xmlns:a16="http://schemas.microsoft.com/office/drawing/2014/main" id="{22D1F3ED-2B6E-4AB0-B84F-1B8CDCD1FD11}"/>
              </a:ext>
            </a:extLst>
          </p:cNvPr>
          <p:cNvSpPr txBox="1">
            <a:spLocks/>
          </p:cNvSpPr>
          <p:nvPr>
            <p:custDataLst>
              <p:tags r:id="rId3"/>
            </p:custDataLst>
          </p:nvPr>
        </p:nvSpPr>
        <p:spPr>
          <a:xfrm>
            <a:off x="11628018" y="252000"/>
            <a:ext cx="381601" cy="244800"/>
          </a:xfrm>
          <a:prstGeom prst="rect">
            <a:avLst/>
          </a:prstGeom>
          <a:noFill/>
        </p:spPr>
        <p:txBody>
          <a:bodyPr vert="horz" lIns="0" tIns="0" rIns="0" bIns="0" rtlCol="0" anchor="t">
            <a:noAutofit/>
          </a:bodyPr>
          <a:lstStyle/>
          <a:p>
            <a:pPr algn="ctr"/>
            <a:r>
              <a:rPr lang="nl-NL" sz="1000" b="1">
                <a:solidFill>
                  <a:srgbClr val="62366E"/>
                </a:solidFill>
                <a:latin typeface="Open Sans" panose="020B0606030504020204" pitchFamily="34" charset="0"/>
              </a:rPr>
              <a:t>20</a:t>
            </a:r>
          </a:p>
        </p:txBody>
      </p:sp>
    </p:spTree>
    <p:extLst>
      <p:ext uri="{BB962C8B-B14F-4D97-AF65-F5344CB8AC3E}">
        <p14:creationId xmlns:p14="http://schemas.microsoft.com/office/powerpoint/2010/main" val="147218239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2" descr="Groot deel Xenos-winkels wordt Casa | Het Parool">
            <a:extLst>
              <a:ext uri="{FF2B5EF4-FFF2-40B4-BE49-F238E27FC236}">
                <a16:creationId xmlns:a16="http://schemas.microsoft.com/office/drawing/2014/main" id="{CB520731-9052-4F53-A67E-A8CF609E0B25}"/>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2610" r="20899"/>
          <a:stretch/>
        </p:blipFill>
        <p:spPr bwMode="auto">
          <a:xfrm>
            <a:off x="6432653" y="332692"/>
            <a:ext cx="4097602" cy="3026024"/>
          </a:xfrm>
          <a:prstGeom prst="rect">
            <a:avLst/>
          </a:prstGeom>
          <a:noFill/>
          <a:extLst>
            <a:ext uri="{909E8E84-426E-40DD-AFC4-6F175D3DCCD1}">
              <a14:hiddenFill xmlns:a14="http://schemas.microsoft.com/office/drawing/2010/main">
                <a:solidFill>
                  <a:srgbClr val="FFFFFF"/>
                </a:solidFill>
              </a14:hiddenFill>
            </a:ext>
          </a:extLst>
        </p:spPr>
      </p:pic>
      <p:sp>
        <p:nvSpPr>
          <p:cNvPr id="8" name="Tekstvak 7">
            <a:extLst>
              <a:ext uri="{FF2B5EF4-FFF2-40B4-BE49-F238E27FC236}">
                <a16:creationId xmlns:a16="http://schemas.microsoft.com/office/drawing/2014/main" id="{2D04781E-3A63-47C5-9BEE-A7EBE8A64CE9}"/>
              </a:ext>
            </a:extLst>
          </p:cNvPr>
          <p:cNvSpPr txBox="1"/>
          <p:nvPr/>
        </p:nvSpPr>
        <p:spPr>
          <a:xfrm>
            <a:off x="218477" y="174345"/>
            <a:ext cx="5233988" cy="400110"/>
          </a:xfrm>
          <a:prstGeom prst="rect">
            <a:avLst/>
          </a:prstGeom>
          <a:noFill/>
        </p:spPr>
        <p:txBody>
          <a:bodyPr wrap="square">
            <a:spAutoFit/>
          </a:bodyPr>
          <a:lstStyle/>
          <a:p>
            <a:r>
              <a:rPr lang="nl-NL" sz="2000" b="1" i="1"/>
              <a:t>Ontwikkelkans…? </a:t>
            </a:r>
          </a:p>
        </p:txBody>
      </p:sp>
      <p:pic>
        <p:nvPicPr>
          <p:cNvPr id="9" name="Afbeelding 8" descr="Afbeelding met tekst&#10;&#10;Automatisch gegenereerde beschrijving">
            <a:extLst>
              <a:ext uri="{FF2B5EF4-FFF2-40B4-BE49-F238E27FC236}">
                <a16:creationId xmlns:a16="http://schemas.microsoft.com/office/drawing/2014/main" id="{0D7CB96C-C91D-4352-9BE4-27E84853EC84}"/>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333981" y="574455"/>
            <a:ext cx="5118484" cy="3322768"/>
          </a:xfrm>
          <a:prstGeom prst="rect">
            <a:avLst/>
          </a:prstGeom>
        </p:spPr>
      </p:pic>
      <p:sp>
        <p:nvSpPr>
          <p:cNvPr id="6" name="Paginanummer Seinpost">
            <a:extLst>
              <a:ext uri="{FF2B5EF4-FFF2-40B4-BE49-F238E27FC236}">
                <a16:creationId xmlns:a16="http://schemas.microsoft.com/office/drawing/2014/main" id="{1C94E31E-BBBF-47B6-B0A6-B858C66E95FF}"/>
              </a:ext>
            </a:extLst>
          </p:cNvPr>
          <p:cNvSpPr txBox="1">
            <a:spLocks/>
          </p:cNvSpPr>
          <p:nvPr>
            <p:custDataLst>
              <p:tags r:id="rId1"/>
            </p:custDataLst>
          </p:nvPr>
        </p:nvSpPr>
        <p:spPr>
          <a:xfrm>
            <a:off x="11628018" y="252000"/>
            <a:ext cx="381601" cy="244800"/>
          </a:xfrm>
          <a:prstGeom prst="rect">
            <a:avLst/>
          </a:prstGeom>
          <a:noFill/>
        </p:spPr>
        <p:txBody>
          <a:bodyPr vert="horz" lIns="0" tIns="0" rIns="0" bIns="0" rtlCol="0" anchor="t">
            <a:noAutofit/>
          </a:bodyPr>
          <a:lstStyle/>
          <a:p>
            <a:pPr algn="ctr"/>
            <a:r>
              <a:rPr lang="nl-NL" sz="1000" b="1">
                <a:solidFill>
                  <a:srgbClr val="62366E"/>
                </a:solidFill>
                <a:latin typeface="Open Sans" panose="020B0606030504020204" pitchFamily="34" charset="0"/>
              </a:rPr>
              <a:t>21</a:t>
            </a:r>
          </a:p>
        </p:txBody>
      </p:sp>
      <p:pic>
        <p:nvPicPr>
          <p:cNvPr id="11" name="Paginanummer Seinpost">
            <a:extLst>
              <a:ext uri="{FF2B5EF4-FFF2-40B4-BE49-F238E27FC236}">
                <a16:creationId xmlns:a16="http://schemas.microsoft.com/office/drawing/2014/main" id="{E35D54F3-173E-45CA-A194-E84132487426}"/>
              </a:ext>
            </a:extLst>
          </p:cNvPr>
          <p:cNvPicPr>
            <a:picLocks noChangeAspect="1"/>
          </p:cNvPicPr>
          <p:nvPr>
            <p:custDataLst>
              <p:tags r:id="rId2"/>
            </p:custDataLst>
          </p:nvPr>
        </p:nvPicPr>
        <p:blipFill>
          <a:blip r:embed="rId7">
            <a:extLst>
              <a:ext uri="{28A0092B-C50C-407E-A947-70E740481C1C}">
                <a14:useLocalDpi xmlns:a14="http://schemas.microsoft.com/office/drawing/2010/main" val="0"/>
              </a:ext>
            </a:extLst>
          </a:blip>
          <a:stretch>
            <a:fillRect/>
          </a:stretch>
        </p:blipFill>
        <p:spPr>
          <a:xfrm>
            <a:off x="11674818" y="172800"/>
            <a:ext cx="298705" cy="289561"/>
          </a:xfrm>
          <a:prstGeom prst="rect">
            <a:avLst/>
          </a:prstGeom>
        </p:spPr>
      </p:pic>
      <p:sp>
        <p:nvSpPr>
          <p:cNvPr id="12" name="Paginanummer Seinpost">
            <a:extLst>
              <a:ext uri="{FF2B5EF4-FFF2-40B4-BE49-F238E27FC236}">
                <a16:creationId xmlns:a16="http://schemas.microsoft.com/office/drawing/2014/main" id="{DFF27217-054A-466E-8326-522519E0F8E7}"/>
              </a:ext>
            </a:extLst>
          </p:cNvPr>
          <p:cNvSpPr txBox="1">
            <a:spLocks/>
          </p:cNvSpPr>
          <p:nvPr>
            <p:custDataLst>
              <p:tags r:id="rId3"/>
            </p:custDataLst>
          </p:nvPr>
        </p:nvSpPr>
        <p:spPr>
          <a:xfrm>
            <a:off x="11628018" y="252000"/>
            <a:ext cx="381601" cy="244800"/>
          </a:xfrm>
          <a:prstGeom prst="rect">
            <a:avLst/>
          </a:prstGeom>
          <a:noFill/>
        </p:spPr>
        <p:txBody>
          <a:bodyPr vert="horz" lIns="0" tIns="0" rIns="0" bIns="0" rtlCol="0" anchor="t">
            <a:noAutofit/>
          </a:bodyPr>
          <a:lstStyle/>
          <a:p>
            <a:pPr algn="ctr"/>
            <a:r>
              <a:rPr lang="nl-NL" sz="1000" b="1">
                <a:solidFill>
                  <a:srgbClr val="62366E"/>
                </a:solidFill>
                <a:latin typeface="Open Sans" panose="020B0606030504020204" pitchFamily="34" charset="0"/>
              </a:rPr>
              <a:t>21</a:t>
            </a:r>
          </a:p>
        </p:txBody>
      </p:sp>
      <p:pic>
        <p:nvPicPr>
          <p:cNvPr id="1026" name="Picture 2" descr="NAS bekijken in onze winkels - Coolblue - alles voor een glimlach">
            <a:extLst>
              <a:ext uri="{FF2B5EF4-FFF2-40B4-BE49-F238E27FC236}">
                <a16:creationId xmlns:a16="http://schemas.microsoft.com/office/drawing/2014/main" id="{0E10FB99-7382-4F83-8BBA-64CAF0B8BAED}"/>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517182" y="4022587"/>
            <a:ext cx="4725787" cy="2661068"/>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Ekoplaza heeft een nieuwe winkel in Hillegersberg geopend - indebuurt  Rotterdam">
            <a:extLst>
              <a:ext uri="{FF2B5EF4-FFF2-40B4-BE49-F238E27FC236}">
                <a16:creationId xmlns:a16="http://schemas.microsoft.com/office/drawing/2014/main" id="{9B3AC6EE-C4F3-451D-90BC-B081F588D0C8}"/>
              </a:ext>
            </a:extLst>
          </p:cNvPr>
          <p:cNvPicPr>
            <a:picLocks noChangeAspect="1" noChangeArrowheads="1"/>
          </p:cNvPicPr>
          <p:nvPr/>
        </p:nvPicPr>
        <p:blipFill rotWithShape="1">
          <a:blip r:embed="rId9">
            <a:extLst>
              <a:ext uri="{28A0092B-C50C-407E-A947-70E740481C1C}">
                <a14:useLocalDpi xmlns:a14="http://schemas.microsoft.com/office/drawing/2010/main" val="0"/>
              </a:ext>
            </a:extLst>
          </a:blip>
          <a:srcRect l="3053" t="14212" r="17418" b="9999"/>
          <a:stretch/>
        </p:blipFill>
        <p:spPr bwMode="auto">
          <a:xfrm>
            <a:off x="6432653" y="3740444"/>
            <a:ext cx="4097602" cy="294624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6997144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1 Kolom breed links hoog">
            <a:extLst>
              <a:ext uri="{FF2B5EF4-FFF2-40B4-BE49-F238E27FC236}">
                <a16:creationId xmlns:a16="http://schemas.microsoft.com/office/drawing/2014/main" id="{E044C4A3-3F02-47AD-BD54-65B1B635E36E}"/>
              </a:ext>
            </a:extLst>
          </p:cNvPr>
          <p:cNvSpPr txBox="1"/>
          <p:nvPr>
            <p:custDataLst>
              <p:tags r:id="rId1"/>
            </p:custDataLst>
          </p:nvPr>
        </p:nvSpPr>
        <p:spPr>
          <a:xfrm>
            <a:off x="7448549" y="1238250"/>
            <a:ext cx="3892135" cy="4845759"/>
          </a:xfrm>
          <a:prstGeom prst="rect">
            <a:avLst/>
          </a:prstGeom>
          <a:noFill/>
        </p:spPr>
        <p:txBody>
          <a:bodyPr vert="horz" lIns="0" tIns="0" rIns="0" bIns="0" rtlCol="0" anchor="t">
            <a:noAutofit/>
          </a:bodyPr>
          <a:lstStyle/>
          <a:p>
            <a:pPr marL="285750" indent="-285750">
              <a:lnSpc>
                <a:spcPts val="1800"/>
              </a:lnSpc>
              <a:buFont typeface="Arial" panose="020B0604020202020204" pitchFamily="34" charset="0"/>
              <a:buChar char="•"/>
            </a:pPr>
            <a:endParaRPr lang="nl-NL" sz="1600" dirty="0">
              <a:latin typeface="+mj-lt"/>
            </a:endParaRPr>
          </a:p>
          <a:p>
            <a:pPr marL="285750" indent="-285750">
              <a:lnSpc>
                <a:spcPts val="1800"/>
              </a:lnSpc>
              <a:buFont typeface="Arial" panose="020B0604020202020204" pitchFamily="34" charset="0"/>
              <a:buChar char="•"/>
            </a:pPr>
            <a:endParaRPr lang="nl-NL" sz="1600" dirty="0">
              <a:latin typeface="+mj-lt"/>
            </a:endParaRPr>
          </a:p>
          <a:p>
            <a:pPr marL="285750" indent="-285750">
              <a:lnSpc>
                <a:spcPts val="1800"/>
              </a:lnSpc>
              <a:buFont typeface="Arial" panose="020B0604020202020204" pitchFamily="34" charset="0"/>
              <a:buChar char="•"/>
            </a:pPr>
            <a:endParaRPr lang="nl-NL" sz="1600" dirty="0">
              <a:latin typeface="+mj-lt"/>
            </a:endParaRPr>
          </a:p>
          <a:p>
            <a:pPr marL="285750" indent="-285750">
              <a:lnSpc>
                <a:spcPts val="1800"/>
              </a:lnSpc>
              <a:buFont typeface="Arial" panose="020B0604020202020204" pitchFamily="34" charset="0"/>
              <a:buChar char="•"/>
            </a:pPr>
            <a:endParaRPr lang="nl-NL" sz="1600" dirty="0">
              <a:latin typeface="+mj-lt"/>
            </a:endParaRPr>
          </a:p>
          <a:p>
            <a:pPr>
              <a:lnSpc>
                <a:spcPts val="1800"/>
              </a:lnSpc>
            </a:pPr>
            <a:endParaRPr lang="nl-NL" sz="1600" dirty="0">
              <a:latin typeface="+mj-lt"/>
            </a:endParaRPr>
          </a:p>
          <a:p>
            <a:pPr marL="285750" indent="-285750">
              <a:lnSpc>
                <a:spcPts val="1800"/>
              </a:lnSpc>
              <a:buFont typeface="Arial" panose="020B0604020202020204" pitchFamily="34" charset="0"/>
              <a:buChar char="•"/>
            </a:pPr>
            <a:endParaRPr lang="nl-NL" sz="1600" dirty="0">
              <a:latin typeface="+mj-lt"/>
              <a:sym typeface="Wingdings" panose="05000000000000000000" pitchFamily="2" charset="2"/>
            </a:endParaRPr>
          </a:p>
          <a:p>
            <a:pPr marL="285750" indent="-285750">
              <a:lnSpc>
                <a:spcPts val="1800"/>
              </a:lnSpc>
              <a:buFont typeface="Arial" panose="020B0604020202020204" pitchFamily="34" charset="0"/>
              <a:buChar char="•"/>
            </a:pPr>
            <a:endParaRPr lang="nl-NL" sz="1600" dirty="0">
              <a:latin typeface="+mj-lt"/>
              <a:sym typeface="Wingdings" panose="05000000000000000000" pitchFamily="2" charset="2"/>
            </a:endParaRPr>
          </a:p>
          <a:p>
            <a:pPr marL="285750" indent="-285750">
              <a:lnSpc>
                <a:spcPts val="1800"/>
              </a:lnSpc>
              <a:buFont typeface="Arial" panose="020B0604020202020204" pitchFamily="34" charset="0"/>
              <a:buChar char="•"/>
            </a:pPr>
            <a:endParaRPr lang="nl-NL" sz="1600" dirty="0">
              <a:latin typeface="+mj-lt"/>
            </a:endParaRPr>
          </a:p>
          <a:p>
            <a:pPr marL="285750" indent="-285750">
              <a:lnSpc>
                <a:spcPts val="1800"/>
              </a:lnSpc>
              <a:buFont typeface="Arial" panose="020B0604020202020204" pitchFamily="34" charset="0"/>
              <a:buChar char="•"/>
            </a:pPr>
            <a:endParaRPr lang="nl-NL" sz="1600" dirty="0">
              <a:latin typeface="+mj-lt"/>
            </a:endParaRPr>
          </a:p>
        </p:txBody>
      </p:sp>
      <p:sp>
        <p:nvSpPr>
          <p:cNvPr id="4" name="1 Kolom breed links hoog">
            <a:extLst>
              <a:ext uri="{FF2B5EF4-FFF2-40B4-BE49-F238E27FC236}">
                <a16:creationId xmlns:a16="http://schemas.microsoft.com/office/drawing/2014/main" id="{FD29F728-90C2-40D1-B10F-776CFDA37ABB}"/>
              </a:ext>
            </a:extLst>
          </p:cNvPr>
          <p:cNvSpPr txBox="1"/>
          <p:nvPr>
            <p:custDataLst>
              <p:tags r:id="rId2"/>
            </p:custDataLst>
          </p:nvPr>
        </p:nvSpPr>
        <p:spPr>
          <a:xfrm>
            <a:off x="1080002" y="1404002"/>
            <a:ext cx="5377948" cy="4680007"/>
          </a:xfrm>
          <a:prstGeom prst="rect">
            <a:avLst/>
          </a:prstGeom>
          <a:noFill/>
        </p:spPr>
        <p:txBody>
          <a:bodyPr vert="horz" lIns="0" tIns="0" rIns="0" bIns="0" rtlCol="0" anchor="t">
            <a:noAutofit/>
          </a:bodyPr>
          <a:lstStyle/>
          <a:p>
            <a:pPr marL="285750" indent="-285750">
              <a:lnSpc>
                <a:spcPts val="1800"/>
              </a:lnSpc>
              <a:buFont typeface="Arial" panose="020B0604020202020204" pitchFamily="34" charset="0"/>
              <a:buChar char="•"/>
            </a:pPr>
            <a:endParaRPr lang="nl-NL" sz="1600" dirty="0">
              <a:latin typeface="+mj-lt"/>
            </a:endParaRPr>
          </a:p>
          <a:p>
            <a:pPr>
              <a:lnSpc>
                <a:spcPts val="1800"/>
              </a:lnSpc>
            </a:pPr>
            <a:endParaRPr lang="nl-NL" sz="1600" b="1" dirty="0">
              <a:latin typeface="+mj-lt"/>
            </a:endParaRPr>
          </a:p>
          <a:p>
            <a:pPr>
              <a:lnSpc>
                <a:spcPts val="1800"/>
              </a:lnSpc>
            </a:pPr>
            <a:r>
              <a:rPr lang="nl-NL" sz="1600" b="1" dirty="0">
                <a:latin typeface="+mj-lt"/>
              </a:rPr>
              <a:t>De gemeente gaat niet…</a:t>
            </a:r>
          </a:p>
          <a:p>
            <a:pPr marL="285750" indent="-285750">
              <a:lnSpc>
                <a:spcPts val="1800"/>
              </a:lnSpc>
              <a:buFont typeface="Arial" panose="020B0604020202020204" pitchFamily="34" charset="0"/>
              <a:buChar char="•"/>
            </a:pPr>
            <a:r>
              <a:rPr lang="nl-NL" sz="1600" dirty="0">
                <a:latin typeface="+mj-lt"/>
              </a:rPr>
              <a:t>bestemmingsplannen wijzigen; </a:t>
            </a:r>
          </a:p>
          <a:p>
            <a:pPr marL="285750" indent="-285750">
              <a:lnSpc>
                <a:spcPts val="1800"/>
              </a:lnSpc>
              <a:buFont typeface="Arial" panose="020B0604020202020204" pitchFamily="34" charset="0"/>
              <a:buChar char="•"/>
            </a:pPr>
            <a:r>
              <a:rPr lang="nl-NL" sz="1600" dirty="0">
                <a:latin typeface="+mj-lt"/>
              </a:rPr>
              <a:t>wonen toestaan op de begane grond; </a:t>
            </a:r>
          </a:p>
          <a:p>
            <a:pPr marL="285750" indent="-285750">
              <a:lnSpc>
                <a:spcPts val="1800"/>
              </a:lnSpc>
              <a:buFont typeface="Arial" panose="020B0604020202020204" pitchFamily="34" charset="0"/>
              <a:buChar char="•"/>
            </a:pPr>
            <a:r>
              <a:rPr lang="nl-NL" sz="1600" dirty="0">
                <a:latin typeface="+mj-lt"/>
              </a:rPr>
              <a:t>actief inzetten op het verplaatsen van winkels of horecazaken; </a:t>
            </a:r>
          </a:p>
          <a:p>
            <a:pPr>
              <a:lnSpc>
                <a:spcPts val="1800"/>
              </a:lnSpc>
            </a:pPr>
            <a:endParaRPr lang="nl-NL" sz="1600" dirty="0">
              <a:latin typeface="+mj-lt"/>
            </a:endParaRPr>
          </a:p>
          <a:p>
            <a:pPr>
              <a:lnSpc>
                <a:spcPts val="1800"/>
              </a:lnSpc>
            </a:pPr>
            <a:endParaRPr lang="nl-NL" sz="1600" dirty="0">
              <a:latin typeface="+mj-lt"/>
            </a:endParaRPr>
          </a:p>
          <a:p>
            <a:pPr>
              <a:lnSpc>
                <a:spcPts val="1800"/>
              </a:lnSpc>
            </a:pPr>
            <a:endParaRPr lang="nl-NL" sz="1600" dirty="0">
              <a:latin typeface="+mj-lt"/>
            </a:endParaRPr>
          </a:p>
          <a:p>
            <a:pPr>
              <a:lnSpc>
                <a:spcPts val="1800"/>
              </a:lnSpc>
            </a:pPr>
            <a:r>
              <a:rPr lang="nl-NL" sz="1600" b="1" dirty="0">
                <a:latin typeface="+mj-lt"/>
              </a:rPr>
              <a:t>De gemeente gaat wel…   </a:t>
            </a:r>
          </a:p>
          <a:p>
            <a:pPr marL="285750" indent="-285750">
              <a:lnSpc>
                <a:spcPts val="1800"/>
              </a:lnSpc>
              <a:buFont typeface="Arial" panose="020B0604020202020204" pitchFamily="34" charset="0"/>
              <a:buChar char="•"/>
            </a:pPr>
            <a:r>
              <a:rPr lang="nl-NL" sz="1600" dirty="0">
                <a:latin typeface="+mj-lt"/>
              </a:rPr>
              <a:t>de visie gebruiken als een uitnodiging aan ondernemers en vastgoedeigenaren om samen te werken aan de uitvoering; </a:t>
            </a:r>
          </a:p>
          <a:p>
            <a:pPr marL="285750" indent="-285750">
              <a:lnSpc>
                <a:spcPts val="1800"/>
              </a:lnSpc>
              <a:buFont typeface="Arial" panose="020B0604020202020204" pitchFamily="34" charset="0"/>
              <a:buChar char="•"/>
            </a:pPr>
            <a:r>
              <a:rPr lang="nl-NL" sz="1600" dirty="0">
                <a:latin typeface="+mj-lt"/>
              </a:rPr>
              <a:t>initiatieven die passen binnen deze visie stimuleren; </a:t>
            </a:r>
          </a:p>
          <a:p>
            <a:pPr marL="285750" indent="-285750">
              <a:lnSpc>
                <a:spcPts val="1800"/>
              </a:lnSpc>
              <a:buFont typeface="Arial" panose="020B0604020202020204" pitchFamily="34" charset="0"/>
              <a:buChar char="•"/>
            </a:pPr>
            <a:r>
              <a:rPr lang="nl-NL" sz="1600" dirty="0">
                <a:latin typeface="+mj-lt"/>
              </a:rPr>
              <a:t>Initiatieven uit de markt aan deze visie toetsen; </a:t>
            </a:r>
          </a:p>
          <a:p>
            <a:pPr>
              <a:lnSpc>
                <a:spcPts val="1800"/>
              </a:lnSpc>
            </a:pPr>
            <a:endParaRPr lang="nl-NL" sz="1600" b="1" dirty="0">
              <a:latin typeface="+mj-lt"/>
            </a:endParaRPr>
          </a:p>
          <a:p>
            <a:pPr marL="285750" indent="-285750">
              <a:lnSpc>
                <a:spcPts val="1800"/>
              </a:lnSpc>
              <a:buFont typeface="Arial" panose="020B0604020202020204" pitchFamily="34" charset="0"/>
              <a:buChar char="•"/>
            </a:pPr>
            <a:endParaRPr lang="nl-NL" sz="1600" dirty="0">
              <a:latin typeface="+mj-lt"/>
            </a:endParaRPr>
          </a:p>
          <a:p>
            <a:pPr marL="285750" indent="-285750">
              <a:lnSpc>
                <a:spcPts val="1800"/>
              </a:lnSpc>
              <a:buFont typeface="Arial" panose="020B0604020202020204" pitchFamily="34" charset="0"/>
              <a:buChar char="•"/>
            </a:pPr>
            <a:endParaRPr lang="nl-NL" sz="1600" b="1" dirty="0">
              <a:latin typeface="+mj-lt"/>
            </a:endParaRPr>
          </a:p>
          <a:p>
            <a:pPr marL="285750" indent="-285750">
              <a:lnSpc>
                <a:spcPts val="1800"/>
              </a:lnSpc>
              <a:buFont typeface="Arial" panose="020B0604020202020204" pitchFamily="34" charset="0"/>
              <a:buChar char="•"/>
            </a:pPr>
            <a:endParaRPr lang="nl-NL" sz="1600" b="1" dirty="0">
              <a:latin typeface="+mj-lt"/>
            </a:endParaRPr>
          </a:p>
          <a:p>
            <a:pPr marL="285750" indent="-285750">
              <a:lnSpc>
                <a:spcPts val="1800"/>
              </a:lnSpc>
              <a:buFont typeface="Arial" panose="020B0604020202020204" pitchFamily="34" charset="0"/>
              <a:buChar char="•"/>
            </a:pPr>
            <a:endParaRPr lang="nl-NL" sz="1600" b="1" dirty="0">
              <a:latin typeface="+mj-lt"/>
            </a:endParaRPr>
          </a:p>
          <a:p>
            <a:pPr>
              <a:lnSpc>
                <a:spcPts val="1800"/>
              </a:lnSpc>
            </a:pPr>
            <a:endParaRPr lang="nl-NL" sz="1600" dirty="0">
              <a:latin typeface="+mj-lt"/>
            </a:endParaRPr>
          </a:p>
          <a:p>
            <a:pPr marL="285750" indent="-285750">
              <a:lnSpc>
                <a:spcPts val="1800"/>
              </a:lnSpc>
              <a:buFont typeface="Arial" panose="020B0604020202020204" pitchFamily="34" charset="0"/>
              <a:buChar char="•"/>
            </a:pPr>
            <a:endParaRPr lang="nl-NL" sz="1600" dirty="0">
              <a:latin typeface="+mj-lt"/>
            </a:endParaRPr>
          </a:p>
          <a:p>
            <a:pPr marL="285750" indent="-285750">
              <a:lnSpc>
                <a:spcPts val="1800"/>
              </a:lnSpc>
              <a:buFont typeface="Arial" panose="020B0604020202020204" pitchFamily="34" charset="0"/>
              <a:buChar char="•"/>
            </a:pPr>
            <a:endParaRPr lang="nl-NL" sz="1600" dirty="0">
              <a:latin typeface="+mj-lt"/>
            </a:endParaRPr>
          </a:p>
          <a:p>
            <a:pPr marL="285750" indent="-285750">
              <a:lnSpc>
                <a:spcPts val="1800"/>
              </a:lnSpc>
              <a:buFont typeface="Arial" panose="020B0604020202020204" pitchFamily="34" charset="0"/>
              <a:buChar char="•"/>
            </a:pPr>
            <a:endParaRPr lang="nl-NL" sz="1600" dirty="0">
              <a:latin typeface="+mj-lt"/>
            </a:endParaRPr>
          </a:p>
          <a:p>
            <a:pPr marL="285750" indent="-285750">
              <a:lnSpc>
                <a:spcPts val="1800"/>
              </a:lnSpc>
              <a:buFont typeface="Arial" panose="020B0604020202020204" pitchFamily="34" charset="0"/>
              <a:buChar char="•"/>
            </a:pPr>
            <a:endParaRPr lang="nl-NL" sz="1600" dirty="0">
              <a:latin typeface="+mj-lt"/>
            </a:endParaRPr>
          </a:p>
        </p:txBody>
      </p:sp>
      <p:sp>
        <p:nvSpPr>
          <p:cNvPr id="13" name="Paragraaf titel hoog">
            <a:extLst>
              <a:ext uri="{FF2B5EF4-FFF2-40B4-BE49-F238E27FC236}">
                <a16:creationId xmlns:a16="http://schemas.microsoft.com/office/drawing/2014/main" id="{EBD5C414-73A6-421A-B4CE-7D1C137F15B8}"/>
              </a:ext>
            </a:extLst>
          </p:cNvPr>
          <p:cNvSpPr txBox="1"/>
          <p:nvPr>
            <p:custDataLst>
              <p:tags r:id="rId3"/>
            </p:custDataLst>
          </p:nvPr>
        </p:nvSpPr>
        <p:spPr>
          <a:xfrm>
            <a:off x="1080001" y="473386"/>
            <a:ext cx="9554131" cy="432001"/>
          </a:xfrm>
          <a:prstGeom prst="rect">
            <a:avLst/>
          </a:prstGeom>
          <a:noFill/>
        </p:spPr>
        <p:txBody>
          <a:bodyPr vert="horz" lIns="0" tIns="0" rIns="0" bIns="0" rtlCol="0" anchor="t">
            <a:noAutofit/>
          </a:bodyPr>
          <a:lstStyle/>
          <a:p>
            <a:pPr>
              <a:lnSpc>
                <a:spcPts val="3200"/>
              </a:lnSpc>
            </a:pPr>
            <a:r>
              <a:rPr lang="nl-NL" sz="3000" b="1" dirty="0">
                <a:solidFill>
                  <a:srgbClr val="62366E"/>
                </a:solidFill>
                <a:latin typeface="Open Sans"/>
              </a:rPr>
              <a:t>Ruimtelijke- en brancheringsvisie</a:t>
            </a:r>
          </a:p>
          <a:p>
            <a:pPr>
              <a:lnSpc>
                <a:spcPts val="3200"/>
              </a:lnSpc>
            </a:pPr>
            <a:r>
              <a:rPr lang="nl-NL" sz="2400" b="1" dirty="0">
                <a:solidFill>
                  <a:schemeClr val="accent3"/>
                </a:solidFill>
                <a:latin typeface="Open Sans" panose="020B0606030504020204" pitchFamily="34" charset="0"/>
              </a:rPr>
              <a:t>Wat betekent de visie nu? </a:t>
            </a:r>
          </a:p>
        </p:txBody>
      </p:sp>
      <p:sp>
        <p:nvSpPr>
          <p:cNvPr id="9" name="Paginanummer Seinpost">
            <a:extLst>
              <a:ext uri="{FF2B5EF4-FFF2-40B4-BE49-F238E27FC236}">
                <a16:creationId xmlns:a16="http://schemas.microsoft.com/office/drawing/2014/main" id="{A5B9963D-E9F5-468F-A4DC-E7FFE1A4EDF4}"/>
              </a:ext>
            </a:extLst>
          </p:cNvPr>
          <p:cNvSpPr txBox="1">
            <a:spLocks/>
          </p:cNvSpPr>
          <p:nvPr>
            <p:custDataLst>
              <p:tags r:id="rId4"/>
            </p:custDataLst>
          </p:nvPr>
        </p:nvSpPr>
        <p:spPr>
          <a:xfrm>
            <a:off x="11628018" y="252000"/>
            <a:ext cx="381601" cy="244800"/>
          </a:xfrm>
          <a:prstGeom prst="rect">
            <a:avLst/>
          </a:prstGeom>
          <a:noFill/>
        </p:spPr>
        <p:txBody>
          <a:bodyPr vert="horz" lIns="0" tIns="0" rIns="0" bIns="0" rtlCol="0" anchor="t">
            <a:noAutofit/>
          </a:bodyPr>
          <a:lstStyle/>
          <a:p>
            <a:pPr algn="ctr"/>
            <a:r>
              <a:rPr lang="nl-NL" sz="1000" b="1">
                <a:solidFill>
                  <a:srgbClr val="62366E"/>
                </a:solidFill>
                <a:latin typeface="Open Sans" panose="020B0606030504020204" pitchFamily="34" charset="0"/>
              </a:rPr>
              <a:t>22</a:t>
            </a:r>
          </a:p>
        </p:txBody>
      </p:sp>
      <p:pic>
        <p:nvPicPr>
          <p:cNvPr id="11" name="Afbeelding 10" descr="Afbeelding met tekst, gebouw, buiten, lucht&#10;&#10;Automatisch gegenereerde beschrijving">
            <a:extLst>
              <a:ext uri="{FF2B5EF4-FFF2-40B4-BE49-F238E27FC236}">
                <a16:creationId xmlns:a16="http://schemas.microsoft.com/office/drawing/2014/main" id="{22149942-C88D-4E6C-A417-B881D6E5C688}"/>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7027528" y="1746396"/>
            <a:ext cx="5164472" cy="3873354"/>
          </a:xfrm>
          <a:prstGeom prst="rect">
            <a:avLst/>
          </a:prstGeom>
        </p:spPr>
      </p:pic>
      <p:pic>
        <p:nvPicPr>
          <p:cNvPr id="15" name="Paginanummer Seinpost">
            <a:extLst>
              <a:ext uri="{FF2B5EF4-FFF2-40B4-BE49-F238E27FC236}">
                <a16:creationId xmlns:a16="http://schemas.microsoft.com/office/drawing/2014/main" id="{EFD4584D-E75D-4832-8048-936AA65B859A}"/>
              </a:ext>
            </a:extLst>
          </p:cNvPr>
          <p:cNvPicPr>
            <a:picLocks noChangeAspect="1"/>
          </p:cNvPicPr>
          <p:nvPr>
            <p:custDataLst>
              <p:tags r:id="rId5"/>
            </p:custDataLst>
          </p:nvPr>
        </p:nvPicPr>
        <p:blipFill>
          <a:blip r:embed="rId9">
            <a:extLst>
              <a:ext uri="{28A0092B-C50C-407E-A947-70E740481C1C}">
                <a14:useLocalDpi xmlns:a14="http://schemas.microsoft.com/office/drawing/2010/main" val="0"/>
              </a:ext>
            </a:extLst>
          </a:blip>
          <a:stretch>
            <a:fillRect/>
          </a:stretch>
        </p:blipFill>
        <p:spPr>
          <a:xfrm>
            <a:off x="11674818" y="172800"/>
            <a:ext cx="298705" cy="289561"/>
          </a:xfrm>
          <a:prstGeom prst="rect">
            <a:avLst/>
          </a:prstGeom>
        </p:spPr>
      </p:pic>
      <p:sp>
        <p:nvSpPr>
          <p:cNvPr id="16" name="Paginanummer Seinpost">
            <a:extLst>
              <a:ext uri="{FF2B5EF4-FFF2-40B4-BE49-F238E27FC236}">
                <a16:creationId xmlns:a16="http://schemas.microsoft.com/office/drawing/2014/main" id="{D1FD25F1-2BC7-4E02-9E74-90CFE685F967}"/>
              </a:ext>
            </a:extLst>
          </p:cNvPr>
          <p:cNvSpPr txBox="1">
            <a:spLocks/>
          </p:cNvSpPr>
          <p:nvPr>
            <p:custDataLst>
              <p:tags r:id="rId6"/>
            </p:custDataLst>
          </p:nvPr>
        </p:nvSpPr>
        <p:spPr>
          <a:xfrm>
            <a:off x="11628018" y="252000"/>
            <a:ext cx="381601" cy="244800"/>
          </a:xfrm>
          <a:prstGeom prst="rect">
            <a:avLst/>
          </a:prstGeom>
          <a:noFill/>
        </p:spPr>
        <p:txBody>
          <a:bodyPr vert="horz" lIns="0" tIns="0" rIns="0" bIns="0" rtlCol="0" anchor="t">
            <a:noAutofit/>
          </a:bodyPr>
          <a:lstStyle/>
          <a:p>
            <a:pPr algn="ctr"/>
            <a:r>
              <a:rPr lang="nl-NL" sz="1000" b="1">
                <a:solidFill>
                  <a:srgbClr val="62366E"/>
                </a:solidFill>
                <a:latin typeface="Open Sans" panose="020B0606030504020204" pitchFamily="34" charset="0"/>
              </a:rPr>
              <a:t>22</a:t>
            </a:r>
          </a:p>
        </p:txBody>
      </p:sp>
    </p:spTree>
    <p:extLst>
      <p:ext uri="{BB962C8B-B14F-4D97-AF65-F5344CB8AC3E}">
        <p14:creationId xmlns:p14="http://schemas.microsoft.com/office/powerpoint/2010/main" val="191719180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Paragraaf titel hoog">
            <a:extLst>
              <a:ext uri="{FF2B5EF4-FFF2-40B4-BE49-F238E27FC236}">
                <a16:creationId xmlns:a16="http://schemas.microsoft.com/office/drawing/2014/main" id="{6B43B392-8647-4A23-86D9-F3D342C4D613}"/>
              </a:ext>
            </a:extLst>
          </p:cNvPr>
          <p:cNvSpPr txBox="1"/>
          <p:nvPr>
            <p:custDataLst>
              <p:tags r:id="rId1"/>
            </p:custDataLst>
          </p:nvPr>
        </p:nvSpPr>
        <p:spPr>
          <a:xfrm>
            <a:off x="1080000" y="489049"/>
            <a:ext cx="10121399" cy="432001"/>
          </a:xfrm>
          <a:prstGeom prst="rect">
            <a:avLst/>
          </a:prstGeom>
          <a:noFill/>
        </p:spPr>
        <p:txBody>
          <a:bodyPr vert="horz" lIns="0" tIns="0" rIns="0" bIns="0" rtlCol="0" anchor="t">
            <a:noAutofit/>
          </a:bodyPr>
          <a:lstStyle/>
          <a:p>
            <a:pPr marL="0" marR="0" lvl="0" indent="0" algn="l" defTabSz="914400" rtl="0" eaLnBrk="1" fontAlgn="auto" latinLnBrk="0" hangingPunct="1">
              <a:lnSpc>
                <a:spcPts val="3200"/>
              </a:lnSpc>
              <a:spcBef>
                <a:spcPts val="0"/>
              </a:spcBef>
              <a:spcAft>
                <a:spcPts val="0"/>
              </a:spcAft>
              <a:buClrTx/>
              <a:buSzTx/>
              <a:buFontTx/>
              <a:buNone/>
              <a:tabLst/>
              <a:defRPr/>
            </a:pPr>
            <a:r>
              <a:rPr kumimoji="0" lang="nl-NL" sz="3000" b="1" i="0" u="none" strike="noStrike" kern="1200" cap="none" spc="0" normalizeH="0" baseline="0" noProof="0">
                <a:ln>
                  <a:noFill/>
                </a:ln>
                <a:solidFill>
                  <a:srgbClr val="62366E"/>
                </a:solidFill>
                <a:effectLst/>
                <a:uLnTx/>
                <a:uFillTx/>
                <a:latin typeface="Open Sans" panose="020B0606030504020204" pitchFamily="34" charset="0"/>
                <a:ea typeface="+mn-ea"/>
                <a:cs typeface="+mn-cs"/>
              </a:rPr>
              <a:t>Wij zijn benieuwd! </a:t>
            </a:r>
          </a:p>
        </p:txBody>
      </p:sp>
      <p:sp>
        <p:nvSpPr>
          <p:cNvPr id="7" name="2 Kolommen breed">
            <a:extLst>
              <a:ext uri="{FF2B5EF4-FFF2-40B4-BE49-F238E27FC236}">
                <a16:creationId xmlns:a16="http://schemas.microsoft.com/office/drawing/2014/main" id="{A511592C-D71A-46BC-B8F7-B3DDAC3CBE08}"/>
              </a:ext>
            </a:extLst>
          </p:cNvPr>
          <p:cNvSpPr txBox="1"/>
          <p:nvPr>
            <p:custDataLst>
              <p:tags r:id="rId2"/>
            </p:custDataLst>
          </p:nvPr>
        </p:nvSpPr>
        <p:spPr>
          <a:xfrm>
            <a:off x="1080001" y="1447061"/>
            <a:ext cx="5911350" cy="4975510"/>
          </a:xfrm>
          <a:prstGeom prst="rect">
            <a:avLst/>
          </a:prstGeom>
          <a:noFill/>
        </p:spPr>
        <p:txBody>
          <a:bodyPr vert="horz" lIns="0" tIns="0" rIns="0" bIns="0" rtlCol="0" anchor="t">
            <a:noAutofit/>
          </a:bodyPr>
          <a:lstStyle/>
          <a:p>
            <a:pPr marL="285750" lvl="1" indent="-285750">
              <a:lnSpc>
                <a:spcPct val="150000"/>
              </a:lnSpc>
              <a:buClr>
                <a:srgbClr val="000000"/>
              </a:buClr>
              <a:buSzPct val="100000"/>
              <a:buFont typeface="Arial" panose="020B0604020202020204" pitchFamily="34" charset="0"/>
              <a:buChar char="•"/>
            </a:pPr>
            <a:endParaRPr kumimoji="0" lang="nl-NL" sz="16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a:p>
            <a:pPr marL="0" lvl="1">
              <a:lnSpc>
                <a:spcPct val="150000"/>
              </a:lnSpc>
              <a:buClr>
                <a:srgbClr val="000000"/>
              </a:buClr>
              <a:buSzPct val="100000"/>
            </a:pPr>
            <a:endParaRPr kumimoji="0" lang="nl-NL" sz="16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a:p>
            <a:pPr marL="285750" lvl="1" indent="-285750">
              <a:lnSpc>
                <a:spcPct val="150000"/>
              </a:lnSpc>
              <a:buClr>
                <a:srgbClr val="000000"/>
              </a:buClr>
              <a:buSzPct val="100000"/>
              <a:buFont typeface="Arial" panose="020B0604020202020204" pitchFamily="34" charset="0"/>
              <a:buChar char="•"/>
            </a:pPr>
            <a:endParaRPr lang="nl-NL" sz="1600" dirty="0">
              <a:solidFill>
                <a:srgbClr val="000000"/>
              </a:solidFill>
              <a:latin typeface="Open Sans" panose="020B0606030504020204" pitchFamily="34" charset="0"/>
              <a:ea typeface="Open Sans" panose="020B0606030504020204" pitchFamily="34" charset="0"/>
              <a:cs typeface="Open Sans" panose="020B0606030504020204" pitchFamily="34" charset="0"/>
            </a:endParaRPr>
          </a:p>
          <a:p>
            <a:pPr marL="0" lvl="1">
              <a:lnSpc>
                <a:spcPct val="150000"/>
              </a:lnSpc>
              <a:buClr>
                <a:srgbClr val="000000"/>
              </a:buClr>
              <a:buSzPct val="100000"/>
            </a:pPr>
            <a:r>
              <a:rPr kumimoji="0" lang="nl-NL" sz="2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Wat vindt u van de geschetste visie? </a:t>
            </a:r>
          </a:p>
          <a:p>
            <a:pPr marL="0" lvl="1">
              <a:lnSpc>
                <a:spcPct val="150000"/>
              </a:lnSpc>
              <a:buClr>
                <a:srgbClr val="000000"/>
              </a:buClr>
              <a:buSzPct val="100000"/>
            </a:pPr>
            <a:endParaRPr lang="nl-NL" sz="2000" dirty="0">
              <a:solidFill>
                <a:srgbClr val="000000"/>
              </a:solidFill>
              <a:latin typeface="Open Sans" panose="020B0606030504020204" pitchFamily="34" charset="0"/>
              <a:ea typeface="Open Sans" panose="020B0606030504020204" pitchFamily="34" charset="0"/>
              <a:cs typeface="Open Sans" panose="020B0606030504020204" pitchFamily="34" charset="0"/>
            </a:endParaRPr>
          </a:p>
          <a:p>
            <a:pPr marL="0" lvl="1">
              <a:lnSpc>
                <a:spcPct val="150000"/>
              </a:lnSpc>
              <a:buClr>
                <a:srgbClr val="000000"/>
              </a:buClr>
              <a:buSzPct val="100000"/>
            </a:pPr>
            <a:r>
              <a:rPr kumimoji="0" lang="nl-NL" sz="20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Heeft u nog vragen en/of aanvullingen? </a:t>
            </a:r>
            <a:endParaRPr lang="nl-NL" sz="2000" dirty="0">
              <a:latin typeface="Open Sans" panose="020B0606030504020204" pitchFamily="34" charset="0"/>
              <a:ea typeface="Open Sans" panose="020B0606030504020204" pitchFamily="34" charset="0"/>
              <a:cs typeface="Open Sans" panose="020B0606030504020204" pitchFamily="34" charset="0"/>
            </a:endParaRPr>
          </a:p>
        </p:txBody>
      </p:sp>
      <p:pic>
        <p:nvPicPr>
          <p:cNvPr id="3" name="Afbeelding 2">
            <a:extLst>
              <a:ext uri="{FF2B5EF4-FFF2-40B4-BE49-F238E27FC236}">
                <a16:creationId xmlns:a16="http://schemas.microsoft.com/office/drawing/2014/main" id="{01C541DF-0A6F-4A04-9AB5-05BA821A67F7}"/>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rot="302468">
            <a:off x="8686674" y="489049"/>
            <a:ext cx="2895726" cy="5748867"/>
          </a:xfrm>
          <a:prstGeom prst="rect">
            <a:avLst/>
          </a:prstGeom>
        </p:spPr>
      </p:pic>
      <p:sp>
        <p:nvSpPr>
          <p:cNvPr id="9" name="Paginanummer Seinpost">
            <a:extLst>
              <a:ext uri="{FF2B5EF4-FFF2-40B4-BE49-F238E27FC236}">
                <a16:creationId xmlns:a16="http://schemas.microsoft.com/office/drawing/2014/main" id="{BA590183-E013-4E91-8758-94BBC31A5445}"/>
              </a:ext>
            </a:extLst>
          </p:cNvPr>
          <p:cNvSpPr txBox="1">
            <a:spLocks/>
          </p:cNvSpPr>
          <p:nvPr>
            <p:custDataLst>
              <p:tags r:id="rId3"/>
            </p:custDataLst>
          </p:nvPr>
        </p:nvSpPr>
        <p:spPr>
          <a:xfrm>
            <a:off x="11628018" y="252000"/>
            <a:ext cx="381601" cy="244800"/>
          </a:xfrm>
          <a:prstGeom prst="rect">
            <a:avLst/>
          </a:prstGeom>
          <a:noFill/>
        </p:spPr>
        <p:txBody>
          <a:bodyPr vert="horz" lIns="0" tIns="0" rIns="0" bIns="0" rtlCol="0" anchor="t">
            <a:noAutofit/>
          </a:bodyPr>
          <a:lstStyle/>
          <a:p>
            <a:pPr algn="ctr"/>
            <a:r>
              <a:rPr lang="nl-NL" sz="1000" b="1">
                <a:solidFill>
                  <a:srgbClr val="62366E"/>
                </a:solidFill>
                <a:latin typeface="Open Sans" panose="020B0606030504020204" pitchFamily="34" charset="0"/>
              </a:rPr>
              <a:t>23</a:t>
            </a:r>
          </a:p>
        </p:txBody>
      </p:sp>
      <p:pic>
        <p:nvPicPr>
          <p:cNvPr id="11" name="Paginanummer Seinpost">
            <a:extLst>
              <a:ext uri="{FF2B5EF4-FFF2-40B4-BE49-F238E27FC236}">
                <a16:creationId xmlns:a16="http://schemas.microsoft.com/office/drawing/2014/main" id="{F0B34788-5568-4E19-B0E5-07CFCF321AAE}"/>
              </a:ext>
            </a:extLst>
          </p:cNvPr>
          <p:cNvPicPr>
            <a:picLocks noChangeAspect="1"/>
          </p:cNvPicPr>
          <p:nvPr>
            <p:custDataLst>
              <p:tags r:id="rId4"/>
            </p:custDataLst>
          </p:nvPr>
        </p:nvPicPr>
        <p:blipFill>
          <a:blip r:embed="rId9">
            <a:extLst>
              <a:ext uri="{28A0092B-C50C-407E-A947-70E740481C1C}">
                <a14:useLocalDpi xmlns:a14="http://schemas.microsoft.com/office/drawing/2010/main" val="0"/>
              </a:ext>
            </a:extLst>
          </a:blip>
          <a:stretch>
            <a:fillRect/>
          </a:stretch>
        </p:blipFill>
        <p:spPr>
          <a:xfrm>
            <a:off x="11674818" y="172800"/>
            <a:ext cx="298705" cy="289561"/>
          </a:xfrm>
          <a:prstGeom prst="rect">
            <a:avLst/>
          </a:prstGeom>
        </p:spPr>
      </p:pic>
      <p:sp>
        <p:nvSpPr>
          <p:cNvPr id="12" name="Paginanummer Seinpost">
            <a:extLst>
              <a:ext uri="{FF2B5EF4-FFF2-40B4-BE49-F238E27FC236}">
                <a16:creationId xmlns:a16="http://schemas.microsoft.com/office/drawing/2014/main" id="{A9401168-1E66-4DFB-9B4F-BF2FE3B93ACE}"/>
              </a:ext>
            </a:extLst>
          </p:cNvPr>
          <p:cNvSpPr txBox="1">
            <a:spLocks/>
          </p:cNvSpPr>
          <p:nvPr>
            <p:custDataLst>
              <p:tags r:id="rId5"/>
            </p:custDataLst>
          </p:nvPr>
        </p:nvSpPr>
        <p:spPr>
          <a:xfrm>
            <a:off x="11628018" y="252000"/>
            <a:ext cx="381601" cy="244800"/>
          </a:xfrm>
          <a:prstGeom prst="rect">
            <a:avLst/>
          </a:prstGeom>
          <a:noFill/>
        </p:spPr>
        <p:txBody>
          <a:bodyPr vert="horz" lIns="0" tIns="0" rIns="0" bIns="0" rtlCol="0" anchor="t">
            <a:noAutofit/>
          </a:bodyPr>
          <a:lstStyle/>
          <a:p>
            <a:pPr algn="ctr"/>
            <a:r>
              <a:rPr lang="nl-NL" sz="1000" b="1">
                <a:solidFill>
                  <a:srgbClr val="62366E"/>
                </a:solidFill>
                <a:latin typeface="Open Sans" panose="020B0606030504020204" pitchFamily="34" charset="0"/>
              </a:rPr>
              <a:t>23</a:t>
            </a:r>
          </a:p>
        </p:txBody>
      </p:sp>
    </p:spTree>
    <p:extLst>
      <p:ext uri="{BB962C8B-B14F-4D97-AF65-F5344CB8AC3E}">
        <p14:creationId xmlns:p14="http://schemas.microsoft.com/office/powerpoint/2010/main" val="48215479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Paragraaf titel hoog"/>
          <p:cNvSpPr txBox="1"/>
          <p:nvPr>
            <p:custDataLst>
              <p:tags r:id="rId1"/>
            </p:custDataLst>
          </p:nvPr>
        </p:nvSpPr>
        <p:spPr>
          <a:xfrm>
            <a:off x="1080000" y="521671"/>
            <a:ext cx="9929745" cy="431728"/>
          </a:xfrm>
          <a:prstGeom prst="rect">
            <a:avLst/>
          </a:prstGeom>
          <a:noFill/>
        </p:spPr>
        <p:txBody>
          <a:bodyPr vert="horz" lIns="0" tIns="0" rIns="0" bIns="0" rtlCol="0" anchor="t">
            <a:noAutofit/>
          </a:bodyPr>
          <a:lstStyle/>
          <a:p>
            <a:pPr>
              <a:lnSpc>
                <a:spcPts val="3200"/>
              </a:lnSpc>
            </a:pPr>
            <a:r>
              <a:rPr lang="nl-NL" sz="3000" b="1">
                <a:solidFill>
                  <a:srgbClr val="62366E"/>
                </a:solidFill>
                <a:latin typeface="Open Sans" panose="020B0606030504020204" pitchFamily="34" charset="0"/>
              </a:rPr>
              <a:t>Afronding en vervolg</a:t>
            </a:r>
          </a:p>
          <a:p>
            <a:pPr>
              <a:lnSpc>
                <a:spcPts val="3200"/>
              </a:lnSpc>
            </a:pPr>
            <a:endParaRPr lang="nl-NL" sz="3000" b="1">
              <a:solidFill>
                <a:srgbClr val="62366E"/>
              </a:solidFill>
              <a:latin typeface="Open Sans" panose="020B0606030504020204" pitchFamily="34" charset="0"/>
            </a:endParaRPr>
          </a:p>
        </p:txBody>
      </p:sp>
      <p:sp>
        <p:nvSpPr>
          <p:cNvPr id="5" name="2 Kolommen breed"/>
          <p:cNvSpPr txBox="1"/>
          <p:nvPr>
            <p:custDataLst>
              <p:tags r:id="rId2"/>
            </p:custDataLst>
          </p:nvPr>
        </p:nvSpPr>
        <p:spPr>
          <a:xfrm>
            <a:off x="1079320" y="1403116"/>
            <a:ext cx="6835956" cy="3809907"/>
          </a:xfrm>
          <a:prstGeom prst="rect">
            <a:avLst/>
          </a:prstGeom>
          <a:noFill/>
        </p:spPr>
        <p:txBody>
          <a:bodyPr vert="horz" lIns="0" tIns="0" rIns="0" bIns="0" rtlCol="0" anchor="t">
            <a:noAutofit/>
          </a:bodyPr>
          <a:lstStyle/>
          <a:p>
            <a:pPr marL="285750" lvl="1" indent="-285750">
              <a:lnSpc>
                <a:spcPct val="150000"/>
              </a:lnSpc>
              <a:buClr>
                <a:srgbClr val="000000"/>
              </a:buClr>
              <a:buSzPct val="100000"/>
              <a:buFont typeface="Arial" panose="020B0604020202020204" pitchFamily="34" charset="0"/>
              <a:buChar char="•"/>
            </a:pPr>
            <a:endParaRPr lang="nl-NL" sz="1600" dirty="0">
              <a:latin typeface="Open Sans" panose="020B0606030504020204" pitchFamily="34" charset="0"/>
              <a:ea typeface="Open Sans" panose="020B0606030504020204" pitchFamily="34" charset="0"/>
              <a:cs typeface="Open Sans" panose="020B0606030504020204" pitchFamily="34" charset="0"/>
            </a:endParaRPr>
          </a:p>
          <a:p>
            <a:pPr marL="285750" lvl="1" indent="-285750">
              <a:lnSpc>
                <a:spcPct val="150000"/>
              </a:lnSpc>
              <a:buClr>
                <a:srgbClr val="000000"/>
              </a:buClr>
              <a:buSzPct val="100000"/>
              <a:buFont typeface="Arial" panose="020B0604020202020204" pitchFamily="34" charset="0"/>
              <a:buChar char="•"/>
            </a:pPr>
            <a:r>
              <a:rPr lang="nl-NL" sz="1600" dirty="0">
                <a:latin typeface="Open Sans" panose="020B0606030504020204" pitchFamily="34" charset="0"/>
                <a:ea typeface="Open Sans" panose="020B0606030504020204" pitchFamily="34" charset="0"/>
                <a:cs typeface="Open Sans" panose="020B0606030504020204" pitchFamily="34" charset="0"/>
              </a:rPr>
              <a:t>De concept visie is opgesteld met input van ondernemers en eigenaren. Zij staan achter de visie;  </a:t>
            </a:r>
          </a:p>
          <a:p>
            <a:pPr marL="285750" lvl="1" indent="-285750">
              <a:lnSpc>
                <a:spcPct val="150000"/>
              </a:lnSpc>
              <a:buClr>
                <a:srgbClr val="000000"/>
              </a:buClr>
              <a:buSzPct val="100000"/>
              <a:buFont typeface="Arial" panose="020B0604020202020204" pitchFamily="34" charset="0"/>
              <a:buChar char="•"/>
            </a:pPr>
            <a:endParaRPr lang="nl-NL" sz="1600" dirty="0">
              <a:latin typeface="Open Sans" panose="020B0606030504020204" pitchFamily="34" charset="0"/>
              <a:ea typeface="Open Sans" panose="020B0606030504020204" pitchFamily="34" charset="0"/>
              <a:cs typeface="Open Sans" panose="020B0606030504020204" pitchFamily="34" charset="0"/>
            </a:endParaRPr>
          </a:p>
          <a:p>
            <a:pPr marL="285750" lvl="1" indent="-285750">
              <a:lnSpc>
                <a:spcPct val="150000"/>
              </a:lnSpc>
              <a:buClr>
                <a:srgbClr val="000000"/>
              </a:buClr>
              <a:buSzPct val="100000"/>
              <a:buFont typeface="Arial" panose="020B0604020202020204" pitchFamily="34" charset="0"/>
              <a:buChar char="•"/>
            </a:pPr>
            <a:r>
              <a:rPr lang="nl-NL" sz="1600" dirty="0">
                <a:latin typeface="Open Sans" panose="020B0606030504020204" pitchFamily="34" charset="0"/>
                <a:ea typeface="Open Sans" panose="020B0606030504020204" pitchFamily="34" charset="0"/>
                <a:cs typeface="Open Sans" panose="020B0606030504020204" pitchFamily="34" charset="0"/>
              </a:rPr>
              <a:t>De input van vanavond gaan we verwerken en de visie scherpen we waar mogelijk aan; </a:t>
            </a:r>
          </a:p>
          <a:p>
            <a:pPr marL="0" lvl="1">
              <a:lnSpc>
                <a:spcPct val="150000"/>
              </a:lnSpc>
              <a:buClr>
                <a:srgbClr val="000000"/>
              </a:buClr>
              <a:buSzPct val="100000"/>
            </a:pPr>
            <a:endParaRPr lang="nl-NL" sz="1600" dirty="0">
              <a:latin typeface="Open Sans" panose="020B0606030504020204" pitchFamily="34" charset="0"/>
              <a:ea typeface="Open Sans" panose="020B0606030504020204" pitchFamily="34" charset="0"/>
              <a:cs typeface="Open Sans" panose="020B0606030504020204" pitchFamily="34" charset="0"/>
            </a:endParaRPr>
          </a:p>
          <a:p>
            <a:pPr marL="285750" lvl="1" indent="-285750">
              <a:lnSpc>
                <a:spcPct val="150000"/>
              </a:lnSpc>
              <a:buClr>
                <a:srgbClr val="000000"/>
              </a:buClr>
              <a:buSzPct val="100000"/>
              <a:buFont typeface="Arial" panose="020B0604020202020204" pitchFamily="34" charset="0"/>
              <a:buChar char="•"/>
            </a:pPr>
            <a:r>
              <a:rPr lang="nl-NL" sz="1600" dirty="0">
                <a:latin typeface="Open Sans" panose="020B0606030504020204" pitchFamily="34" charset="0"/>
                <a:ea typeface="Open Sans" panose="020B0606030504020204" pitchFamily="34" charset="0"/>
                <a:cs typeface="Open Sans" panose="020B0606030504020204" pitchFamily="34" charset="0"/>
              </a:rPr>
              <a:t>De visie gaat naar de gemeenteraad om te worden vastgesteld; </a:t>
            </a:r>
          </a:p>
          <a:p>
            <a:pPr marL="742950" lvl="2" indent="-285750">
              <a:lnSpc>
                <a:spcPct val="150000"/>
              </a:lnSpc>
              <a:buClr>
                <a:srgbClr val="000000"/>
              </a:buClr>
              <a:buSzPct val="100000"/>
              <a:buFont typeface="Arial" panose="020B0604020202020204" pitchFamily="34" charset="0"/>
              <a:buChar char="•"/>
            </a:pPr>
            <a:r>
              <a:rPr lang="nl-NL" sz="1600" dirty="0">
                <a:latin typeface="Open Sans" panose="020B0606030504020204" pitchFamily="34" charset="0"/>
                <a:ea typeface="Open Sans" panose="020B0606030504020204" pitchFamily="34" charset="0"/>
                <a:cs typeface="Open Sans" panose="020B0606030504020204" pitchFamily="34" charset="0"/>
              </a:rPr>
              <a:t>2 juni uitwisseling met de gemeenteraad</a:t>
            </a:r>
          </a:p>
          <a:p>
            <a:pPr marL="742950" lvl="2" indent="-285750">
              <a:lnSpc>
                <a:spcPct val="150000"/>
              </a:lnSpc>
              <a:buClr>
                <a:srgbClr val="000000"/>
              </a:buClr>
              <a:buSzPct val="100000"/>
              <a:buFont typeface="Arial" panose="020B0604020202020204" pitchFamily="34" charset="0"/>
              <a:buChar char="•"/>
            </a:pPr>
            <a:r>
              <a:rPr lang="nl-NL" sz="1600" dirty="0">
                <a:latin typeface="Open Sans" panose="020B0606030504020204" pitchFamily="34" charset="0"/>
                <a:ea typeface="Open Sans" panose="020B0606030504020204" pitchFamily="34" charset="0"/>
                <a:cs typeface="Open Sans" panose="020B0606030504020204" pitchFamily="34" charset="0"/>
              </a:rPr>
              <a:t>30 juni besluitvorming gemeenteraad</a:t>
            </a:r>
          </a:p>
          <a:p>
            <a:pPr marL="0" lvl="1">
              <a:lnSpc>
                <a:spcPct val="150000"/>
              </a:lnSpc>
              <a:buClr>
                <a:srgbClr val="000000"/>
              </a:buClr>
              <a:buSzPct val="100000"/>
            </a:pPr>
            <a:endParaRPr lang="nl-NL" sz="1600" dirty="0">
              <a:highlight>
                <a:srgbClr val="90D5AC"/>
              </a:highlight>
              <a:latin typeface="Open Sans" panose="020B0606030504020204" pitchFamily="34" charset="0"/>
              <a:ea typeface="Open Sans" panose="020B0606030504020204" pitchFamily="34" charset="0"/>
              <a:cs typeface="Open Sans" panose="020B0606030504020204" pitchFamily="34" charset="0"/>
            </a:endParaRPr>
          </a:p>
          <a:p>
            <a:pPr marL="0" lvl="1">
              <a:lnSpc>
                <a:spcPct val="150000"/>
              </a:lnSpc>
              <a:buClr>
                <a:srgbClr val="000000"/>
              </a:buClr>
              <a:buSzPct val="100000"/>
            </a:pPr>
            <a:endParaRPr lang="nl-NL" i="1" dirty="0">
              <a:solidFill>
                <a:srgbClr val="000000"/>
              </a:solidFill>
              <a:highlight>
                <a:srgbClr val="90D5AC"/>
              </a:highlight>
              <a:latin typeface="Open Sans" panose="020B0606030504020204" pitchFamily="34" charset="0"/>
              <a:ea typeface="Open Sans" panose="020B0606030504020204" pitchFamily="34" charset="0"/>
              <a:cs typeface="Open Sans" panose="020B0606030504020204" pitchFamily="34" charset="0"/>
            </a:endParaRPr>
          </a:p>
          <a:p>
            <a:pPr marL="0" lvl="1">
              <a:lnSpc>
                <a:spcPct val="150000"/>
              </a:lnSpc>
              <a:buClr>
                <a:srgbClr val="000000"/>
              </a:buClr>
              <a:buSzPct val="100000"/>
            </a:pPr>
            <a:r>
              <a:rPr lang="nl-NL" i="1" dirty="0">
                <a:solidFill>
                  <a:srgbClr val="000000"/>
                </a:solidFill>
                <a:highlight>
                  <a:srgbClr val="90D5AC"/>
                </a:highlight>
                <a:latin typeface="Open Sans" panose="020B0606030504020204" pitchFamily="34" charset="0"/>
                <a:ea typeface="Open Sans" panose="020B0606030504020204" pitchFamily="34" charset="0"/>
                <a:cs typeface="Open Sans" panose="020B0606030504020204" pitchFamily="34" charset="0"/>
              </a:rPr>
              <a:t>Bedankt!</a:t>
            </a:r>
          </a:p>
          <a:p>
            <a:pPr marL="0" lvl="1">
              <a:lnSpc>
                <a:spcPct val="150000"/>
              </a:lnSpc>
              <a:buClr>
                <a:srgbClr val="000000"/>
              </a:buClr>
              <a:buSzPct val="100000"/>
            </a:pPr>
            <a:endParaRPr lang="nl-NL" i="1" dirty="0">
              <a:solidFill>
                <a:srgbClr val="000000"/>
              </a:solidFill>
              <a:latin typeface="Open Sans" panose="020B0606030504020204" pitchFamily="34" charset="0"/>
              <a:ea typeface="Open Sans" panose="020B0606030504020204" pitchFamily="34" charset="0"/>
              <a:cs typeface="Open Sans" panose="020B0606030504020204" pitchFamily="34" charset="0"/>
            </a:endParaRPr>
          </a:p>
        </p:txBody>
      </p:sp>
      <p:sp>
        <p:nvSpPr>
          <p:cNvPr id="9" name="Paginanummer Seinpost">
            <a:extLst>
              <a:ext uri="{FF2B5EF4-FFF2-40B4-BE49-F238E27FC236}">
                <a16:creationId xmlns:a16="http://schemas.microsoft.com/office/drawing/2014/main" id="{B607D7F7-578B-46DB-9EF4-210357D470C5}"/>
              </a:ext>
            </a:extLst>
          </p:cNvPr>
          <p:cNvSpPr txBox="1">
            <a:spLocks/>
          </p:cNvSpPr>
          <p:nvPr>
            <p:custDataLst>
              <p:tags r:id="rId3"/>
            </p:custDataLst>
          </p:nvPr>
        </p:nvSpPr>
        <p:spPr>
          <a:xfrm>
            <a:off x="11628018" y="252000"/>
            <a:ext cx="381601" cy="244800"/>
          </a:xfrm>
          <a:prstGeom prst="rect">
            <a:avLst/>
          </a:prstGeom>
          <a:noFill/>
        </p:spPr>
        <p:txBody>
          <a:bodyPr vert="horz" lIns="0" tIns="0" rIns="0" bIns="0" rtlCol="0" anchor="t">
            <a:noAutofit/>
          </a:bodyPr>
          <a:lstStyle/>
          <a:p>
            <a:pPr algn="ctr"/>
            <a:r>
              <a:rPr lang="nl-NL" sz="1000" b="1">
                <a:solidFill>
                  <a:srgbClr val="62366E"/>
                </a:solidFill>
                <a:latin typeface="Open Sans" panose="020B0606030504020204" pitchFamily="34" charset="0"/>
              </a:rPr>
              <a:t>24</a:t>
            </a:r>
          </a:p>
        </p:txBody>
      </p:sp>
      <p:pic>
        <p:nvPicPr>
          <p:cNvPr id="11" name="Paginanummer Seinpost">
            <a:extLst>
              <a:ext uri="{FF2B5EF4-FFF2-40B4-BE49-F238E27FC236}">
                <a16:creationId xmlns:a16="http://schemas.microsoft.com/office/drawing/2014/main" id="{B2A8B195-D46E-46B8-B6FE-1AD5DFA26E10}"/>
              </a:ext>
            </a:extLst>
          </p:cNvPr>
          <p:cNvPicPr>
            <a:picLocks noChangeAspect="1"/>
          </p:cNvPicPr>
          <p:nvPr>
            <p:custDataLst>
              <p:tags r:id="rId4"/>
            </p:custDataLst>
          </p:nvPr>
        </p:nvPicPr>
        <p:blipFill>
          <a:blip r:embed="rId8">
            <a:extLst>
              <a:ext uri="{28A0092B-C50C-407E-A947-70E740481C1C}">
                <a14:useLocalDpi xmlns:a14="http://schemas.microsoft.com/office/drawing/2010/main" val="0"/>
              </a:ext>
            </a:extLst>
          </a:blip>
          <a:stretch>
            <a:fillRect/>
          </a:stretch>
        </p:blipFill>
        <p:spPr>
          <a:xfrm>
            <a:off x="11674818" y="172800"/>
            <a:ext cx="298705" cy="289561"/>
          </a:xfrm>
          <a:prstGeom prst="rect">
            <a:avLst/>
          </a:prstGeom>
        </p:spPr>
      </p:pic>
      <p:sp>
        <p:nvSpPr>
          <p:cNvPr id="12" name="Paginanummer Seinpost">
            <a:extLst>
              <a:ext uri="{FF2B5EF4-FFF2-40B4-BE49-F238E27FC236}">
                <a16:creationId xmlns:a16="http://schemas.microsoft.com/office/drawing/2014/main" id="{3EB5DED7-FCE2-4D58-A07E-220C12331C41}"/>
              </a:ext>
            </a:extLst>
          </p:cNvPr>
          <p:cNvSpPr txBox="1">
            <a:spLocks/>
          </p:cNvSpPr>
          <p:nvPr>
            <p:custDataLst>
              <p:tags r:id="rId5"/>
            </p:custDataLst>
          </p:nvPr>
        </p:nvSpPr>
        <p:spPr>
          <a:xfrm>
            <a:off x="11628018" y="252000"/>
            <a:ext cx="381601" cy="244800"/>
          </a:xfrm>
          <a:prstGeom prst="rect">
            <a:avLst/>
          </a:prstGeom>
          <a:noFill/>
        </p:spPr>
        <p:txBody>
          <a:bodyPr vert="horz" lIns="0" tIns="0" rIns="0" bIns="0" rtlCol="0" anchor="t">
            <a:noAutofit/>
          </a:bodyPr>
          <a:lstStyle/>
          <a:p>
            <a:pPr algn="ctr"/>
            <a:r>
              <a:rPr lang="nl-NL" sz="1000" b="1">
                <a:solidFill>
                  <a:srgbClr val="62366E"/>
                </a:solidFill>
                <a:latin typeface="Open Sans" panose="020B0606030504020204" pitchFamily="34" charset="0"/>
              </a:rPr>
              <a:t>24</a:t>
            </a:r>
          </a:p>
        </p:txBody>
      </p:sp>
    </p:spTree>
    <p:extLst>
      <p:ext uri="{BB962C8B-B14F-4D97-AF65-F5344CB8AC3E}">
        <p14:creationId xmlns:p14="http://schemas.microsoft.com/office/powerpoint/2010/main" val="399558497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Vorm-1-Seinpost-C-T-P2">
            <a:extLst>
              <a:ext uri="{FF2B5EF4-FFF2-40B4-BE49-F238E27FC236}">
                <a16:creationId xmlns:a16="http://schemas.microsoft.com/office/drawing/2014/main" id="{BA55D019-1001-4429-97E3-096ED8F65CD1}"/>
              </a:ext>
            </a:extLst>
          </p:cNvPr>
          <p:cNvPicPr>
            <a:picLocks noChangeAspect="1"/>
          </p:cNvPicPr>
          <p:nvPr>
            <p:custDataLst>
              <p:tags r:id="rId1"/>
            </p:custDataLst>
          </p:nvPr>
        </p:nvPicPr>
        <p:blipFill>
          <a:blip r:embed="rId10">
            <a:extLst>
              <a:ext uri="{28A0092B-C50C-407E-A947-70E740481C1C}">
                <a14:useLocalDpi xmlns:a14="http://schemas.microsoft.com/office/drawing/2010/main" val="0"/>
              </a:ext>
            </a:extLst>
          </a:blip>
          <a:stretch>
            <a:fillRect/>
          </a:stretch>
        </p:blipFill>
        <p:spPr>
          <a:xfrm>
            <a:off x="0" y="1"/>
            <a:ext cx="11491217" cy="6138809"/>
          </a:xfrm>
          <a:prstGeom prst="rect">
            <a:avLst/>
          </a:prstGeom>
        </p:spPr>
      </p:pic>
      <p:pic>
        <p:nvPicPr>
          <p:cNvPr id="3" name="Logo Seinpost">
            <a:extLst>
              <a:ext uri="{FF2B5EF4-FFF2-40B4-BE49-F238E27FC236}">
                <a16:creationId xmlns:a16="http://schemas.microsoft.com/office/drawing/2014/main" id="{9DD19C8A-4317-4E45-B3A9-F09D5C25ED84}"/>
              </a:ext>
            </a:extLst>
          </p:cNvPr>
          <p:cNvPicPr>
            <a:picLocks noChangeAspect="1"/>
          </p:cNvPicPr>
          <p:nvPr>
            <p:custDataLst>
              <p:tags r:id="rId2"/>
            </p:custDataLst>
          </p:nvPr>
        </p:nvPicPr>
        <p:blipFill>
          <a:blip r:embed="rId11">
            <a:extLst>
              <a:ext uri="{28A0092B-C50C-407E-A947-70E740481C1C}">
                <a14:useLocalDpi xmlns:a14="http://schemas.microsoft.com/office/drawing/2010/main" val="0"/>
              </a:ext>
            </a:extLst>
          </a:blip>
          <a:stretch>
            <a:fillRect/>
          </a:stretch>
        </p:blipFill>
        <p:spPr>
          <a:xfrm>
            <a:off x="9612016" y="5245208"/>
            <a:ext cx="2127603" cy="1173534"/>
          </a:xfrm>
          <a:prstGeom prst="rect">
            <a:avLst/>
          </a:prstGeom>
        </p:spPr>
      </p:pic>
      <p:pic>
        <p:nvPicPr>
          <p:cNvPr id="5" name="Strepen">
            <a:extLst>
              <a:ext uri="{FF2B5EF4-FFF2-40B4-BE49-F238E27FC236}">
                <a16:creationId xmlns:a16="http://schemas.microsoft.com/office/drawing/2014/main" id="{0210AF7F-AB24-4B47-8508-2548839FAACD}"/>
              </a:ext>
            </a:extLst>
          </p:cNvPr>
          <p:cNvPicPr>
            <a:picLocks noChangeAspect="1"/>
          </p:cNvPicPr>
          <p:nvPr>
            <p:custDataLst>
              <p:tags r:id="rId3"/>
            </p:custDataLst>
          </p:nvPr>
        </p:nvPicPr>
        <p:blipFill>
          <a:blip r:embed="rId12">
            <a:extLst>
              <a:ext uri="{28A0092B-C50C-407E-A947-70E740481C1C}">
                <a14:useLocalDpi xmlns:a14="http://schemas.microsoft.com/office/drawing/2010/main" val="0"/>
              </a:ext>
            </a:extLst>
          </a:blip>
          <a:stretch>
            <a:fillRect/>
          </a:stretch>
        </p:blipFill>
        <p:spPr>
          <a:xfrm>
            <a:off x="720001" y="-2844005"/>
            <a:ext cx="11012417" cy="6858874"/>
          </a:xfrm>
          <a:prstGeom prst="rect">
            <a:avLst/>
          </a:prstGeom>
        </p:spPr>
      </p:pic>
      <p:pic>
        <p:nvPicPr>
          <p:cNvPr id="21" name="Vorm-4-Seinpost-A-T-P1">
            <a:extLst>
              <a:ext uri="{FF2B5EF4-FFF2-40B4-BE49-F238E27FC236}">
                <a16:creationId xmlns:a16="http://schemas.microsoft.com/office/drawing/2014/main" id="{6970D249-6A75-4239-B4A1-194AD1E2652E}"/>
              </a:ext>
            </a:extLst>
          </p:cNvPr>
          <p:cNvPicPr>
            <a:picLocks noChangeAspect="1"/>
          </p:cNvPicPr>
          <p:nvPr>
            <p:custDataLst>
              <p:tags r:id="rId4"/>
            </p:custDataLst>
          </p:nvPr>
        </p:nvPicPr>
        <p:blipFill>
          <a:blip r:embed="rId13">
            <a:extLst>
              <a:ext uri="{28A0092B-C50C-407E-A947-70E740481C1C}">
                <a14:useLocalDpi xmlns:a14="http://schemas.microsoft.com/office/drawing/2010/main" val="0"/>
              </a:ext>
            </a:extLst>
          </a:blip>
          <a:stretch>
            <a:fillRect/>
          </a:stretch>
        </p:blipFill>
        <p:spPr>
          <a:xfrm>
            <a:off x="0" y="5119207"/>
            <a:ext cx="7516812" cy="1377778"/>
          </a:xfrm>
          <a:prstGeom prst="rect">
            <a:avLst/>
          </a:prstGeom>
        </p:spPr>
      </p:pic>
      <p:sp>
        <p:nvSpPr>
          <p:cNvPr id="11" name="Auteurs">
            <a:extLst>
              <a:ext uri="{FF2B5EF4-FFF2-40B4-BE49-F238E27FC236}">
                <a16:creationId xmlns:a16="http://schemas.microsoft.com/office/drawing/2014/main" id="{166CD4AE-E987-4769-937F-E1CD0F29B34E}"/>
              </a:ext>
            </a:extLst>
          </p:cNvPr>
          <p:cNvSpPr txBox="1"/>
          <p:nvPr>
            <p:custDataLst>
              <p:tags r:id="rId5"/>
            </p:custDataLst>
          </p:nvPr>
        </p:nvSpPr>
        <p:spPr>
          <a:xfrm>
            <a:off x="4968008" y="5504409"/>
            <a:ext cx="1728003" cy="1008002"/>
          </a:xfrm>
          <a:prstGeom prst="rect">
            <a:avLst/>
          </a:prstGeom>
          <a:noFill/>
        </p:spPr>
        <p:txBody>
          <a:bodyPr vert="horz" lIns="0" tIns="0" rIns="0" bIns="0" rtlCol="0" anchor="t">
            <a:noAutofit/>
          </a:bodyPr>
          <a:lstStyle/>
          <a:p>
            <a:pPr>
              <a:lnSpc>
                <a:spcPts val="1800"/>
              </a:lnSpc>
            </a:pPr>
            <a:r>
              <a:rPr lang="nl-NL" sz="1200">
                <a:solidFill>
                  <a:srgbClr val="FFFFFF"/>
                </a:solidFill>
                <a:latin typeface="Open Sans Light" panose="020B0306030504020204" pitchFamily="34" charset="0"/>
              </a:rPr>
              <a:t> </a:t>
            </a:r>
          </a:p>
          <a:p>
            <a:pPr>
              <a:lnSpc>
                <a:spcPts val="1800"/>
              </a:lnSpc>
            </a:pPr>
            <a:r>
              <a:rPr lang="nl-NL" sz="1200">
                <a:solidFill>
                  <a:srgbClr val="FFFFFF"/>
                </a:solidFill>
                <a:latin typeface="Open Sans Light" panose="020B0306030504020204" pitchFamily="34" charset="0"/>
              </a:rPr>
              <a:t> </a:t>
            </a:r>
          </a:p>
          <a:p>
            <a:pPr>
              <a:lnSpc>
                <a:spcPts val="1800"/>
              </a:lnSpc>
            </a:pPr>
            <a:r>
              <a:rPr lang="nl-NL" sz="1200">
                <a:solidFill>
                  <a:srgbClr val="FFFFFF"/>
                </a:solidFill>
                <a:latin typeface="Open Sans Light" panose="020B0306030504020204" pitchFamily="34" charset="0"/>
              </a:rPr>
              <a:t> </a:t>
            </a:r>
          </a:p>
          <a:p>
            <a:pPr>
              <a:lnSpc>
                <a:spcPts val="1800"/>
              </a:lnSpc>
            </a:pPr>
            <a:r>
              <a:rPr lang="nl-NL" sz="1200">
                <a:solidFill>
                  <a:srgbClr val="FFFFFF"/>
                </a:solidFill>
                <a:latin typeface="Open Sans Light" panose="020B0306030504020204" pitchFamily="34" charset="0"/>
              </a:rPr>
              <a:t> </a:t>
            </a:r>
          </a:p>
          <a:p>
            <a:pPr>
              <a:lnSpc>
                <a:spcPts val="1800"/>
              </a:lnSpc>
            </a:pPr>
            <a:endParaRPr lang="nl-NL" sz="1200">
              <a:solidFill>
                <a:srgbClr val="FFFFFF"/>
              </a:solidFill>
              <a:latin typeface="Open Sans Light" panose="020B0306030504020204" pitchFamily="34" charset="0"/>
            </a:endParaRPr>
          </a:p>
        </p:txBody>
      </p:sp>
      <p:sp>
        <p:nvSpPr>
          <p:cNvPr id="6" name="Naambedrijf">
            <a:extLst>
              <a:ext uri="{FF2B5EF4-FFF2-40B4-BE49-F238E27FC236}">
                <a16:creationId xmlns:a16="http://schemas.microsoft.com/office/drawing/2014/main" id="{0B3E1ABE-7061-4A9D-B120-9DFA1E8D5A9F}"/>
              </a:ext>
            </a:extLst>
          </p:cNvPr>
          <p:cNvSpPr txBox="1"/>
          <p:nvPr>
            <p:custDataLst>
              <p:tags r:id="rId6"/>
            </p:custDataLst>
          </p:nvPr>
        </p:nvSpPr>
        <p:spPr>
          <a:xfrm>
            <a:off x="810001" y="5504409"/>
            <a:ext cx="2394004" cy="234000"/>
          </a:xfrm>
          <a:prstGeom prst="rect">
            <a:avLst/>
          </a:prstGeom>
          <a:noFill/>
        </p:spPr>
        <p:txBody>
          <a:bodyPr vert="horz" lIns="0" tIns="0" rIns="0" bIns="0" rtlCol="0" anchor="t">
            <a:noAutofit/>
          </a:bodyPr>
          <a:lstStyle/>
          <a:p>
            <a:pPr>
              <a:lnSpc>
                <a:spcPts val="1800"/>
              </a:lnSpc>
            </a:pPr>
            <a:r>
              <a:rPr lang="nl-NL" sz="1200" b="1">
                <a:solidFill>
                  <a:srgbClr val="FFFFFF"/>
                </a:solidFill>
                <a:latin typeface="Open Sans Light" panose="020B0306030504020204" pitchFamily="34" charset="0"/>
              </a:rPr>
              <a:t>SEINPOST ADVIESBUREAU B.V.</a:t>
            </a:r>
          </a:p>
        </p:txBody>
      </p:sp>
      <p:sp>
        <p:nvSpPr>
          <p:cNvPr id="7" name="Adres1">
            <a:extLst>
              <a:ext uri="{FF2B5EF4-FFF2-40B4-BE49-F238E27FC236}">
                <a16:creationId xmlns:a16="http://schemas.microsoft.com/office/drawing/2014/main" id="{8035F062-57A8-44D6-94FE-4F7D7E19FCCA}"/>
              </a:ext>
            </a:extLst>
          </p:cNvPr>
          <p:cNvSpPr txBox="1"/>
          <p:nvPr>
            <p:custDataLst>
              <p:tags r:id="rId7"/>
            </p:custDataLst>
          </p:nvPr>
        </p:nvSpPr>
        <p:spPr>
          <a:xfrm>
            <a:off x="810001" y="5727609"/>
            <a:ext cx="2394004" cy="540001"/>
          </a:xfrm>
          <a:prstGeom prst="rect">
            <a:avLst/>
          </a:prstGeom>
          <a:noFill/>
        </p:spPr>
        <p:txBody>
          <a:bodyPr vert="horz" lIns="0" tIns="0" rIns="0" bIns="0" rtlCol="0" anchor="t">
            <a:noAutofit/>
          </a:bodyPr>
          <a:lstStyle/>
          <a:p>
            <a:pPr>
              <a:lnSpc>
                <a:spcPts val="1800"/>
              </a:lnSpc>
            </a:pPr>
            <a:r>
              <a:rPr lang="nl-NL" sz="1200">
                <a:solidFill>
                  <a:srgbClr val="FFFFFF"/>
                </a:solidFill>
                <a:latin typeface="Open Sans Light" panose="020B0306030504020204" pitchFamily="34" charset="0"/>
              </a:rPr>
              <a:t>Brugstraat 1A</a:t>
            </a:r>
          </a:p>
          <a:p>
            <a:pPr>
              <a:lnSpc>
                <a:spcPts val="1800"/>
              </a:lnSpc>
            </a:pPr>
            <a:r>
              <a:rPr lang="nl-NL" sz="1200">
                <a:solidFill>
                  <a:srgbClr val="FFFFFF"/>
                </a:solidFill>
                <a:latin typeface="Open Sans Light" panose="020B0306030504020204" pitchFamily="34" charset="0"/>
              </a:rPr>
              <a:t>5211 VS 's Hertogenbosch</a:t>
            </a:r>
          </a:p>
        </p:txBody>
      </p:sp>
      <p:sp>
        <p:nvSpPr>
          <p:cNvPr id="8" name="Adres2">
            <a:extLst>
              <a:ext uri="{FF2B5EF4-FFF2-40B4-BE49-F238E27FC236}">
                <a16:creationId xmlns:a16="http://schemas.microsoft.com/office/drawing/2014/main" id="{5CDAEB42-ACAE-4B4C-BF1C-F5E1D0D7CAF4}"/>
              </a:ext>
            </a:extLst>
          </p:cNvPr>
          <p:cNvSpPr txBox="1"/>
          <p:nvPr>
            <p:custDataLst>
              <p:tags r:id="rId8"/>
            </p:custDataLst>
          </p:nvPr>
        </p:nvSpPr>
        <p:spPr>
          <a:xfrm>
            <a:off x="3204005" y="5504409"/>
            <a:ext cx="1728003" cy="774001"/>
          </a:xfrm>
          <a:prstGeom prst="rect">
            <a:avLst/>
          </a:prstGeom>
          <a:noFill/>
        </p:spPr>
        <p:txBody>
          <a:bodyPr vert="horz" lIns="0" tIns="0" rIns="0" bIns="0" rtlCol="0" anchor="t">
            <a:noAutofit/>
          </a:bodyPr>
          <a:lstStyle/>
          <a:p>
            <a:pPr>
              <a:lnSpc>
                <a:spcPts val="1800"/>
              </a:lnSpc>
            </a:pPr>
            <a:r>
              <a:rPr lang="nl-NL" sz="1200">
                <a:solidFill>
                  <a:srgbClr val="FFFFFF"/>
                </a:solidFill>
                <a:latin typeface="Open Sans Light" panose="020B0306030504020204" pitchFamily="34" charset="0"/>
              </a:rPr>
              <a:t>088 - 210 02 00</a:t>
            </a:r>
          </a:p>
          <a:p>
            <a:pPr>
              <a:lnSpc>
                <a:spcPts val="1800"/>
              </a:lnSpc>
            </a:pPr>
            <a:r>
              <a:rPr lang="nl-NL" sz="1200">
                <a:solidFill>
                  <a:srgbClr val="FFFFFF"/>
                </a:solidFill>
                <a:latin typeface="Open Sans Light" panose="020B0306030504020204" pitchFamily="34" charset="0"/>
              </a:rPr>
              <a:t>info@seinpost.com</a:t>
            </a:r>
          </a:p>
          <a:p>
            <a:pPr>
              <a:lnSpc>
                <a:spcPts val="1800"/>
              </a:lnSpc>
            </a:pPr>
            <a:r>
              <a:rPr lang="nl-NL" sz="1200">
                <a:solidFill>
                  <a:srgbClr val="FFFFFF"/>
                </a:solidFill>
                <a:latin typeface="Open Sans Light" panose="020B0306030504020204" pitchFamily="34" charset="0"/>
              </a:rPr>
              <a:t>www.seinpost.com</a:t>
            </a:r>
          </a:p>
        </p:txBody>
      </p:sp>
    </p:spTree>
    <p:extLst>
      <p:ext uri="{BB962C8B-B14F-4D97-AF65-F5344CB8AC3E}">
        <p14:creationId xmlns:p14="http://schemas.microsoft.com/office/powerpoint/2010/main" val="140782924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Paragraaf titel hoog">
            <a:extLst>
              <a:ext uri="{FF2B5EF4-FFF2-40B4-BE49-F238E27FC236}">
                <a16:creationId xmlns:a16="http://schemas.microsoft.com/office/drawing/2014/main" id="{6B43B392-8647-4A23-86D9-F3D342C4D613}"/>
              </a:ext>
            </a:extLst>
          </p:cNvPr>
          <p:cNvSpPr txBox="1"/>
          <p:nvPr>
            <p:custDataLst>
              <p:tags r:id="rId1"/>
            </p:custDataLst>
          </p:nvPr>
        </p:nvSpPr>
        <p:spPr>
          <a:xfrm>
            <a:off x="1080001" y="489049"/>
            <a:ext cx="9554131" cy="432001"/>
          </a:xfrm>
          <a:prstGeom prst="rect">
            <a:avLst/>
          </a:prstGeom>
          <a:noFill/>
        </p:spPr>
        <p:txBody>
          <a:bodyPr vert="horz" lIns="0" tIns="0" rIns="0" bIns="0" rtlCol="0" anchor="t">
            <a:noAutofit/>
          </a:bodyPr>
          <a:lstStyle/>
          <a:p>
            <a:pPr>
              <a:lnSpc>
                <a:spcPts val="3200"/>
              </a:lnSpc>
            </a:pPr>
            <a:r>
              <a:rPr lang="nl-NL" sz="3000" b="1">
                <a:solidFill>
                  <a:srgbClr val="62366E"/>
                </a:solidFill>
                <a:latin typeface="Open Sans" panose="020B0606030504020204" pitchFamily="34" charset="0"/>
              </a:rPr>
              <a:t>Aanleiding &amp; doel visie </a:t>
            </a:r>
            <a:endParaRPr lang="nl-NL" sz="2400" b="1">
              <a:solidFill>
                <a:srgbClr val="62366E"/>
              </a:solidFill>
              <a:latin typeface="Open Sans" panose="020B0606030504020204" pitchFamily="34" charset="0"/>
            </a:endParaRPr>
          </a:p>
          <a:p>
            <a:pPr>
              <a:lnSpc>
                <a:spcPts val="3200"/>
              </a:lnSpc>
            </a:pPr>
            <a:endParaRPr lang="nl-NL" sz="2400" b="1">
              <a:solidFill>
                <a:srgbClr val="62366E"/>
              </a:solidFill>
              <a:latin typeface="Open Sans" panose="020B0606030504020204" pitchFamily="34" charset="0"/>
            </a:endParaRPr>
          </a:p>
        </p:txBody>
      </p:sp>
      <p:sp>
        <p:nvSpPr>
          <p:cNvPr id="7" name="2 Kolommen breed">
            <a:extLst>
              <a:ext uri="{FF2B5EF4-FFF2-40B4-BE49-F238E27FC236}">
                <a16:creationId xmlns:a16="http://schemas.microsoft.com/office/drawing/2014/main" id="{A511592C-D71A-46BC-B8F7-B3DDAC3CBE08}"/>
              </a:ext>
            </a:extLst>
          </p:cNvPr>
          <p:cNvSpPr txBox="1"/>
          <p:nvPr>
            <p:custDataLst>
              <p:tags r:id="rId2"/>
            </p:custDataLst>
          </p:nvPr>
        </p:nvSpPr>
        <p:spPr>
          <a:xfrm>
            <a:off x="1080001" y="1666875"/>
            <a:ext cx="5805541" cy="4476750"/>
          </a:xfrm>
          <a:prstGeom prst="rect">
            <a:avLst/>
          </a:prstGeom>
          <a:noFill/>
        </p:spPr>
        <p:txBody>
          <a:bodyPr vert="horz" lIns="0" tIns="0" rIns="0" bIns="0" rtlCol="0" anchor="t">
            <a:noAutofit/>
          </a:bodyPr>
          <a:lstStyle/>
          <a:p>
            <a:pPr marL="342900" lvl="0" indent="-342900">
              <a:buFont typeface="Arial" panose="020B0604020202020204" pitchFamily="34" charset="0"/>
              <a:buChar char="•"/>
            </a:pPr>
            <a:r>
              <a:rPr lang="nl-NL" dirty="0">
                <a:solidFill>
                  <a:srgbClr val="000000"/>
                </a:solidFill>
                <a:latin typeface="Open Sans" panose="020B0606030504020204" pitchFamily="34" charset="0"/>
                <a:ea typeface="Open Sans" panose="020B0606030504020204" pitchFamily="34" charset="0"/>
                <a:cs typeface="Open Sans" panose="020B0606030504020204" pitchFamily="34" charset="0"/>
              </a:rPr>
              <a:t>Allereerst: de vernieuwde Hamershof is mooi geworden! </a:t>
            </a:r>
          </a:p>
          <a:p>
            <a:pPr lvl="0"/>
            <a:endParaRPr lang="nl-NL" dirty="0">
              <a:solidFill>
                <a:srgbClr val="000000"/>
              </a:solidFill>
              <a:latin typeface="Open Sans" panose="020B0606030504020204" pitchFamily="34" charset="0"/>
              <a:ea typeface="Open Sans" panose="020B0606030504020204" pitchFamily="34" charset="0"/>
              <a:cs typeface="Open Sans" panose="020B0606030504020204" pitchFamily="34" charset="0"/>
            </a:endParaRPr>
          </a:p>
          <a:p>
            <a:pPr marL="342900" lvl="0" indent="-342900">
              <a:buFont typeface="Arial" panose="020B0604020202020204" pitchFamily="34" charset="0"/>
              <a:buChar char="•"/>
            </a:pPr>
            <a:endParaRPr lang="nl-NL" dirty="0">
              <a:solidFill>
                <a:srgbClr val="000000"/>
              </a:solidFill>
              <a:latin typeface="Open Sans" panose="020B0606030504020204" pitchFamily="34" charset="0"/>
              <a:ea typeface="Open Sans" panose="020B0606030504020204" pitchFamily="34" charset="0"/>
              <a:cs typeface="Open Sans" panose="020B0606030504020204" pitchFamily="34" charset="0"/>
            </a:endParaRPr>
          </a:p>
          <a:p>
            <a:pPr marL="342900" lvl="0" indent="-342900">
              <a:buFont typeface="Arial" panose="020B0604020202020204" pitchFamily="34" charset="0"/>
              <a:buChar char="•"/>
            </a:pPr>
            <a:r>
              <a:rPr lang="nl-NL" dirty="0">
                <a:solidFill>
                  <a:srgbClr val="000000"/>
                </a:solidFill>
                <a:latin typeface="Open Sans" panose="020B0606030504020204" pitchFamily="34" charset="0"/>
                <a:ea typeface="Open Sans" panose="020B0606030504020204" pitchFamily="34" charset="0"/>
                <a:cs typeface="Open Sans" panose="020B0606030504020204" pitchFamily="34" charset="0"/>
              </a:rPr>
              <a:t>Maar, het winkellandschap verandert snel en structureel… In deze tijd is meer nodig. Met alléén vernieuwingen in de openbare ruimte komen we er niet.. Stilstand is immers achteruitgang! </a:t>
            </a:r>
          </a:p>
          <a:p>
            <a:pPr marL="342900" lvl="0" indent="-342900">
              <a:buFont typeface="Arial" panose="020B0604020202020204" pitchFamily="34" charset="0"/>
              <a:buChar char="•"/>
            </a:pPr>
            <a:endParaRPr lang="nl-NL" dirty="0">
              <a:solidFill>
                <a:srgbClr val="000000"/>
              </a:solidFill>
              <a:latin typeface="Open Sans" panose="020B0606030504020204" pitchFamily="34" charset="0"/>
              <a:ea typeface="Open Sans" panose="020B0606030504020204" pitchFamily="34" charset="0"/>
              <a:cs typeface="Open Sans" panose="020B0606030504020204" pitchFamily="34" charset="0"/>
            </a:endParaRPr>
          </a:p>
          <a:p>
            <a:pPr lvl="0"/>
            <a:endParaRPr lang="nl-NL" dirty="0">
              <a:solidFill>
                <a:srgbClr val="000000"/>
              </a:solidFill>
              <a:latin typeface="Open Sans" panose="020B0606030504020204" pitchFamily="34" charset="0"/>
              <a:ea typeface="Open Sans" panose="020B0606030504020204" pitchFamily="34" charset="0"/>
              <a:cs typeface="Open Sans" panose="020B0606030504020204" pitchFamily="34" charset="0"/>
            </a:endParaRPr>
          </a:p>
          <a:p>
            <a:pPr marL="342900" lvl="0" indent="-342900">
              <a:buFont typeface="Arial" panose="020B0604020202020204" pitchFamily="34" charset="0"/>
              <a:buChar char="•"/>
            </a:pPr>
            <a:r>
              <a:rPr lang="nl-NL" dirty="0">
                <a:solidFill>
                  <a:srgbClr val="000000"/>
                </a:solidFill>
                <a:latin typeface="Open Sans" panose="020B0606030504020204" pitchFamily="34" charset="0"/>
                <a:ea typeface="Open Sans" panose="020B0606030504020204" pitchFamily="34" charset="0"/>
                <a:cs typeface="Open Sans" panose="020B0606030504020204" pitchFamily="34" charset="0"/>
              </a:rPr>
              <a:t>De Hamershof moet toekomstbestendig zijn en blijven. Dit is zowel in het belang van ondernemers, vastgoedeigenaren, de gemeente en bewoners!  </a:t>
            </a:r>
          </a:p>
          <a:p>
            <a:pPr marL="342900" lvl="0" indent="-342900">
              <a:buFont typeface="Arial" panose="020B0604020202020204" pitchFamily="34" charset="0"/>
              <a:buChar char="•"/>
            </a:pPr>
            <a:endParaRPr lang="nl-NL" dirty="0">
              <a:solidFill>
                <a:srgbClr val="000000"/>
              </a:solidFill>
              <a:latin typeface="Open Sans" panose="020B0606030504020204" pitchFamily="34" charset="0"/>
              <a:ea typeface="Open Sans" panose="020B0606030504020204" pitchFamily="34" charset="0"/>
              <a:cs typeface="Open Sans" panose="020B0606030504020204" pitchFamily="34" charset="0"/>
            </a:endParaRPr>
          </a:p>
          <a:p>
            <a:pPr marL="342900" lvl="0" indent="-342900">
              <a:buFont typeface="Arial" panose="020B0604020202020204" pitchFamily="34" charset="0"/>
              <a:buChar char="•"/>
            </a:pPr>
            <a:endParaRPr lang="nl-NL" dirty="0">
              <a:solidFill>
                <a:srgbClr val="000000"/>
              </a:solidFill>
              <a:latin typeface="Open Sans" panose="020B0606030504020204" pitchFamily="34" charset="0"/>
              <a:ea typeface="Open Sans" panose="020B0606030504020204" pitchFamily="34" charset="0"/>
              <a:cs typeface="Open Sans" panose="020B0606030504020204" pitchFamily="34" charset="0"/>
            </a:endParaRPr>
          </a:p>
          <a:p>
            <a:pPr lvl="0"/>
            <a:endParaRPr lang="nl-NL" dirty="0">
              <a:solidFill>
                <a:srgbClr val="000000"/>
              </a:solidFill>
              <a:latin typeface="Open Sans" panose="020B0606030504020204" pitchFamily="34" charset="0"/>
              <a:ea typeface="Open Sans" panose="020B0606030504020204" pitchFamily="34" charset="0"/>
              <a:cs typeface="Open Sans" panose="020B0606030504020204" pitchFamily="34" charset="0"/>
            </a:endParaRPr>
          </a:p>
          <a:p>
            <a:pPr lvl="0"/>
            <a:endParaRPr lang="nl-NL" sz="1600" dirty="0">
              <a:solidFill>
                <a:srgbClr val="000000"/>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 name="Rechthoek 1">
            <a:extLst>
              <a:ext uri="{FF2B5EF4-FFF2-40B4-BE49-F238E27FC236}">
                <a16:creationId xmlns:a16="http://schemas.microsoft.com/office/drawing/2014/main" id="{F63C9C72-7F12-4453-A3EB-200E9580885B}"/>
              </a:ext>
            </a:extLst>
          </p:cNvPr>
          <p:cNvSpPr/>
          <p:nvPr/>
        </p:nvSpPr>
        <p:spPr>
          <a:xfrm>
            <a:off x="8129666" y="1666875"/>
            <a:ext cx="3259963" cy="3146227"/>
          </a:xfrm>
          <a:custGeom>
            <a:avLst/>
            <a:gdLst>
              <a:gd name="connsiteX0" fmla="*/ 0 w 3259963"/>
              <a:gd name="connsiteY0" fmla="*/ 0 h 3146227"/>
              <a:gd name="connsiteX1" fmla="*/ 586793 w 3259963"/>
              <a:gd name="connsiteY1" fmla="*/ 0 h 3146227"/>
              <a:gd name="connsiteX2" fmla="*/ 1173587 w 3259963"/>
              <a:gd name="connsiteY2" fmla="*/ 0 h 3146227"/>
              <a:gd name="connsiteX3" fmla="*/ 1825579 w 3259963"/>
              <a:gd name="connsiteY3" fmla="*/ 0 h 3146227"/>
              <a:gd name="connsiteX4" fmla="*/ 2542771 w 3259963"/>
              <a:gd name="connsiteY4" fmla="*/ 0 h 3146227"/>
              <a:gd name="connsiteX5" fmla="*/ 3259963 w 3259963"/>
              <a:gd name="connsiteY5" fmla="*/ 0 h 3146227"/>
              <a:gd name="connsiteX6" fmla="*/ 3259963 w 3259963"/>
              <a:gd name="connsiteY6" fmla="*/ 629245 h 3146227"/>
              <a:gd name="connsiteX7" fmla="*/ 3259963 w 3259963"/>
              <a:gd name="connsiteY7" fmla="*/ 1258491 h 3146227"/>
              <a:gd name="connsiteX8" fmla="*/ 3259963 w 3259963"/>
              <a:gd name="connsiteY8" fmla="*/ 1793349 h 3146227"/>
              <a:gd name="connsiteX9" fmla="*/ 3259963 w 3259963"/>
              <a:gd name="connsiteY9" fmla="*/ 2328208 h 3146227"/>
              <a:gd name="connsiteX10" fmla="*/ 3259963 w 3259963"/>
              <a:gd name="connsiteY10" fmla="*/ 3146227 h 3146227"/>
              <a:gd name="connsiteX11" fmla="*/ 2575371 w 3259963"/>
              <a:gd name="connsiteY11" fmla="*/ 3146227 h 3146227"/>
              <a:gd name="connsiteX12" fmla="*/ 1955978 w 3259963"/>
              <a:gd name="connsiteY12" fmla="*/ 3146227 h 3146227"/>
              <a:gd name="connsiteX13" fmla="*/ 1271386 w 3259963"/>
              <a:gd name="connsiteY13" fmla="*/ 3146227 h 3146227"/>
              <a:gd name="connsiteX14" fmla="*/ 619393 w 3259963"/>
              <a:gd name="connsiteY14" fmla="*/ 3146227 h 3146227"/>
              <a:gd name="connsiteX15" fmla="*/ 0 w 3259963"/>
              <a:gd name="connsiteY15" fmla="*/ 3146227 h 3146227"/>
              <a:gd name="connsiteX16" fmla="*/ 0 w 3259963"/>
              <a:gd name="connsiteY16" fmla="*/ 2454057 h 3146227"/>
              <a:gd name="connsiteX17" fmla="*/ 0 w 3259963"/>
              <a:gd name="connsiteY17" fmla="*/ 1761887 h 3146227"/>
              <a:gd name="connsiteX18" fmla="*/ 0 w 3259963"/>
              <a:gd name="connsiteY18" fmla="*/ 1227029 h 3146227"/>
              <a:gd name="connsiteX19" fmla="*/ 0 w 3259963"/>
              <a:gd name="connsiteY19" fmla="*/ 597783 h 3146227"/>
              <a:gd name="connsiteX20" fmla="*/ 0 w 3259963"/>
              <a:gd name="connsiteY20" fmla="*/ 0 h 31462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259963" h="3146227" fill="none" extrusionOk="0">
                <a:moveTo>
                  <a:pt x="0" y="0"/>
                </a:moveTo>
                <a:cubicBezTo>
                  <a:pt x="247359" y="-13059"/>
                  <a:pt x="327372" y="8183"/>
                  <a:pt x="586793" y="0"/>
                </a:cubicBezTo>
                <a:cubicBezTo>
                  <a:pt x="846214" y="-8183"/>
                  <a:pt x="1000263" y="17014"/>
                  <a:pt x="1173587" y="0"/>
                </a:cubicBezTo>
                <a:cubicBezTo>
                  <a:pt x="1346911" y="-17014"/>
                  <a:pt x="1526460" y="18629"/>
                  <a:pt x="1825579" y="0"/>
                </a:cubicBezTo>
                <a:cubicBezTo>
                  <a:pt x="2124698" y="-18629"/>
                  <a:pt x="2296571" y="-16117"/>
                  <a:pt x="2542771" y="0"/>
                </a:cubicBezTo>
                <a:cubicBezTo>
                  <a:pt x="2788971" y="16117"/>
                  <a:pt x="3053737" y="-28605"/>
                  <a:pt x="3259963" y="0"/>
                </a:cubicBezTo>
                <a:cubicBezTo>
                  <a:pt x="3289708" y="253215"/>
                  <a:pt x="3276521" y="428278"/>
                  <a:pt x="3259963" y="629245"/>
                </a:cubicBezTo>
                <a:cubicBezTo>
                  <a:pt x="3243405" y="830212"/>
                  <a:pt x="3275648" y="970915"/>
                  <a:pt x="3259963" y="1258491"/>
                </a:cubicBezTo>
                <a:cubicBezTo>
                  <a:pt x="3244278" y="1546067"/>
                  <a:pt x="3266671" y="1571108"/>
                  <a:pt x="3259963" y="1793349"/>
                </a:cubicBezTo>
                <a:cubicBezTo>
                  <a:pt x="3253255" y="2015590"/>
                  <a:pt x="3283603" y="2095127"/>
                  <a:pt x="3259963" y="2328208"/>
                </a:cubicBezTo>
                <a:cubicBezTo>
                  <a:pt x="3236323" y="2561289"/>
                  <a:pt x="3234086" y="2738526"/>
                  <a:pt x="3259963" y="3146227"/>
                </a:cubicBezTo>
                <a:cubicBezTo>
                  <a:pt x="3109039" y="3142553"/>
                  <a:pt x="2791724" y="3155315"/>
                  <a:pt x="2575371" y="3146227"/>
                </a:cubicBezTo>
                <a:cubicBezTo>
                  <a:pt x="2359018" y="3137139"/>
                  <a:pt x="2097483" y="3122333"/>
                  <a:pt x="1955978" y="3146227"/>
                </a:cubicBezTo>
                <a:cubicBezTo>
                  <a:pt x="1814473" y="3170121"/>
                  <a:pt x="1443472" y="3155630"/>
                  <a:pt x="1271386" y="3146227"/>
                </a:cubicBezTo>
                <a:cubicBezTo>
                  <a:pt x="1099300" y="3136824"/>
                  <a:pt x="757228" y="3118468"/>
                  <a:pt x="619393" y="3146227"/>
                </a:cubicBezTo>
                <a:cubicBezTo>
                  <a:pt x="481558" y="3173986"/>
                  <a:pt x="198386" y="3153745"/>
                  <a:pt x="0" y="3146227"/>
                </a:cubicBezTo>
                <a:cubicBezTo>
                  <a:pt x="-14579" y="2922922"/>
                  <a:pt x="-4767" y="2611891"/>
                  <a:pt x="0" y="2454057"/>
                </a:cubicBezTo>
                <a:cubicBezTo>
                  <a:pt x="4767" y="2296223"/>
                  <a:pt x="-11982" y="1946025"/>
                  <a:pt x="0" y="1761887"/>
                </a:cubicBezTo>
                <a:cubicBezTo>
                  <a:pt x="11982" y="1577749"/>
                  <a:pt x="-20254" y="1438702"/>
                  <a:pt x="0" y="1227029"/>
                </a:cubicBezTo>
                <a:cubicBezTo>
                  <a:pt x="20254" y="1015356"/>
                  <a:pt x="-17835" y="885262"/>
                  <a:pt x="0" y="597783"/>
                </a:cubicBezTo>
                <a:cubicBezTo>
                  <a:pt x="17835" y="310304"/>
                  <a:pt x="-26547" y="188721"/>
                  <a:pt x="0" y="0"/>
                </a:cubicBezTo>
                <a:close/>
              </a:path>
              <a:path w="3259963" h="3146227" stroke="0" extrusionOk="0">
                <a:moveTo>
                  <a:pt x="0" y="0"/>
                </a:moveTo>
                <a:cubicBezTo>
                  <a:pt x="165235" y="-8290"/>
                  <a:pt x="517573" y="6974"/>
                  <a:pt x="717192" y="0"/>
                </a:cubicBezTo>
                <a:cubicBezTo>
                  <a:pt x="916811" y="-6974"/>
                  <a:pt x="1113839" y="22537"/>
                  <a:pt x="1369184" y="0"/>
                </a:cubicBezTo>
                <a:cubicBezTo>
                  <a:pt x="1624529" y="-22537"/>
                  <a:pt x="1801796" y="-17521"/>
                  <a:pt x="2021177" y="0"/>
                </a:cubicBezTo>
                <a:cubicBezTo>
                  <a:pt x="2240558" y="17521"/>
                  <a:pt x="2413092" y="-12910"/>
                  <a:pt x="2640570" y="0"/>
                </a:cubicBezTo>
                <a:cubicBezTo>
                  <a:pt x="2868048" y="12910"/>
                  <a:pt x="3034742" y="-18347"/>
                  <a:pt x="3259963" y="0"/>
                </a:cubicBezTo>
                <a:cubicBezTo>
                  <a:pt x="3255954" y="208062"/>
                  <a:pt x="3258501" y="339575"/>
                  <a:pt x="3259963" y="566321"/>
                </a:cubicBezTo>
                <a:cubicBezTo>
                  <a:pt x="3261425" y="793067"/>
                  <a:pt x="3288114" y="1042164"/>
                  <a:pt x="3259963" y="1227029"/>
                </a:cubicBezTo>
                <a:cubicBezTo>
                  <a:pt x="3231812" y="1411894"/>
                  <a:pt x="3234818" y="1657518"/>
                  <a:pt x="3259963" y="1793349"/>
                </a:cubicBezTo>
                <a:cubicBezTo>
                  <a:pt x="3285108" y="1929180"/>
                  <a:pt x="3288174" y="2128092"/>
                  <a:pt x="3259963" y="2391133"/>
                </a:cubicBezTo>
                <a:cubicBezTo>
                  <a:pt x="3231752" y="2654174"/>
                  <a:pt x="3222952" y="2938577"/>
                  <a:pt x="3259963" y="3146227"/>
                </a:cubicBezTo>
                <a:cubicBezTo>
                  <a:pt x="3065393" y="3143187"/>
                  <a:pt x="2727964" y="3152611"/>
                  <a:pt x="2575371" y="3146227"/>
                </a:cubicBezTo>
                <a:cubicBezTo>
                  <a:pt x="2422778" y="3139843"/>
                  <a:pt x="2153064" y="3164576"/>
                  <a:pt x="2021177" y="3146227"/>
                </a:cubicBezTo>
                <a:cubicBezTo>
                  <a:pt x="1889290" y="3127878"/>
                  <a:pt x="1588689" y="3156272"/>
                  <a:pt x="1466983" y="3146227"/>
                </a:cubicBezTo>
                <a:cubicBezTo>
                  <a:pt x="1345277" y="3136182"/>
                  <a:pt x="1078108" y="3175637"/>
                  <a:pt x="782391" y="3146227"/>
                </a:cubicBezTo>
                <a:cubicBezTo>
                  <a:pt x="486674" y="3116817"/>
                  <a:pt x="271847" y="3136069"/>
                  <a:pt x="0" y="3146227"/>
                </a:cubicBezTo>
                <a:cubicBezTo>
                  <a:pt x="-841" y="2889733"/>
                  <a:pt x="1503" y="2716663"/>
                  <a:pt x="0" y="2516982"/>
                </a:cubicBezTo>
                <a:cubicBezTo>
                  <a:pt x="-1503" y="2317302"/>
                  <a:pt x="-23320" y="2123658"/>
                  <a:pt x="0" y="1950661"/>
                </a:cubicBezTo>
                <a:cubicBezTo>
                  <a:pt x="23320" y="1777664"/>
                  <a:pt x="7113" y="1644124"/>
                  <a:pt x="0" y="1415802"/>
                </a:cubicBezTo>
                <a:cubicBezTo>
                  <a:pt x="-7113" y="1187480"/>
                  <a:pt x="-16803" y="965380"/>
                  <a:pt x="0" y="755094"/>
                </a:cubicBezTo>
                <a:cubicBezTo>
                  <a:pt x="16803" y="544808"/>
                  <a:pt x="15202" y="263860"/>
                  <a:pt x="0" y="0"/>
                </a:cubicBezTo>
                <a:close/>
              </a:path>
            </a:pathLst>
          </a:custGeom>
          <a:solidFill>
            <a:schemeClr val="accent1">
              <a:lumMod val="20000"/>
              <a:lumOff val="80000"/>
            </a:schemeClr>
          </a:solidFill>
          <a:ln>
            <a:extLst>
              <a:ext uri="{C807C97D-BFC1-408E-A445-0C87EB9F89A2}">
                <ask:lineSketchStyleProps xmlns:ask="http://schemas.microsoft.com/office/drawing/2018/sketchyshapes" sd="1894973088">
                  <a:prstGeom prst="rect">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600" b="1" dirty="0">
                <a:solidFill>
                  <a:schemeClr val="accent3">
                    <a:lumMod val="75000"/>
                  </a:schemeClr>
                </a:solidFill>
                <a:latin typeface="+mj-lt"/>
                <a:ea typeface="Open Sans"/>
                <a:cs typeface="Open Sans"/>
              </a:rPr>
              <a:t>We willen..</a:t>
            </a:r>
          </a:p>
          <a:p>
            <a:pPr algn="ctr"/>
            <a:endParaRPr lang="nl-NL" sz="1600" b="1" dirty="0">
              <a:solidFill>
                <a:schemeClr val="accent3">
                  <a:lumMod val="75000"/>
                </a:schemeClr>
              </a:solidFill>
              <a:latin typeface="+mj-lt"/>
              <a:ea typeface="Open Sans"/>
              <a:cs typeface="Open Sans"/>
            </a:endParaRPr>
          </a:p>
          <a:p>
            <a:pPr lvl="0" algn="ctr"/>
            <a:r>
              <a:rPr lang="nl-NL" sz="1600" dirty="0">
                <a:solidFill>
                  <a:schemeClr val="tx1"/>
                </a:solidFill>
                <a:latin typeface="+mj-lt"/>
              </a:rPr>
              <a:t>… de Hamershof ontwikkelen tot hét levendige en compacte dorpshart van Leusden waar ruimte is voor verschillende functies zoals detailhandel, horeca, diensten, cultuur, ontspanning en wonen. </a:t>
            </a:r>
            <a:endParaRPr lang="nl-NL" sz="1600" dirty="0">
              <a:solidFill>
                <a:schemeClr val="tx1"/>
              </a:solidFill>
              <a:latin typeface="+mj-lt"/>
              <a:ea typeface="Open Sans" panose="020B0606030504020204" pitchFamily="34" charset="0"/>
              <a:cs typeface="Open Sans" panose="020B0606030504020204" pitchFamily="34" charset="0"/>
            </a:endParaRPr>
          </a:p>
        </p:txBody>
      </p:sp>
      <p:sp>
        <p:nvSpPr>
          <p:cNvPr id="12" name="Paginanummer Seinpost">
            <a:extLst>
              <a:ext uri="{FF2B5EF4-FFF2-40B4-BE49-F238E27FC236}">
                <a16:creationId xmlns:a16="http://schemas.microsoft.com/office/drawing/2014/main" id="{E8D76D3A-0152-4553-955F-B7D59F60C9A4}"/>
              </a:ext>
            </a:extLst>
          </p:cNvPr>
          <p:cNvSpPr txBox="1">
            <a:spLocks/>
          </p:cNvSpPr>
          <p:nvPr>
            <p:custDataLst>
              <p:tags r:id="rId3"/>
            </p:custDataLst>
          </p:nvPr>
        </p:nvSpPr>
        <p:spPr>
          <a:xfrm>
            <a:off x="11628018" y="252000"/>
            <a:ext cx="381601" cy="244800"/>
          </a:xfrm>
          <a:prstGeom prst="rect">
            <a:avLst/>
          </a:prstGeom>
          <a:noFill/>
        </p:spPr>
        <p:txBody>
          <a:bodyPr vert="horz" lIns="0" tIns="0" rIns="0" bIns="0" rtlCol="0" anchor="t">
            <a:noAutofit/>
          </a:bodyPr>
          <a:lstStyle/>
          <a:p>
            <a:pPr algn="ctr"/>
            <a:r>
              <a:rPr lang="nl-NL" sz="1000" b="1">
                <a:solidFill>
                  <a:srgbClr val="62366E"/>
                </a:solidFill>
                <a:latin typeface="Open Sans" panose="020B0606030504020204" pitchFamily="34" charset="0"/>
              </a:rPr>
              <a:t>4</a:t>
            </a:r>
          </a:p>
        </p:txBody>
      </p:sp>
      <p:pic>
        <p:nvPicPr>
          <p:cNvPr id="14" name="Paginanummer Seinpost">
            <a:extLst>
              <a:ext uri="{FF2B5EF4-FFF2-40B4-BE49-F238E27FC236}">
                <a16:creationId xmlns:a16="http://schemas.microsoft.com/office/drawing/2014/main" id="{6A62E4CE-FC6D-42C4-B776-8E40DDF85799}"/>
              </a:ext>
            </a:extLst>
          </p:cNvPr>
          <p:cNvPicPr>
            <a:picLocks noChangeAspect="1"/>
          </p:cNvPicPr>
          <p:nvPr>
            <p:custDataLst>
              <p:tags r:id="rId4"/>
            </p:custDataLst>
          </p:nvPr>
        </p:nvPicPr>
        <p:blipFill>
          <a:blip r:embed="rId7">
            <a:extLst>
              <a:ext uri="{28A0092B-C50C-407E-A947-70E740481C1C}">
                <a14:useLocalDpi xmlns:a14="http://schemas.microsoft.com/office/drawing/2010/main" val="0"/>
              </a:ext>
            </a:extLst>
          </a:blip>
          <a:stretch>
            <a:fillRect/>
          </a:stretch>
        </p:blipFill>
        <p:spPr>
          <a:xfrm>
            <a:off x="11674818" y="172800"/>
            <a:ext cx="298705" cy="289561"/>
          </a:xfrm>
          <a:prstGeom prst="rect">
            <a:avLst/>
          </a:prstGeom>
        </p:spPr>
      </p:pic>
      <p:sp>
        <p:nvSpPr>
          <p:cNvPr id="15" name="Paginanummer Seinpost">
            <a:extLst>
              <a:ext uri="{FF2B5EF4-FFF2-40B4-BE49-F238E27FC236}">
                <a16:creationId xmlns:a16="http://schemas.microsoft.com/office/drawing/2014/main" id="{B45C4503-4679-4AA0-91FC-0FDBBBF485CD}"/>
              </a:ext>
            </a:extLst>
          </p:cNvPr>
          <p:cNvSpPr txBox="1">
            <a:spLocks/>
          </p:cNvSpPr>
          <p:nvPr>
            <p:custDataLst>
              <p:tags r:id="rId5"/>
            </p:custDataLst>
          </p:nvPr>
        </p:nvSpPr>
        <p:spPr>
          <a:xfrm>
            <a:off x="11628018" y="252000"/>
            <a:ext cx="381601" cy="244800"/>
          </a:xfrm>
          <a:prstGeom prst="rect">
            <a:avLst/>
          </a:prstGeom>
          <a:noFill/>
        </p:spPr>
        <p:txBody>
          <a:bodyPr vert="horz" lIns="0" tIns="0" rIns="0" bIns="0" rtlCol="0" anchor="t">
            <a:noAutofit/>
          </a:bodyPr>
          <a:lstStyle/>
          <a:p>
            <a:pPr algn="ctr"/>
            <a:r>
              <a:rPr lang="nl-NL" sz="1000" b="1">
                <a:solidFill>
                  <a:srgbClr val="62366E"/>
                </a:solidFill>
                <a:latin typeface="Open Sans" panose="020B0606030504020204" pitchFamily="34" charset="0"/>
              </a:rPr>
              <a:t>3</a:t>
            </a:r>
          </a:p>
        </p:txBody>
      </p:sp>
    </p:spTree>
    <p:extLst>
      <p:ext uri="{BB962C8B-B14F-4D97-AF65-F5344CB8AC3E}">
        <p14:creationId xmlns:p14="http://schemas.microsoft.com/office/powerpoint/2010/main" val="207027561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aragraaf titel hoog">
            <a:extLst>
              <a:ext uri="{FF2B5EF4-FFF2-40B4-BE49-F238E27FC236}">
                <a16:creationId xmlns:a16="http://schemas.microsoft.com/office/drawing/2014/main" id="{34EE1BCA-0B1B-40D5-9ADA-9A2A2A5A053E}"/>
              </a:ext>
            </a:extLst>
          </p:cNvPr>
          <p:cNvSpPr txBox="1"/>
          <p:nvPr>
            <p:custDataLst>
              <p:tags r:id="rId1"/>
            </p:custDataLst>
          </p:nvPr>
        </p:nvSpPr>
        <p:spPr>
          <a:xfrm>
            <a:off x="1080002" y="522001"/>
            <a:ext cx="10413793" cy="432001"/>
          </a:xfrm>
          <a:prstGeom prst="rect">
            <a:avLst/>
          </a:prstGeom>
          <a:noFill/>
        </p:spPr>
        <p:txBody>
          <a:bodyPr vert="horz" lIns="0" tIns="0" rIns="0" bIns="0" rtlCol="0" anchor="t">
            <a:noAutofit/>
          </a:bodyPr>
          <a:lstStyle/>
          <a:p>
            <a:pPr>
              <a:lnSpc>
                <a:spcPts val="3200"/>
              </a:lnSpc>
            </a:pPr>
            <a:r>
              <a:rPr lang="nl-NL" sz="3000" b="1">
                <a:solidFill>
                  <a:srgbClr val="62366E"/>
                </a:solidFill>
                <a:latin typeface="Open Sans" panose="020B0606030504020204" pitchFamily="34" charset="0"/>
              </a:rPr>
              <a:t>Wat hebben we de afgelopen maanden gedaan? </a:t>
            </a:r>
          </a:p>
        </p:txBody>
      </p:sp>
      <p:sp>
        <p:nvSpPr>
          <p:cNvPr id="4" name="2 Kolommen breed"/>
          <p:cNvSpPr txBox="1"/>
          <p:nvPr>
            <p:custDataLst>
              <p:tags r:id="rId2"/>
            </p:custDataLst>
          </p:nvPr>
        </p:nvSpPr>
        <p:spPr>
          <a:xfrm>
            <a:off x="1079319" y="1403116"/>
            <a:ext cx="6016806" cy="5036827"/>
          </a:xfrm>
          <a:prstGeom prst="rect">
            <a:avLst/>
          </a:prstGeom>
          <a:noFill/>
        </p:spPr>
        <p:txBody>
          <a:bodyPr vert="horz" lIns="0" tIns="0" rIns="0" bIns="0" rtlCol="0" anchor="t">
            <a:noAutofit/>
          </a:bodyPr>
          <a:lstStyle/>
          <a:p>
            <a:pPr marL="342900" indent="-342900">
              <a:lnSpc>
                <a:spcPts val="3800"/>
              </a:lnSpc>
              <a:buFont typeface="Arial" panose="020B0604020202020204" pitchFamily="34" charset="0"/>
              <a:buChar char="•"/>
              <a:defRPr/>
            </a:pPr>
            <a:r>
              <a:rPr lang="nl-NL" dirty="0">
                <a:solidFill>
                  <a:srgbClr val="000000"/>
                </a:solidFill>
                <a:latin typeface="+mj-lt"/>
              </a:rPr>
              <a:t>Consumentenonderzoek (enquête) </a:t>
            </a:r>
            <a:endParaRPr lang="nl-NL" dirty="0">
              <a:solidFill>
                <a:srgbClr val="000000"/>
              </a:solidFill>
              <a:latin typeface="+mj-lt"/>
              <a:ea typeface="Open Sans"/>
              <a:cs typeface="Open Sans"/>
            </a:endParaRPr>
          </a:p>
          <a:p>
            <a:pPr marL="342900" indent="-342900">
              <a:lnSpc>
                <a:spcPts val="3800"/>
              </a:lnSpc>
              <a:buFont typeface="Arial" panose="020B0604020202020204" pitchFamily="34" charset="0"/>
              <a:buChar char="•"/>
              <a:defRPr/>
            </a:pPr>
            <a:r>
              <a:rPr lang="nl-NL" dirty="0">
                <a:solidFill>
                  <a:srgbClr val="000000"/>
                </a:solidFill>
                <a:latin typeface="+mj-lt"/>
              </a:rPr>
              <a:t>Passantentelling </a:t>
            </a:r>
            <a:endParaRPr lang="nl-NL" dirty="0">
              <a:solidFill>
                <a:srgbClr val="000000"/>
              </a:solidFill>
              <a:latin typeface="+mj-lt"/>
              <a:ea typeface="Open Sans"/>
              <a:cs typeface="Open Sans"/>
            </a:endParaRPr>
          </a:p>
          <a:p>
            <a:pPr marL="342900" indent="-342900">
              <a:lnSpc>
                <a:spcPts val="3800"/>
              </a:lnSpc>
              <a:buFont typeface="Arial" panose="020B0604020202020204" pitchFamily="34" charset="0"/>
              <a:buChar char="•"/>
              <a:defRPr/>
            </a:pPr>
            <a:r>
              <a:rPr lang="nl-NL" dirty="0">
                <a:solidFill>
                  <a:srgbClr val="000000"/>
                </a:solidFill>
                <a:latin typeface="+mj-lt"/>
              </a:rPr>
              <a:t>Schouw door het centrum</a:t>
            </a:r>
            <a:endParaRPr lang="nl-NL" dirty="0">
              <a:solidFill>
                <a:srgbClr val="000000"/>
              </a:solidFill>
              <a:latin typeface="+mj-lt"/>
              <a:ea typeface="Open Sans"/>
              <a:cs typeface="Open Sans"/>
            </a:endParaRPr>
          </a:p>
          <a:p>
            <a:pPr marL="342900" indent="-342900">
              <a:lnSpc>
                <a:spcPts val="3800"/>
              </a:lnSpc>
              <a:buFont typeface="Arial" panose="020B0604020202020204" pitchFamily="34" charset="0"/>
              <a:buChar char="•"/>
              <a:defRPr/>
            </a:pPr>
            <a:r>
              <a:rPr lang="nl-NL" dirty="0" err="1">
                <a:solidFill>
                  <a:srgbClr val="000000"/>
                </a:solidFill>
                <a:latin typeface="+mj-lt"/>
              </a:rPr>
              <a:t>Kopgroepbijeenkomsten</a:t>
            </a:r>
            <a:endParaRPr lang="nl-NL" dirty="0" err="1">
              <a:solidFill>
                <a:srgbClr val="000000"/>
              </a:solidFill>
              <a:latin typeface="+mj-lt"/>
              <a:ea typeface="Open Sans"/>
              <a:cs typeface="Open Sans"/>
            </a:endParaRPr>
          </a:p>
          <a:p>
            <a:pPr marL="342900" indent="-342900">
              <a:lnSpc>
                <a:spcPts val="3800"/>
              </a:lnSpc>
              <a:buFont typeface="Arial" panose="020B0604020202020204" pitchFamily="34" charset="0"/>
              <a:buChar char="•"/>
              <a:defRPr/>
            </a:pPr>
            <a:r>
              <a:rPr lang="nl-NL" dirty="0">
                <a:solidFill>
                  <a:srgbClr val="000000"/>
                </a:solidFill>
                <a:latin typeface="+mj-lt"/>
              </a:rPr>
              <a:t>Ondernemersenquête</a:t>
            </a:r>
            <a:endParaRPr lang="nl-NL" dirty="0">
              <a:solidFill>
                <a:srgbClr val="000000"/>
              </a:solidFill>
              <a:latin typeface="+mj-lt"/>
              <a:ea typeface="Open Sans"/>
              <a:cs typeface="Open Sans"/>
            </a:endParaRPr>
          </a:p>
          <a:p>
            <a:pPr marL="342900" indent="-342900">
              <a:lnSpc>
                <a:spcPts val="3800"/>
              </a:lnSpc>
              <a:buFont typeface="Arial" panose="020B0604020202020204" pitchFamily="34" charset="0"/>
              <a:buChar char="•"/>
              <a:defRPr/>
            </a:pPr>
            <a:r>
              <a:rPr lang="nl-NL" dirty="0">
                <a:solidFill>
                  <a:srgbClr val="000000"/>
                </a:solidFill>
                <a:latin typeface="+mj-lt"/>
              </a:rPr>
              <a:t>Interviews met ondernemers en vastgoedeigenaren</a:t>
            </a:r>
            <a:endParaRPr lang="nl-NL" dirty="0">
              <a:solidFill>
                <a:srgbClr val="000000"/>
              </a:solidFill>
              <a:latin typeface="+mj-lt"/>
              <a:ea typeface="Open Sans"/>
              <a:cs typeface="Open Sans"/>
            </a:endParaRPr>
          </a:p>
          <a:p>
            <a:pPr marL="342900" indent="-342900">
              <a:lnSpc>
                <a:spcPts val="3800"/>
              </a:lnSpc>
              <a:buFont typeface="Arial" panose="020B0604020202020204" pitchFamily="34" charset="0"/>
              <a:buChar char="•"/>
              <a:defRPr/>
            </a:pPr>
            <a:r>
              <a:rPr lang="nl-NL" dirty="0">
                <a:solidFill>
                  <a:srgbClr val="000000"/>
                </a:solidFill>
                <a:latin typeface="+mj-lt"/>
              </a:rPr>
              <a:t>Brede bijeenkomst met ondernemers en eigenaren uit de </a:t>
            </a:r>
            <a:r>
              <a:rPr lang="nl-NL" dirty="0" err="1">
                <a:solidFill>
                  <a:srgbClr val="000000"/>
                </a:solidFill>
                <a:latin typeface="+mj-lt"/>
              </a:rPr>
              <a:t>Hamershof</a:t>
            </a:r>
            <a:endParaRPr lang="nl-NL" dirty="0" err="1">
              <a:solidFill>
                <a:srgbClr val="000000"/>
              </a:solidFill>
              <a:latin typeface="+mj-lt"/>
              <a:ea typeface="Open Sans"/>
              <a:cs typeface="Open Sans"/>
            </a:endParaRPr>
          </a:p>
          <a:p>
            <a:pPr marL="342900" indent="-342900">
              <a:lnSpc>
                <a:spcPts val="3800"/>
              </a:lnSpc>
              <a:buFont typeface="Arial" panose="020B0604020202020204" pitchFamily="34" charset="0"/>
              <a:buChar char="•"/>
              <a:defRPr/>
            </a:pPr>
            <a:r>
              <a:rPr lang="nl-NL" dirty="0">
                <a:solidFill>
                  <a:srgbClr val="000000"/>
                </a:solidFill>
                <a:latin typeface="+mj-lt"/>
              </a:rPr>
              <a:t>Raadsbijeenkomst </a:t>
            </a:r>
            <a:endParaRPr lang="nl-NL" dirty="0">
              <a:solidFill>
                <a:srgbClr val="000000"/>
              </a:solidFill>
              <a:latin typeface="+mj-lt"/>
              <a:ea typeface="Open Sans"/>
              <a:cs typeface="Open Sans"/>
            </a:endParaRPr>
          </a:p>
          <a:p>
            <a:pPr marL="342900" indent="-342900">
              <a:lnSpc>
                <a:spcPts val="3800"/>
              </a:lnSpc>
              <a:buFont typeface="Arial" panose="020B0604020202020204" pitchFamily="34" charset="0"/>
              <a:buChar char="•"/>
              <a:defRPr/>
            </a:pPr>
            <a:r>
              <a:rPr lang="nl-NL" dirty="0">
                <a:solidFill>
                  <a:srgbClr val="000000"/>
                </a:solidFill>
                <a:latin typeface="+mj-lt"/>
              </a:rPr>
              <a:t>Nu: input ophalen bij bewoners </a:t>
            </a:r>
          </a:p>
        </p:txBody>
      </p:sp>
      <p:pic>
        <p:nvPicPr>
          <p:cNvPr id="14" name="Afbeelding 13" descr="Afbeelding met plafond, binnen, persoon, mensen&#10;&#10;Automatisch gegenereerde beschrijving">
            <a:extLst>
              <a:ext uri="{FF2B5EF4-FFF2-40B4-BE49-F238E27FC236}">
                <a16:creationId xmlns:a16="http://schemas.microsoft.com/office/drawing/2014/main" id="{06C6F272-3A79-4C2C-8A20-97D471733C07}"/>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7535826" y="1403116"/>
            <a:ext cx="4473793" cy="3355345"/>
          </a:xfrm>
          <a:prstGeom prst="rect">
            <a:avLst/>
          </a:prstGeom>
        </p:spPr>
      </p:pic>
      <p:sp>
        <p:nvSpPr>
          <p:cNvPr id="7" name="Paginanummer Seinpost">
            <a:extLst>
              <a:ext uri="{FF2B5EF4-FFF2-40B4-BE49-F238E27FC236}">
                <a16:creationId xmlns:a16="http://schemas.microsoft.com/office/drawing/2014/main" id="{B3928E5F-7E3B-46C6-B6A4-D58025AC097E}"/>
              </a:ext>
            </a:extLst>
          </p:cNvPr>
          <p:cNvSpPr txBox="1">
            <a:spLocks/>
          </p:cNvSpPr>
          <p:nvPr>
            <p:custDataLst>
              <p:tags r:id="rId3"/>
            </p:custDataLst>
          </p:nvPr>
        </p:nvSpPr>
        <p:spPr>
          <a:xfrm>
            <a:off x="11628018" y="252000"/>
            <a:ext cx="381601" cy="244800"/>
          </a:xfrm>
          <a:prstGeom prst="rect">
            <a:avLst/>
          </a:prstGeom>
          <a:noFill/>
        </p:spPr>
        <p:txBody>
          <a:bodyPr vert="horz" lIns="0" tIns="0" rIns="0" bIns="0" rtlCol="0" anchor="t">
            <a:noAutofit/>
          </a:bodyPr>
          <a:lstStyle/>
          <a:p>
            <a:pPr algn="ctr"/>
            <a:r>
              <a:rPr lang="nl-NL" sz="1000" b="1">
                <a:solidFill>
                  <a:srgbClr val="62366E"/>
                </a:solidFill>
                <a:latin typeface="Open Sans" panose="020B0606030504020204" pitchFamily="34" charset="0"/>
              </a:rPr>
              <a:t>5</a:t>
            </a:r>
          </a:p>
        </p:txBody>
      </p:sp>
      <p:pic>
        <p:nvPicPr>
          <p:cNvPr id="10" name="Paginanummer Seinpost">
            <a:extLst>
              <a:ext uri="{FF2B5EF4-FFF2-40B4-BE49-F238E27FC236}">
                <a16:creationId xmlns:a16="http://schemas.microsoft.com/office/drawing/2014/main" id="{CCD9AF9F-4319-4596-9383-BEE8992D91E5}"/>
              </a:ext>
            </a:extLst>
          </p:cNvPr>
          <p:cNvPicPr>
            <a:picLocks noChangeAspect="1"/>
          </p:cNvPicPr>
          <p:nvPr>
            <p:custDataLst>
              <p:tags r:id="rId4"/>
            </p:custDataLst>
          </p:nvPr>
        </p:nvPicPr>
        <p:blipFill>
          <a:blip r:embed="rId8">
            <a:extLst>
              <a:ext uri="{28A0092B-C50C-407E-A947-70E740481C1C}">
                <a14:useLocalDpi xmlns:a14="http://schemas.microsoft.com/office/drawing/2010/main" val="0"/>
              </a:ext>
            </a:extLst>
          </a:blip>
          <a:stretch>
            <a:fillRect/>
          </a:stretch>
        </p:blipFill>
        <p:spPr>
          <a:xfrm>
            <a:off x="11674818" y="172800"/>
            <a:ext cx="298705" cy="289561"/>
          </a:xfrm>
          <a:prstGeom prst="rect">
            <a:avLst/>
          </a:prstGeom>
        </p:spPr>
      </p:pic>
      <p:sp>
        <p:nvSpPr>
          <p:cNvPr id="11" name="Paginanummer Seinpost">
            <a:extLst>
              <a:ext uri="{FF2B5EF4-FFF2-40B4-BE49-F238E27FC236}">
                <a16:creationId xmlns:a16="http://schemas.microsoft.com/office/drawing/2014/main" id="{6D59184D-49EC-4474-85D7-1974114771D2}"/>
              </a:ext>
            </a:extLst>
          </p:cNvPr>
          <p:cNvSpPr txBox="1">
            <a:spLocks/>
          </p:cNvSpPr>
          <p:nvPr>
            <p:custDataLst>
              <p:tags r:id="rId5"/>
            </p:custDataLst>
          </p:nvPr>
        </p:nvSpPr>
        <p:spPr>
          <a:xfrm>
            <a:off x="11628018" y="252000"/>
            <a:ext cx="381601" cy="244800"/>
          </a:xfrm>
          <a:prstGeom prst="rect">
            <a:avLst/>
          </a:prstGeom>
          <a:noFill/>
        </p:spPr>
        <p:txBody>
          <a:bodyPr vert="horz" lIns="0" tIns="0" rIns="0" bIns="0" rtlCol="0" anchor="t">
            <a:noAutofit/>
          </a:bodyPr>
          <a:lstStyle/>
          <a:p>
            <a:pPr algn="ctr"/>
            <a:r>
              <a:rPr lang="nl-NL" sz="1000" b="1">
                <a:solidFill>
                  <a:srgbClr val="62366E"/>
                </a:solidFill>
                <a:latin typeface="Open Sans" panose="020B0606030504020204" pitchFamily="34" charset="0"/>
              </a:rPr>
              <a:t>4</a:t>
            </a:r>
          </a:p>
        </p:txBody>
      </p:sp>
    </p:spTree>
    <p:extLst>
      <p:ext uri="{BB962C8B-B14F-4D97-AF65-F5344CB8AC3E}">
        <p14:creationId xmlns:p14="http://schemas.microsoft.com/office/powerpoint/2010/main" val="417559668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Grote afbeelding">
            <a:extLst>
              <a:ext uri="{FF2B5EF4-FFF2-40B4-BE49-F238E27FC236}">
                <a16:creationId xmlns:a16="http://schemas.microsoft.com/office/drawing/2014/main" id="{3C5763BE-785F-4E1E-931B-C80001325F9D}"/>
              </a:ext>
            </a:extLst>
          </p:cNvPr>
          <p:cNvPicPr>
            <a:picLocks noChangeAspect="1"/>
          </p:cNvPicPr>
          <p:nvPr>
            <p:custDataLst>
              <p:tags r:id="rId1"/>
            </p:custDataLst>
          </p:nvPr>
        </p:nvPicPr>
        <p:blipFill rotWithShape="1">
          <a:blip r:embed="rId8" cstate="print">
            <a:extLst>
              <a:ext uri="{28A0092B-C50C-407E-A947-70E740481C1C}">
                <a14:useLocalDpi xmlns:a14="http://schemas.microsoft.com/office/drawing/2010/main" val="0"/>
              </a:ext>
            </a:extLst>
          </a:blip>
          <a:srcRect t="12504" b="12504"/>
          <a:stretch/>
        </p:blipFill>
        <p:spPr>
          <a:xfrm>
            <a:off x="0" y="0"/>
            <a:ext cx="12193219" cy="6858011"/>
          </a:xfrm>
          <a:prstGeom prst="rect">
            <a:avLst/>
          </a:prstGeom>
        </p:spPr>
      </p:pic>
      <p:sp>
        <p:nvSpPr>
          <p:cNvPr id="2" name="Rechthoek 1">
            <a:extLst>
              <a:ext uri="{FF2B5EF4-FFF2-40B4-BE49-F238E27FC236}">
                <a16:creationId xmlns:a16="http://schemas.microsoft.com/office/drawing/2014/main" id="{7B44AD7E-E771-4E52-9617-ABEF60D8A4CC}"/>
              </a:ext>
            </a:extLst>
          </p:cNvPr>
          <p:cNvSpPr/>
          <p:nvPr/>
        </p:nvSpPr>
        <p:spPr>
          <a:xfrm>
            <a:off x="0" y="0"/>
            <a:ext cx="12192000" cy="6858000"/>
          </a:xfrm>
          <a:prstGeom prst="rect">
            <a:avLst/>
          </a:prstGeom>
          <a:solidFill>
            <a:srgbClr val="FFFFFF">
              <a:alpha val="6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2" name="2 Kolommen breed">
            <a:extLst>
              <a:ext uri="{FF2B5EF4-FFF2-40B4-BE49-F238E27FC236}">
                <a16:creationId xmlns:a16="http://schemas.microsoft.com/office/drawing/2014/main" id="{600723C6-5540-4AA4-9C9B-EEB046093195}"/>
              </a:ext>
            </a:extLst>
          </p:cNvPr>
          <p:cNvSpPr txBox="1"/>
          <p:nvPr>
            <p:custDataLst>
              <p:tags r:id="rId2"/>
            </p:custDataLst>
          </p:nvPr>
        </p:nvSpPr>
        <p:spPr>
          <a:xfrm>
            <a:off x="1079320" y="1322961"/>
            <a:ext cx="5349760" cy="5013367"/>
          </a:xfrm>
          <a:prstGeom prst="rect">
            <a:avLst/>
          </a:prstGeom>
          <a:noFill/>
        </p:spPr>
        <p:txBody>
          <a:bodyPr vert="horz" lIns="0" tIns="0" rIns="0" bIns="0" rtlCol="0" anchor="t">
            <a:noAutofit/>
          </a:bodyPr>
          <a:lstStyle/>
          <a:p>
            <a:pPr>
              <a:lnSpc>
                <a:spcPts val="3200"/>
              </a:lnSpc>
            </a:pPr>
            <a:endParaRPr lang="nl-NL" sz="2000">
              <a:solidFill>
                <a:schemeClr val="accent4"/>
              </a:solidFill>
              <a:latin typeface="Open Sans" panose="020B0606030504020204" pitchFamily="34" charset="0"/>
              <a:ea typeface="Open Sans" panose="020B0606030504020204" pitchFamily="34" charset="0"/>
              <a:cs typeface="Open Sans" panose="020B0606030504020204" pitchFamily="34" charset="0"/>
            </a:endParaRPr>
          </a:p>
        </p:txBody>
      </p:sp>
      <p:sp>
        <p:nvSpPr>
          <p:cNvPr id="4" name="Paragraaf titel hoog"/>
          <p:cNvSpPr txBox="1"/>
          <p:nvPr>
            <p:custDataLst>
              <p:tags r:id="rId3"/>
            </p:custDataLst>
          </p:nvPr>
        </p:nvSpPr>
        <p:spPr>
          <a:xfrm>
            <a:off x="1622245" y="1419226"/>
            <a:ext cx="9267838" cy="3732051"/>
          </a:xfrm>
          <a:prstGeom prst="rect">
            <a:avLst/>
          </a:prstGeom>
          <a:noFill/>
        </p:spPr>
        <p:txBody>
          <a:bodyPr vert="horz" lIns="0" tIns="0" rIns="0" bIns="0" rtlCol="0" anchor="t">
            <a:noAutofit/>
          </a:bodyPr>
          <a:lstStyle/>
          <a:p>
            <a:pPr marR="0" lvl="0" indent="0" algn="ctr" fontAlgn="auto">
              <a:lnSpc>
                <a:spcPct val="150000"/>
              </a:lnSpc>
              <a:spcBef>
                <a:spcPts val="0"/>
              </a:spcBef>
              <a:spcAft>
                <a:spcPts val="0"/>
              </a:spcAft>
              <a:buClrTx/>
              <a:buSzTx/>
              <a:buFontTx/>
              <a:buNone/>
              <a:tabLst/>
              <a:defRPr/>
            </a:pPr>
            <a:endParaRPr lang="nl-NL" sz="4000" b="1" dirty="0">
              <a:solidFill>
                <a:srgbClr val="62366E"/>
              </a:solidFill>
              <a:latin typeface="+mj-lt"/>
            </a:endParaRPr>
          </a:p>
          <a:p>
            <a:pPr algn="ctr">
              <a:lnSpc>
                <a:spcPct val="150000"/>
              </a:lnSpc>
              <a:defRPr/>
            </a:pPr>
            <a:r>
              <a:rPr lang="nl-NL" sz="4000" b="1" dirty="0">
                <a:solidFill>
                  <a:srgbClr val="62366E"/>
                </a:solidFill>
                <a:latin typeface="+mj-lt"/>
              </a:rPr>
              <a:t>Analyse in een notendop – </a:t>
            </a:r>
          </a:p>
          <a:p>
            <a:pPr algn="ctr">
              <a:lnSpc>
                <a:spcPct val="150000"/>
              </a:lnSpc>
              <a:defRPr/>
            </a:pPr>
            <a:r>
              <a:rPr lang="nl-NL" sz="4000" b="1" dirty="0">
                <a:solidFill>
                  <a:schemeClr val="accent3">
                    <a:lumMod val="75000"/>
                  </a:schemeClr>
                </a:solidFill>
                <a:latin typeface="+mj-lt"/>
              </a:rPr>
              <a:t>Wat  zijn de belangrijkste conclusies uit enkele onderzoeken? </a:t>
            </a:r>
            <a:endParaRPr lang="nl-NL" dirty="0">
              <a:solidFill>
                <a:schemeClr val="accent3">
                  <a:lumMod val="75000"/>
                </a:schemeClr>
              </a:solidFill>
            </a:endParaRPr>
          </a:p>
        </p:txBody>
      </p:sp>
      <p:pic>
        <p:nvPicPr>
          <p:cNvPr id="7" name="Paginanummer Seinpost">
            <a:extLst>
              <a:ext uri="{FF2B5EF4-FFF2-40B4-BE49-F238E27FC236}">
                <a16:creationId xmlns:a16="http://schemas.microsoft.com/office/drawing/2014/main" id="{3660C8A7-16AE-4EC9-8070-5489104E3103}"/>
              </a:ext>
            </a:extLst>
          </p:cNvPr>
          <p:cNvPicPr>
            <a:picLocks noChangeAspect="1"/>
          </p:cNvPicPr>
          <p:nvPr>
            <p:custDataLst>
              <p:tags r:id="rId4"/>
            </p:custDataLst>
          </p:nvPr>
        </p:nvPicPr>
        <p:blipFill>
          <a:blip r:embed="rId9">
            <a:extLst>
              <a:ext uri="{28A0092B-C50C-407E-A947-70E740481C1C}">
                <a14:useLocalDpi xmlns:a14="http://schemas.microsoft.com/office/drawing/2010/main" val="0"/>
              </a:ext>
            </a:extLst>
          </a:blip>
          <a:stretch>
            <a:fillRect/>
          </a:stretch>
        </p:blipFill>
        <p:spPr>
          <a:xfrm>
            <a:off x="11674818" y="172800"/>
            <a:ext cx="298705" cy="289561"/>
          </a:xfrm>
          <a:prstGeom prst="rect">
            <a:avLst/>
          </a:prstGeom>
        </p:spPr>
      </p:pic>
      <p:pic>
        <p:nvPicPr>
          <p:cNvPr id="13" name="Paginanummer Seinpost">
            <a:extLst>
              <a:ext uri="{FF2B5EF4-FFF2-40B4-BE49-F238E27FC236}">
                <a16:creationId xmlns:a16="http://schemas.microsoft.com/office/drawing/2014/main" id="{3206699E-C6DE-4045-A838-5BECCB1791AF}"/>
              </a:ext>
            </a:extLst>
          </p:cNvPr>
          <p:cNvPicPr>
            <a:picLocks noChangeAspect="1"/>
          </p:cNvPicPr>
          <p:nvPr>
            <p:custDataLst>
              <p:tags r:id="rId5"/>
            </p:custDataLst>
          </p:nvPr>
        </p:nvPicPr>
        <p:blipFill>
          <a:blip r:embed="rId9">
            <a:extLst>
              <a:ext uri="{28A0092B-C50C-407E-A947-70E740481C1C}">
                <a14:useLocalDpi xmlns:a14="http://schemas.microsoft.com/office/drawing/2010/main" val="0"/>
              </a:ext>
            </a:extLst>
          </a:blip>
          <a:stretch>
            <a:fillRect/>
          </a:stretch>
        </p:blipFill>
        <p:spPr>
          <a:xfrm>
            <a:off x="11674818" y="172800"/>
            <a:ext cx="298705" cy="289561"/>
          </a:xfrm>
          <a:prstGeom prst="rect">
            <a:avLst/>
          </a:prstGeom>
        </p:spPr>
      </p:pic>
      <p:sp>
        <p:nvSpPr>
          <p:cNvPr id="14" name="Paginanummer Seinpost">
            <a:extLst>
              <a:ext uri="{FF2B5EF4-FFF2-40B4-BE49-F238E27FC236}">
                <a16:creationId xmlns:a16="http://schemas.microsoft.com/office/drawing/2014/main" id="{D9E2D219-D9B8-4833-A565-CF4B2403DF24}"/>
              </a:ext>
            </a:extLst>
          </p:cNvPr>
          <p:cNvSpPr txBox="1">
            <a:spLocks/>
          </p:cNvSpPr>
          <p:nvPr>
            <p:custDataLst>
              <p:tags r:id="rId6"/>
            </p:custDataLst>
          </p:nvPr>
        </p:nvSpPr>
        <p:spPr>
          <a:xfrm>
            <a:off x="11628018" y="252000"/>
            <a:ext cx="381601" cy="244800"/>
          </a:xfrm>
          <a:prstGeom prst="rect">
            <a:avLst/>
          </a:prstGeom>
          <a:noFill/>
        </p:spPr>
        <p:txBody>
          <a:bodyPr vert="horz" lIns="0" tIns="0" rIns="0" bIns="0" rtlCol="0" anchor="t">
            <a:noAutofit/>
          </a:bodyPr>
          <a:lstStyle/>
          <a:p>
            <a:pPr algn="ctr"/>
            <a:r>
              <a:rPr lang="nl-NL" sz="1000" b="1">
                <a:solidFill>
                  <a:srgbClr val="62366E"/>
                </a:solidFill>
                <a:latin typeface="Open Sans" panose="020B0606030504020204" pitchFamily="34" charset="0"/>
              </a:rPr>
              <a:t>5</a:t>
            </a:r>
          </a:p>
        </p:txBody>
      </p:sp>
    </p:spTree>
    <p:extLst>
      <p:ext uri="{BB962C8B-B14F-4D97-AF65-F5344CB8AC3E}">
        <p14:creationId xmlns:p14="http://schemas.microsoft.com/office/powerpoint/2010/main" val="18843697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 name="Grote afbeelding">
            <a:extLst>
              <a:ext uri="{FF2B5EF4-FFF2-40B4-BE49-F238E27FC236}">
                <a16:creationId xmlns:a16="http://schemas.microsoft.com/office/drawing/2014/main" id="{48B4BCFD-688A-45F7-8BB7-BE8FACB42F1E}"/>
              </a:ext>
            </a:extLst>
          </p:cNvPr>
          <p:cNvPicPr>
            <a:picLocks noChangeAspect="1"/>
          </p:cNvPicPr>
          <p:nvPr>
            <p:custDataLst>
              <p:tags r:id="rId1"/>
            </p:custDataLst>
          </p:nvPr>
        </p:nvPicPr>
        <p:blipFill rotWithShape="1">
          <a:blip r:embed="rId6">
            <a:extLst>
              <a:ext uri="{28A0092B-C50C-407E-A947-70E740481C1C}">
                <a14:useLocalDpi xmlns:a14="http://schemas.microsoft.com/office/drawing/2010/main" val="0"/>
              </a:ext>
            </a:extLst>
          </a:blip>
          <a:srcRect l="11168" t="10586" r="8294" b="6256"/>
          <a:stretch/>
        </p:blipFill>
        <p:spPr>
          <a:xfrm>
            <a:off x="1316678" y="765425"/>
            <a:ext cx="9448345" cy="5936205"/>
          </a:xfrm>
          <a:prstGeom prst="rect">
            <a:avLst/>
          </a:prstGeom>
        </p:spPr>
      </p:pic>
      <p:sp>
        <p:nvSpPr>
          <p:cNvPr id="21" name="Rechthoek 20">
            <a:extLst>
              <a:ext uri="{FF2B5EF4-FFF2-40B4-BE49-F238E27FC236}">
                <a16:creationId xmlns:a16="http://schemas.microsoft.com/office/drawing/2014/main" id="{1EDADEEB-D42F-4CF1-8D30-3578B8A5E9A5}"/>
              </a:ext>
            </a:extLst>
          </p:cNvPr>
          <p:cNvSpPr/>
          <p:nvPr/>
        </p:nvSpPr>
        <p:spPr>
          <a:xfrm>
            <a:off x="1662902" y="3050183"/>
            <a:ext cx="202250" cy="88297"/>
          </a:xfrm>
          <a:prstGeom prst="rect">
            <a:avLst/>
          </a:prstGeom>
          <a:solidFill>
            <a:srgbClr val="F9B19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000"/>
          </a:p>
        </p:txBody>
      </p:sp>
      <p:sp>
        <p:nvSpPr>
          <p:cNvPr id="22" name="Rechthoek 21">
            <a:extLst>
              <a:ext uri="{FF2B5EF4-FFF2-40B4-BE49-F238E27FC236}">
                <a16:creationId xmlns:a16="http://schemas.microsoft.com/office/drawing/2014/main" id="{BEEFC06D-0894-4764-B48E-E1A5F18DAD44}"/>
              </a:ext>
            </a:extLst>
          </p:cNvPr>
          <p:cNvSpPr/>
          <p:nvPr/>
        </p:nvSpPr>
        <p:spPr>
          <a:xfrm>
            <a:off x="2374816" y="3314758"/>
            <a:ext cx="70387" cy="121769"/>
          </a:xfrm>
          <a:prstGeom prst="rect">
            <a:avLst/>
          </a:prstGeom>
          <a:solidFill>
            <a:srgbClr val="F9B19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000"/>
          </a:p>
        </p:txBody>
      </p:sp>
      <p:sp>
        <p:nvSpPr>
          <p:cNvPr id="23" name="Rechthoek 22">
            <a:extLst>
              <a:ext uri="{FF2B5EF4-FFF2-40B4-BE49-F238E27FC236}">
                <a16:creationId xmlns:a16="http://schemas.microsoft.com/office/drawing/2014/main" id="{02CDE954-F8E6-4C3E-993E-35E89DF8D52C}"/>
              </a:ext>
            </a:extLst>
          </p:cNvPr>
          <p:cNvSpPr/>
          <p:nvPr/>
        </p:nvSpPr>
        <p:spPr>
          <a:xfrm>
            <a:off x="2674597" y="3299110"/>
            <a:ext cx="88624" cy="95147"/>
          </a:xfrm>
          <a:prstGeom prst="rect">
            <a:avLst/>
          </a:prstGeom>
          <a:solidFill>
            <a:srgbClr val="F9B19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000"/>
          </a:p>
        </p:txBody>
      </p:sp>
      <p:sp>
        <p:nvSpPr>
          <p:cNvPr id="24" name="Rechthoek 23">
            <a:extLst>
              <a:ext uri="{FF2B5EF4-FFF2-40B4-BE49-F238E27FC236}">
                <a16:creationId xmlns:a16="http://schemas.microsoft.com/office/drawing/2014/main" id="{007AA285-60A6-479A-8CB2-F41A27FF3E96}"/>
              </a:ext>
            </a:extLst>
          </p:cNvPr>
          <p:cNvSpPr/>
          <p:nvPr/>
        </p:nvSpPr>
        <p:spPr>
          <a:xfrm>
            <a:off x="1719715" y="3952016"/>
            <a:ext cx="145437" cy="110225"/>
          </a:xfrm>
          <a:prstGeom prst="rect">
            <a:avLst/>
          </a:prstGeom>
          <a:solidFill>
            <a:srgbClr val="0385C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000"/>
          </a:p>
        </p:txBody>
      </p:sp>
      <p:sp>
        <p:nvSpPr>
          <p:cNvPr id="25" name="Rechthoek 24">
            <a:extLst>
              <a:ext uri="{FF2B5EF4-FFF2-40B4-BE49-F238E27FC236}">
                <a16:creationId xmlns:a16="http://schemas.microsoft.com/office/drawing/2014/main" id="{6A0AFF23-ADDE-4AEF-B4FA-AE8B6D17E04F}"/>
              </a:ext>
            </a:extLst>
          </p:cNvPr>
          <p:cNvSpPr/>
          <p:nvPr/>
        </p:nvSpPr>
        <p:spPr>
          <a:xfrm>
            <a:off x="2001068" y="3953627"/>
            <a:ext cx="145437" cy="110225"/>
          </a:xfrm>
          <a:prstGeom prst="rect">
            <a:avLst/>
          </a:prstGeom>
          <a:solidFill>
            <a:srgbClr val="0385C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000"/>
          </a:p>
        </p:txBody>
      </p:sp>
      <p:sp>
        <p:nvSpPr>
          <p:cNvPr id="26" name="Rechthoek 25">
            <a:extLst>
              <a:ext uri="{FF2B5EF4-FFF2-40B4-BE49-F238E27FC236}">
                <a16:creationId xmlns:a16="http://schemas.microsoft.com/office/drawing/2014/main" id="{64B9D763-4730-4338-A080-C7104CCF2925}"/>
              </a:ext>
            </a:extLst>
          </p:cNvPr>
          <p:cNvSpPr/>
          <p:nvPr/>
        </p:nvSpPr>
        <p:spPr>
          <a:xfrm>
            <a:off x="2264572" y="4401061"/>
            <a:ext cx="145437" cy="110225"/>
          </a:xfrm>
          <a:prstGeom prst="rect">
            <a:avLst/>
          </a:prstGeom>
          <a:solidFill>
            <a:srgbClr val="0385C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000"/>
          </a:p>
        </p:txBody>
      </p:sp>
      <p:sp>
        <p:nvSpPr>
          <p:cNvPr id="27" name="Rechthoek 26">
            <a:extLst>
              <a:ext uri="{FF2B5EF4-FFF2-40B4-BE49-F238E27FC236}">
                <a16:creationId xmlns:a16="http://schemas.microsoft.com/office/drawing/2014/main" id="{B8D8EF94-871C-49D8-98E8-8B3DFAC73725}"/>
              </a:ext>
            </a:extLst>
          </p:cNvPr>
          <p:cNvSpPr/>
          <p:nvPr/>
        </p:nvSpPr>
        <p:spPr>
          <a:xfrm>
            <a:off x="2356962" y="3952016"/>
            <a:ext cx="145437" cy="110225"/>
          </a:xfrm>
          <a:prstGeom prst="rect">
            <a:avLst/>
          </a:prstGeom>
          <a:solidFill>
            <a:srgbClr val="0385C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000"/>
          </a:p>
        </p:txBody>
      </p:sp>
      <p:sp>
        <p:nvSpPr>
          <p:cNvPr id="28" name="Rechthoek 27">
            <a:extLst>
              <a:ext uri="{FF2B5EF4-FFF2-40B4-BE49-F238E27FC236}">
                <a16:creationId xmlns:a16="http://schemas.microsoft.com/office/drawing/2014/main" id="{F3E90F18-601E-4693-8A65-FD0F412F8762}"/>
              </a:ext>
            </a:extLst>
          </p:cNvPr>
          <p:cNvSpPr/>
          <p:nvPr/>
        </p:nvSpPr>
        <p:spPr>
          <a:xfrm>
            <a:off x="3616673" y="4775465"/>
            <a:ext cx="145437" cy="110225"/>
          </a:xfrm>
          <a:prstGeom prst="rect">
            <a:avLst/>
          </a:prstGeom>
          <a:solidFill>
            <a:srgbClr val="FDCBA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000"/>
          </a:p>
        </p:txBody>
      </p:sp>
      <p:sp>
        <p:nvSpPr>
          <p:cNvPr id="29" name="Rechthoek 28">
            <a:extLst>
              <a:ext uri="{FF2B5EF4-FFF2-40B4-BE49-F238E27FC236}">
                <a16:creationId xmlns:a16="http://schemas.microsoft.com/office/drawing/2014/main" id="{8D58CACE-309F-4F04-9BD2-2D3ABAFB337A}"/>
              </a:ext>
            </a:extLst>
          </p:cNvPr>
          <p:cNvSpPr/>
          <p:nvPr/>
        </p:nvSpPr>
        <p:spPr>
          <a:xfrm>
            <a:off x="3616673" y="4607640"/>
            <a:ext cx="145437" cy="110225"/>
          </a:xfrm>
          <a:prstGeom prst="rect">
            <a:avLst/>
          </a:prstGeom>
          <a:solidFill>
            <a:srgbClr val="FDCBA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000"/>
          </a:p>
        </p:txBody>
      </p:sp>
      <p:sp>
        <p:nvSpPr>
          <p:cNvPr id="30" name="Rechthoek 29">
            <a:extLst>
              <a:ext uri="{FF2B5EF4-FFF2-40B4-BE49-F238E27FC236}">
                <a16:creationId xmlns:a16="http://schemas.microsoft.com/office/drawing/2014/main" id="{16EAAE28-333D-4D8C-AFCC-1D6E7BD5C2CD}"/>
              </a:ext>
            </a:extLst>
          </p:cNvPr>
          <p:cNvSpPr/>
          <p:nvPr/>
        </p:nvSpPr>
        <p:spPr>
          <a:xfrm>
            <a:off x="3644381" y="4480656"/>
            <a:ext cx="145437" cy="110225"/>
          </a:xfrm>
          <a:prstGeom prst="rect">
            <a:avLst/>
          </a:prstGeom>
          <a:solidFill>
            <a:srgbClr val="FDCBA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000"/>
          </a:p>
        </p:txBody>
      </p:sp>
      <p:sp>
        <p:nvSpPr>
          <p:cNvPr id="31" name="Rechthoek 30">
            <a:extLst>
              <a:ext uri="{FF2B5EF4-FFF2-40B4-BE49-F238E27FC236}">
                <a16:creationId xmlns:a16="http://schemas.microsoft.com/office/drawing/2014/main" id="{4CE8F678-6727-4664-BEFA-325D72AB3989}"/>
              </a:ext>
            </a:extLst>
          </p:cNvPr>
          <p:cNvSpPr/>
          <p:nvPr/>
        </p:nvSpPr>
        <p:spPr>
          <a:xfrm>
            <a:off x="3609351" y="4324427"/>
            <a:ext cx="145437" cy="110225"/>
          </a:xfrm>
          <a:prstGeom prst="rect">
            <a:avLst/>
          </a:prstGeom>
          <a:solidFill>
            <a:srgbClr val="FDCBA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000"/>
          </a:p>
        </p:txBody>
      </p:sp>
      <p:sp>
        <p:nvSpPr>
          <p:cNvPr id="32" name="Rechthoek 31">
            <a:extLst>
              <a:ext uri="{FF2B5EF4-FFF2-40B4-BE49-F238E27FC236}">
                <a16:creationId xmlns:a16="http://schemas.microsoft.com/office/drawing/2014/main" id="{55D514AF-3603-4CA8-9D91-7475B61FC821}"/>
              </a:ext>
            </a:extLst>
          </p:cNvPr>
          <p:cNvSpPr/>
          <p:nvPr/>
        </p:nvSpPr>
        <p:spPr>
          <a:xfrm>
            <a:off x="3595815" y="4162482"/>
            <a:ext cx="145437" cy="110225"/>
          </a:xfrm>
          <a:prstGeom prst="rect">
            <a:avLst/>
          </a:prstGeom>
          <a:solidFill>
            <a:srgbClr val="FDCBA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000"/>
          </a:p>
        </p:txBody>
      </p:sp>
      <p:sp>
        <p:nvSpPr>
          <p:cNvPr id="33" name="Rechthoek 32">
            <a:extLst>
              <a:ext uri="{FF2B5EF4-FFF2-40B4-BE49-F238E27FC236}">
                <a16:creationId xmlns:a16="http://schemas.microsoft.com/office/drawing/2014/main" id="{8AE5FB56-A2CA-417C-8A01-141DF72EED60}"/>
              </a:ext>
            </a:extLst>
          </p:cNvPr>
          <p:cNvSpPr/>
          <p:nvPr/>
        </p:nvSpPr>
        <p:spPr>
          <a:xfrm>
            <a:off x="3605828" y="4017719"/>
            <a:ext cx="145437" cy="110225"/>
          </a:xfrm>
          <a:prstGeom prst="rect">
            <a:avLst/>
          </a:prstGeom>
          <a:solidFill>
            <a:srgbClr val="FDCBA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000"/>
          </a:p>
        </p:txBody>
      </p:sp>
      <p:sp>
        <p:nvSpPr>
          <p:cNvPr id="34" name="Rechthoek 33">
            <a:extLst>
              <a:ext uri="{FF2B5EF4-FFF2-40B4-BE49-F238E27FC236}">
                <a16:creationId xmlns:a16="http://schemas.microsoft.com/office/drawing/2014/main" id="{00CD50A7-EE7E-4CD8-ADC7-A07D218C02F8}"/>
              </a:ext>
            </a:extLst>
          </p:cNvPr>
          <p:cNvSpPr/>
          <p:nvPr/>
        </p:nvSpPr>
        <p:spPr>
          <a:xfrm>
            <a:off x="3716886" y="3798794"/>
            <a:ext cx="145437" cy="110225"/>
          </a:xfrm>
          <a:prstGeom prst="rect">
            <a:avLst/>
          </a:prstGeom>
          <a:solidFill>
            <a:srgbClr val="FDCBA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000"/>
          </a:p>
        </p:txBody>
      </p:sp>
      <p:sp>
        <p:nvSpPr>
          <p:cNvPr id="35" name="Rechthoek 34">
            <a:extLst>
              <a:ext uri="{FF2B5EF4-FFF2-40B4-BE49-F238E27FC236}">
                <a16:creationId xmlns:a16="http://schemas.microsoft.com/office/drawing/2014/main" id="{D009DB78-9909-4020-9FDD-8B7E71718AB1}"/>
              </a:ext>
            </a:extLst>
          </p:cNvPr>
          <p:cNvSpPr/>
          <p:nvPr/>
        </p:nvSpPr>
        <p:spPr>
          <a:xfrm>
            <a:off x="3998864" y="3795343"/>
            <a:ext cx="121927" cy="113676"/>
          </a:xfrm>
          <a:prstGeom prst="rect">
            <a:avLst/>
          </a:prstGeom>
          <a:solidFill>
            <a:srgbClr val="FDCBA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000"/>
          </a:p>
        </p:txBody>
      </p:sp>
      <p:sp>
        <p:nvSpPr>
          <p:cNvPr id="36" name="Rechthoek 35">
            <a:extLst>
              <a:ext uri="{FF2B5EF4-FFF2-40B4-BE49-F238E27FC236}">
                <a16:creationId xmlns:a16="http://schemas.microsoft.com/office/drawing/2014/main" id="{1090ED06-109E-48AE-8ADD-AC6EC2675A74}"/>
              </a:ext>
            </a:extLst>
          </p:cNvPr>
          <p:cNvSpPr/>
          <p:nvPr/>
        </p:nvSpPr>
        <p:spPr>
          <a:xfrm>
            <a:off x="4184443" y="3795343"/>
            <a:ext cx="126421" cy="113676"/>
          </a:xfrm>
          <a:prstGeom prst="rect">
            <a:avLst/>
          </a:prstGeom>
          <a:solidFill>
            <a:srgbClr val="FDCBA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000"/>
          </a:p>
        </p:txBody>
      </p:sp>
      <p:sp>
        <p:nvSpPr>
          <p:cNvPr id="37" name="Rechthoek 36">
            <a:extLst>
              <a:ext uri="{FF2B5EF4-FFF2-40B4-BE49-F238E27FC236}">
                <a16:creationId xmlns:a16="http://schemas.microsoft.com/office/drawing/2014/main" id="{8D8F2A68-EAA7-44FD-B8CF-C19C2D66647E}"/>
              </a:ext>
            </a:extLst>
          </p:cNvPr>
          <p:cNvSpPr/>
          <p:nvPr/>
        </p:nvSpPr>
        <p:spPr>
          <a:xfrm>
            <a:off x="4396936" y="3785805"/>
            <a:ext cx="121927" cy="113676"/>
          </a:xfrm>
          <a:prstGeom prst="rect">
            <a:avLst/>
          </a:prstGeom>
          <a:solidFill>
            <a:srgbClr val="FDCBA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000"/>
          </a:p>
        </p:txBody>
      </p:sp>
      <p:sp>
        <p:nvSpPr>
          <p:cNvPr id="38" name="Rechthoek 37">
            <a:extLst>
              <a:ext uri="{FF2B5EF4-FFF2-40B4-BE49-F238E27FC236}">
                <a16:creationId xmlns:a16="http://schemas.microsoft.com/office/drawing/2014/main" id="{D86F173D-0993-4748-988D-FB69A0F4939E}"/>
              </a:ext>
            </a:extLst>
          </p:cNvPr>
          <p:cNvSpPr/>
          <p:nvPr/>
        </p:nvSpPr>
        <p:spPr>
          <a:xfrm>
            <a:off x="4652795" y="3791891"/>
            <a:ext cx="121927" cy="113676"/>
          </a:xfrm>
          <a:prstGeom prst="rect">
            <a:avLst/>
          </a:prstGeom>
          <a:solidFill>
            <a:srgbClr val="FDCBA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000"/>
          </a:p>
        </p:txBody>
      </p:sp>
      <p:sp>
        <p:nvSpPr>
          <p:cNvPr id="39" name="Rechthoek 38">
            <a:extLst>
              <a:ext uri="{FF2B5EF4-FFF2-40B4-BE49-F238E27FC236}">
                <a16:creationId xmlns:a16="http://schemas.microsoft.com/office/drawing/2014/main" id="{DAA87ADD-A799-4C81-BBD2-3DF8A5348335}"/>
              </a:ext>
            </a:extLst>
          </p:cNvPr>
          <p:cNvSpPr/>
          <p:nvPr/>
        </p:nvSpPr>
        <p:spPr>
          <a:xfrm>
            <a:off x="4846676" y="3813206"/>
            <a:ext cx="121927" cy="113676"/>
          </a:xfrm>
          <a:prstGeom prst="rect">
            <a:avLst/>
          </a:prstGeom>
          <a:solidFill>
            <a:srgbClr val="FDCBA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000"/>
          </a:p>
        </p:txBody>
      </p:sp>
      <p:sp>
        <p:nvSpPr>
          <p:cNvPr id="40" name="Rechthoek 39">
            <a:extLst>
              <a:ext uri="{FF2B5EF4-FFF2-40B4-BE49-F238E27FC236}">
                <a16:creationId xmlns:a16="http://schemas.microsoft.com/office/drawing/2014/main" id="{635411E7-273B-4B62-B0BD-CACB6580816B}"/>
              </a:ext>
            </a:extLst>
          </p:cNvPr>
          <p:cNvSpPr/>
          <p:nvPr/>
        </p:nvSpPr>
        <p:spPr>
          <a:xfrm>
            <a:off x="5051006" y="3799964"/>
            <a:ext cx="121927" cy="113676"/>
          </a:xfrm>
          <a:prstGeom prst="rect">
            <a:avLst/>
          </a:prstGeom>
          <a:solidFill>
            <a:srgbClr val="FDCBA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000"/>
          </a:p>
        </p:txBody>
      </p:sp>
      <p:sp>
        <p:nvSpPr>
          <p:cNvPr id="41" name="Rechthoek 40">
            <a:extLst>
              <a:ext uri="{FF2B5EF4-FFF2-40B4-BE49-F238E27FC236}">
                <a16:creationId xmlns:a16="http://schemas.microsoft.com/office/drawing/2014/main" id="{36D4D1CE-2C76-4CC8-BC11-F80CB8065C0A}"/>
              </a:ext>
            </a:extLst>
          </p:cNvPr>
          <p:cNvSpPr/>
          <p:nvPr/>
        </p:nvSpPr>
        <p:spPr>
          <a:xfrm>
            <a:off x="5099924" y="4062241"/>
            <a:ext cx="121927" cy="113676"/>
          </a:xfrm>
          <a:prstGeom prst="rect">
            <a:avLst/>
          </a:prstGeom>
          <a:solidFill>
            <a:srgbClr val="FDCBA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000"/>
          </a:p>
        </p:txBody>
      </p:sp>
      <p:sp>
        <p:nvSpPr>
          <p:cNvPr id="42" name="Rechthoek 41">
            <a:extLst>
              <a:ext uri="{FF2B5EF4-FFF2-40B4-BE49-F238E27FC236}">
                <a16:creationId xmlns:a16="http://schemas.microsoft.com/office/drawing/2014/main" id="{3766F1DE-5B69-4A96-B6BA-91438B276741}"/>
              </a:ext>
            </a:extLst>
          </p:cNvPr>
          <p:cNvSpPr/>
          <p:nvPr/>
        </p:nvSpPr>
        <p:spPr>
          <a:xfrm>
            <a:off x="5105710" y="4349757"/>
            <a:ext cx="121927" cy="113676"/>
          </a:xfrm>
          <a:prstGeom prst="rect">
            <a:avLst/>
          </a:prstGeom>
          <a:solidFill>
            <a:srgbClr val="FDCBA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000"/>
          </a:p>
        </p:txBody>
      </p:sp>
      <p:sp>
        <p:nvSpPr>
          <p:cNvPr id="43" name="Rechthoek 42">
            <a:extLst>
              <a:ext uri="{FF2B5EF4-FFF2-40B4-BE49-F238E27FC236}">
                <a16:creationId xmlns:a16="http://schemas.microsoft.com/office/drawing/2014/main" id="{C1BDB4BF-5305-4D38-80FB-F6DBE8AE2617}"/>
              </a:ext>
            </a:extLst>
          </p:cNvPr>
          <p:cNvSpPr/>
          <p:nvPr/>
        </p:nvSpPr>
        <p:spPr>
          <a:xfrm>
            <a:off x="5111970" y="4895911"/>
            <a:ext cx="121927" cy="113676"/>
          </a:xfrm>
          <a:prstGeom prst="rect">
            <a:avLst/>
          </a:prstGeom>
          <a:solidFill>
            <a:srgbClr val="FDCBA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000"/>
          </a:p>
        </p:txBody>
      </p:sp>
      <p:sp>
        <p:nvSpPr>
          <p:cNvPr id="44" name="Rechthoek 43">
            <a:extLst>
              <a:ext uri="{FF2B5EF4-FFF2-40B4-BE49-F238E27FC236}">
                <a16:creationId xmlns:a16="http://schemas.microsoft.com/office/drawing/2014/main" id="{B1F40A54-0F50-48E9-9BB0-4E5A119A1FE4}"/>
              </a:ext>
            </a:extLst>
          </p:cNvPr>
          <p:cNvSpPr/>
          <p:nvPr/>
        </p:nvSpPr>
        <p:spPr>
          <a:xfrm>
            <a:off x="4724751" y="4919453"/>
            <a:ext cx="121927" cy="113676"/>
          </a:xfrm>
          <a:prstGeom prst="rect">
            <a:avLst/>
          </a:prstGeom>
          <a:solidFill>
            <a:srgbClr val="FDCBA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000"/>
          </a:p>
        </p:txBody>
      </p:sp>
      <p:sp>
        <p:nvSpPr>
          <p:cNvPr id="45" name="Rechthoek 44">
            <a:extLst>
              <a:ext uri="{FF2B5EF4-FFF2-40B4-BE49-F238E27FC236}">
                <a16:creationId xmlns:a16="http://schemas.microsoft.com/office/drawing/2014/main" id="{BEDE1BEA-8B17-470B-A089-DB72DBF0094E}"/>
              </a:ext>
            </a:extLst>
          </p:cNvPr>
          <p:cNvSpPr/>
          <p:nvPr/>
        </p:nvSpPr>
        <p:spPr>
          <a:xfrm>
            <a:off x="4282166" y="4919452"/>
            <a:ext cx="121927" cy="113676"/>
          </a:xfrm>
          <a:prstGeom prst="rect">
            <a:avLst/>
          </a:prstGeom>
          <a:solidFill>
            <a:srgbClr val="FDCBA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000"/>
          </a:p>
        </p:txBody>
      </p:sp>
      <p:sp>
        <p:nvSpPr>
          <p:cNvPr id="46" name="Rechthoek 45">
            <a:extLst>
              <a:ext uri="{FF2B5EF4-FFF2-40B4-BE49-F238E27FC236}">
                <a16:creationId xmlns:a16="http://schemas.microsoft.com/office/drawing/2014/main" id="{82E28479-2174-4B66-97C5-19287D59CCD6}"/>
              </a:ext>
            </a:extLst>
          </p:cNvPr>
          <p:cNvSpPr/>
          <p:nvPr/>
        </p:nvSpPr>
        <p:spPr>
          <a:xfrm>
            <a:off x="6852733" y="4880690"/>
            <a:ext cx="251715" cy="152440"/>
          </a:xfrm>
          <a:prstGeom prst="rect">
            <a:avLst/>
          </a:prstGeom>
          <a:solidFill>
            <a:srgbClr val="00A4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000"/>
          </a:p>
        </p:txBody>
      </p:sp>
      <p:sp>
        <p:nvSpPr>
          <p:cNvPr id="47" name="Rechthoek 46">
            <a:extLst>
              <a:ext uri="{FF2B5EF4-FFF2-40B4-BE49-F238E27FC236}">
                <a16:creationId xmlns:a16="http://schemas.microsoft.com/office/drawing/2014/main" id="{91676EC7-6DC6-43A2-B20A-6A9C85E40BDB}"/>
              </a:ext>
            </a:extLst>
          </p:cNvPr>
          <p:cNvSpPr/>
          <p:nvPr/>
        </p:nvSpPr>
        <p:spPr>
          <a:xfrm>
            <a:off x="6359910" y="4867669"/>
            <a:ext cx="251715" cy="152440"/>
          </a:xfrm>
          <a:prstGeom prst="rect">
            <a:avLst/>
          </a:prstGeom>
          <a:solidFill>
            <a:srgbClr val="00A4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000"/>
          </a:p>
        </p:txBody>
      </p:sp>
      <p:sp>
        <p:nvSpPr>
          <p:cNvPr id="48" name="Rechthoek 47">
            <a:extLst>
              <a:ext uri="{FF2B5EF4-FFF2-40B4-BE49-F238E27FC236}">
                <a16:creationId xmlns:a16="http://schemas.microsoft.com/office/drawing/2014/main" id="{09AC1805-D7FB-4F8B-A8DF-5A3018F99AD3}"/>
              </a:ext>
            </a:extLst>
          </p:cNvPr>
          <p:cNvSpPr/>
          <p:nvPr/>
        </p:nvSpPr>
        <p:spPr>
          <a:xfrm>
            <a:off x="6092358" y="4570695"/>
            <a:ext cx="130612" cy="125039"/>
          </a:xfrm>
          <a:prstGeom prst="rect">
            <a:avLst/>
          </a:prstGeom>
          <a:solidFill>
            <a:srgbClr val="00A4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000"/>
          </a:p>
        </p:txBody>
      </p:sp>
      <p:sp>
        <p:nvSpPr>
          <p:cNvPr id="49" name="Rechthoek 48">
            <a:extLst>
              <a:ext uri="{FF2B5EF4-FFF2-40B4-BE49-F238E27FC236}">
                <a16:creationId xmlns:a16="http://schemas.microsoft.com/office/drawing/2014/main" id="{8EA5B825-2927-4A46-ABDC-0852D08D48F9}"/>
              </a:ext>
            </a:extLst>
          </p:cNvPr>
          <p:cNvSpPr/>
          <p:nvPr/>
        </p:nvSpPr>
        <p:spPr>
          <a:xfrm>
            <a:off x="6086808" y="4418137"/>
            <a:ext cx="136163" cy="71327"/>
          </a:xfrm>
          <a:prstGeom prst="rect">
            <a:avLst/>
          </a:prstGeom>
          <a:solidFill>
            <a:srgbClr val="00A4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000"/>
          </a:p>
        </p:txBody>
      </p:sp>
      <p:sp>
        <p:nvSpPr>
          <p:cNvPr id="50" name="Rechthoek 49">
            <a:extLst>
              <a:ext uri="{FF2B5EF4-FFF2-40B4-BE49-F238E27FC236}">
                <a16:creationId xmlns:a16="http://schemas.microsoft.com/office/drawing/2014/main" id="{2DE272C1-59D0-4C51-B1F3-9E7785B53883}"/>
              </a:ext>
            </a:extLst>
          </p:cNvPr>
          <p:cNvSpPr/>
          <p:nvPr/>
        </p:nvSpPr>
        <p:spPr>
          <a:xfrm>
            <a:off x="6085839" y="4275645"/>
            <a:ext cx="152897" cy="81805"/>
          </a:xfrm>
          <a:prstGeom prst="rect">
            <a:avLst/>
          </a:prstGeom>
          <a:solidFill>
            <a:srgbClr val="00A4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000"/>
          </a:p>
        </p:txBody>
      </p:sp>
      <p:sp>
        <p:nvSpPr>
          <p:cNvPr id="51" name="Rechthoek 50">
            <a:extLst>
              <a:ext uri="{FF2B5EF4-FFF2-40B4-BE49-F238E27FC236}">
                <a16:creationId xmlns:a16="http://schemas.microsoft.com/office/drawing/2014/main" id="{AE18AEC7-D185-4B78-A51C-2B0F97235313}"/>
              </a:ext>
            </a:extLst>
          </p:cNvPr>
          <p:cNvSpPr/>
          <p:nvPr/>
        </p:nvSpPr>
        <p:spPr>
          <a:xfrm>
            <a:off x="6092358" y="4159183"/>
            <a:ext cx="146378" cy="75846"/>
          </a:xfrm>
          <a:prstGeom prst="rect">
            <a:avLst/>
          </a:prstGeom>
          <a:solidFill>
            <a:srgbClr val="00A4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000"/>
          </a:p>
        </p:txBody>
      </p:sp>
      <p:sp>
        <p:nvSpPr>
          <p:cNvPr id="52" name="Rechthoek 51">
            <a:extLst>
              <a:ext uri="{FF2B5EF4-FFF2-40B4-BE49-F238E27FC236}">
                <a16:creationId xmlns:a16="http://schemas.microsoft.com/office/drawing/2014/main" id="{8BA7305B-8686-4251-8803-951E9E50502C}"/>
              </a:ext>
            </a:extLst>
          </p:cNvPr>
          <p:cNvSpPr/>
          <p:nvPr/>
        </p:nvSpPr>
        <p:spPr>
          <a:xfrm>
            <a:off x="6102574" y="3791891"/>
            <a:ext cx="125947" cy="148087"/>
          </a:xfrm>
          <a:prstGeom prst="rect">
            <a:avLst/>
          </a:prstGeom>
          <a:solidFill>
            <a:srgbClr val="00A4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000"/>
          </a:p>
        </p:txBody>
      </p:sp>
      <p:sp>
        <p:nvSpPr>
          <p:cNvPr id="53" name="Rechthoek 52">
            <a:extLst>
              <a:ext uri="{FF2B5EF4-FFF2-40B4-BE49-F238E27FC236}">
                <a16:creationId xmlns:a16="http://schemas.microsoft.com/office/drawing/2014/main" id="{AA4CF496-0E05-454F-B571-22E1AFF00A0B}"/>
              </a:ext>
            </a:extLst>
          </p:cNvPr>
          <p:cNvSpPr/>
          <p:nvPr/>
        </p:nvSpPr>
        <p:spPr>
          <a:xfrm>
            <a:off x="6333026" y="3764534"/>
            <a:ext cx="94515" cy="149107"/>
          </a:xfrm>
          <a:prstGeom prst="rect">
            <a:avLst/>
          </a:prstGeom>
          <a:solidFill>
            <a:srgbClr val="00A4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000"/>
          </a:p>
        </p:txBody>
      </p:sp>
      <p:sp>
        <p:nvSpPr>
          <p:cNvPr id="54" name="Rechthoek 53">
            <a:extLst>
              <a:ext uri="{FF2B5EF4-FFF2-40B4-BE49-F238E27FC236}">
                <a16:creationId xmlns:a16="http://schemas.microsoft.com/office/drawing/2014/main" id="{BC962BF4-94FE-44E5-81CD-2C722E02BD83}"/>
              </a:ext>
            </a:extLst>
          </p:cNvPr>
          <p:cNvSpPr/>
          <p:nvPr/>
        </p:nvSpPr>
        <p:spPr>
          <a:xfrm>
            <a:off x="6520299" y="3771313"/>
            <a:ext cx="107830" cy="155570"/>
          </a:xfrm>
          <a:prstGeom prst="rect">
            <a:avLst/>
          </a:prstGeom>
          <a:solidFill>
            <a:srgbClr val="00A4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000"/>
          </a:p>
        </p:txBody>
      </p:sp>
      <p:sp>
        <p:nvSpPr>
          <p:cNvPr id="55" name="Rechthoek 54">
            <a:extLst>
              <a:ext uri="{FF2B5EF4-FFF2-40B4-BE49-F238E27FC236}">
                <a16:creationId xmlns:a16="http://schemas.microsoft.com/office/drawing/2014/main" id="{AE8CBCF3-C627-4AFB-A39D-6961B7DFC8D8}"/>
              </a:ext>
            </a:extLst>
          </p:cNvPr>
          <p:cNvSpPr/>
          <p:nvPr/>
        </p:nvSpPr>
        <p:spPr>
          <a:xfrm>
            <a:off x="6714807" y="3777473"/>
            <a:ext cx="107830" cy="155570"/>
          </a:xfrm>
          <a:prstGeom prst="rect">
            <a:avLst/>
          </a:prstGeom>
          <a:solidFill>
            <a:srgbClr val="00A4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000"/>
          </a:p>
        </p:txBody>
      </p:sp>
      <p:sp>
        <p:nvSpPr>
          <p:cNvPr id="56" name="Rechthoek 55">
            <a:extLst>
              <a:ext uri="{FF2B5EF4-FFF2-40B4-BE49-F238E27FC236}">
                <a16:creationId xmlns:a16="http://schemas.microsoft.com/office/drawing/2014/main" id="{B772F5F1-8046-412A-98C6-173A76D72130}"/>
              </a:ext>
            </a:extLst>
          </p:cNvPr>
          <p:cNvSpPr/>
          <p:nvPr/>
        </p:nvSpPr>
        <p:spPr>
          <a:xfrm>
            <a:off x="6876726" y="3777472"/>
            <a:ext cx="140194" cy="155571"/>
          </a:xfrm>
          <a:prstGeom prst="rect">
            <a:avLst/>
          </a:prstGeom>
          <a:solidFill>
            <a:srgbClr val="00A4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000"/>
          </a:p>
        </p:txBody>
      </p:sp>
      <p:sp>
        <p:nvSpPr>
          <p:cNvPr id="57" name="Rechthoek 56">
            <a:extLst>
              <a:ext uri="{FF2B5EF4-FFF2-40B4-BE49-F238E27FC236}">
                <a16:creationId xmlns:a16="http://schemas.microsoft.com/office/drawing/2014/main" id="{E893ECF9-F547-4232-9982-83D9D212960C}"/>
              </a:ext>
            </a:extLst>
          </p:cNvPr>
          <p:cNvSpPr/>
          <p:nvPr/>
        </p:nvSpPr>
        <p:spPr>
          <a:xfrm>
            <a:off x="7058762" y="3785804"/>
            <a:ext cx="112777" cy="111632"/>
          </a:xfrm>
          <a:prstGeom prst="rect">
            <a:avLst/>
          </a:prstGeom>
          <a:solidFill>
            <a:srgbClr val="00A4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000"/>
          </a:p>
        </p:txBody>
      </p:sp>
      <p:sp>
        <p:nvSpPr>
          <p:cNvPr id="58" name="Rechthoek 57">
            <a:extLst>
              <a:ext uri="{FF2B5EF4-FFF2-40B4-BE49-F238E27FC236}">
                <a16:creationId xmlns:a16="http://schemas.microsoft.com/office/drawing/2014/main" id="{B53A66AB-9EF9-405E-A6C4-4304C114E2A5}"/>
              </a:ext>
            </a:extLst>
          </p:cNvPr>
          <p:cNvSpPr/>
          <p:nvPr/>
        </p:nvSpPr>
        <p:spPr>
          <a:xfrm>
            <a:off x="7225493" y="3785804"/>
            <a:ext cx="102457" cy="127836"/>
          </a:xfrm>
          <a:prstGeom prst="rect">
            <a:avLst/>
          </a:prstGeom>
          <a:solidFill>
            <a:srgbClr val="00A4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000"/>
          </a:p>
        </p:txBody>
      </p:sp>
      <p:sp>
        <p:nvSpPr>
          <p:cNvPr id="59" name="Rechthoek 58">
            <a:extLst>
              <a:ext uri="{FF2B5EF4-FFF2-40B4-BE49-F238E27FC236}">
                <a16:creationId xmlns:a16="http://schemas.microsoft.com/office/drawing/2014/main" id="{1C9A6248-0EC3-4A0B-B23C-B6885742B30A}"/>
              </a:ext>
            </a:extLst>
          </p:cNvPr>
          <p:cNvSpPr/>
          <p:nvPr/>
        </p:nvSpPr>
        <p:spPr>
          <a:xfrm>
            <a:off x="7430783" y="3784810"/>
            <a:ext cx="145961" cy="142072"/>
          </a:xfrm>
          <a:prstGeom prst="rect">
            <a:avLst/>
          </a:prstGeom>
          <a:solidFill>
            <a:srgbClr val="00A4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000"/>
          </a:p>
        </p:txBody>
      </p:sp>
      <p:sp>
        <p:nvSpPr>
          <p:cNvPr id="60" name="Rechthoek 59">
            <a:extLst>
              <a:ext uri="{FF2B5EF4-FFF2-40B4-BE49-F238E27FC236}">
                <a16:creationId xmlns:a16="http://schemas.microsoft.com/office/drawing/2014/main" id="{33F7BF0B-9B50-44A5-8661-32CE4E25F818}"/>
              </a:ext>
            </a:extLst>
          </p:cNvPr>
          <p:cNvSpPr/>
          <p:nvPr/>
        </p:nvSpPr>
        <p:spPr>
          <a:xfrm>
            <a:off x="7457021" y="4123230"/>
            <a:ext cx="119722" cy="88015"/>
          </a:xfrm>
          <a:prstGeom prst="rect">
            <a:avLst/>
          </a:prstGeom>
          <a:solidFill>
            <a:srgbClr val="00A4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000"/>
          </a:p>
        </p:txBody>
      </p:sp>
      <p:sp>
        <p:nvSpPr>
          <p:cNvPr id="61" name="Rechthoek 60">
            <a:extLst>
              <a:ext uri="{FF2B5EF4-FFF2-40B4-BE49-F238E27FC236}">
                <a16:creationId xmlns:a16="http://schemas.microsoft.com/office/drawing/2014/main" id="{96325B3A-5919-43A6-A9F1-9050C568E570}"/>
              </a:ext>
            </a:extLst>
          </p:cNvPr>
          <p:cNvSpPr/>
          <p:nvPr/>
        </p:nvSpPr>
        <p:spPr>
          <a:xfrm>
            <a:off x="7448455" y="4291145"/>
            <a:ext cx="119722" cy="88015"/>
          </a:xfrm>
          <a:prstGeom prst="rect">
            <a:avLst/>
          </a:prstGeom>
          <a:solidFill>
            <a:srgbClr val="00A4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000"/>
          </a:p>
        </p:txBody>
      </p:sp>
      <p:sp>
        <p:nvSpPr>
          <p:cNvPr id="62" name="Rechthoek 61">
            <a:extLst>
              <a:ext uri="{FF2B5EF4-FFF2-40B4-BE49-F238E27FC236}">
                <a16:creationId xmlns:a16="http://schemas.microsoft.com/office/drawing/2014/main" id="{AE854E2E-46C1-47E7-9B87-D40AB080E850}"/>
              </a:ext>
            </a:extLst>
          </p:cNvPr>
          <p:cNvSpPr/>
          <p:nvPr/>
        </p:nvSpPr>
        <p:spPr>
          <a:xfrm>
            <a:off x="7416094" y="4468110"/>
            <a:ext cx="152082" cy="77076"/>
          </a:xfrm>
          <a:prstGeom prst="rect">
            <a:avLst/>
          </a:prstGeom>
          <a:solidFill>
            <a:srgbClr val="00A4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000"/>
          </a:p>
        </p:txBody>
      </p:sp>
      <p:sp>
        <p:nvSpPr>
          <p:cNvPr id="63" name="Rechthoek 62">
            <a:extLst>
              <a:ext uri="{FF2B5EF4-FFF2-40B4-BE49-F238E27FC236}">
                <a16:creationId xmlns:a16="http://schemas.microsoft.com/office/drawing/2014/main" id="{65F75B6B-2612-4929-98E7-A4A70DFC825B}"/>
              </a:ext>
            </a:extLst>
          </p:cNvPr>
          <p:cNvSpPr/>
          <p:nvPr/>
        </p:nvSpPr>
        <p:spPr>
          <a:xfrm>
            <a:off x="7416094" y="4637602"/>
            <a:ext cx="152082" cy="77076"/>
          </a:xfrm>
          <a:prstGeom prst="rect">
            <a:avLst/>
          </a:prstGeom>
          <a:solidFill>
            <a:srgbClr val="00A4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000"/>
          </a:p>
        </p:txBody>
      </p:sp>
      <p:sp>
        <p:nvSpPr>
          <p:cNvPr id="64" name="Rechthoek 63">
            <a:extLst>
              <a:ext uri="{FF2B5EF4-FFF2-40B4-BE49-F238E27FC236}">
                <a16:creationId xmlns:a16="http://schemas.microsoft.com/office/drawing/2014/main" id="{D7E6E9A3-09CB-4935-B68C-DAE441C1D33A}"/>
              </a:ext>
            </a:extLst>
          </p:cNvPr>
          <p:cNvSpPr/>
          <p:nvPr/>
        </p:nvSpPr>
        <p:spPr>
          <a:xfrm>
            <a:off x="7422220" y="4929307"/>
            <a:ext cx="164185" cy="119310"/>
          </a:xfrm>
          <a:prstGeom prst="rect">
            <a:avLst/>
          </a:prstGeom>
          <a:solidFill>
            <a:srgbClr val="00A4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000"/>
          </a:p>
        </p:txBody>
      </p:sp>
      <p:sp>
        <p:nvSpPr>
          <p:cNvPr id="65" name="Rechthoek 64">
            <a:extLst>
              <a:ext uri="{FF2B5EF4-FFF2-40B4-BE49-F238E27FC236}">
                <a16:creationId xmlns:a16="http://schemas.microsoft.com/office/drawing/2014/main" id="{54C7B025-B580-483F-8F3F-9DE6049324A9}"/>
              </a:ext>
            </a:extLst>
          </p:cNvPr>
          <p:cNvSpPr/>
          <p:nvPr/>
        </p:nvSpPr>
        <p:spPr>
          <a:xfrm>
            <a:off x="9610414" y="4573560"/>
            <a:ext cx="164185" cy="119310"/>
          </a:xfrm>
          <a:prstGeom prst="rect">
            <a:avLst/>
          </a:prstGeom>
          <a:solidFill>
            <a:srgbClr val="009B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000"/>
          </a:p>
        </p:txBody>
      </p:sp>
      <p:sp>
        <p:nvSpPr>
          <p:cNvPr id="66" name="Rechthoek 65">
            <a:extLst>
              <a:ext uri="{FF2B5EF4-FFF2-40B4-BE49-F238E27FC236}">
                <a16:creationId xmlns:a16="http://schemas.microsoft.com/office/drawing/2014/main" id="{466A96AF-BA95-435D-B73C-146AD291E830}"/>
              </a:ext>
            </a:extLst>
          </p:cNvPr>
          <p:cNvSpPr/>
          <p:nvPr/>
        </p:nvSpPr>
        <p:spPr>
          <a:xfrm>
            <a:off x="9011731" y="4543442"/>
            <a:ext cx="141131" cy="121521"/>
          </a:xfrm>
          <a:prstGeom prst="rect">
            <a:avLst/>
          </a:prstGeom>
          <a:solidFill>
            <a:srgbClr val="009B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000"/>
          </a:p>
        </p:txBody>
      </p:sp>
      <p:sp>
        <p:nvSpPr>
          <p:cNvPr id="67" name="Rechthoek 66">
            <a:extLst>
              <a:ext uri="{FF2B5EF4-FFF2-40B4-BE49-F238E27FC236}">
                <a16:creationId xmlns:a16="http://schemas.microsoft.com/office/drawing/2014/main" id="{CDA03E06-98FE-49FA-BCDA-585395F73D6D}"/>
              </a:ext>
            </a:extLst>
          </p:cNvPr>
          <p:cNvSpPr/>
          <p:nvPr/>
        </p:nvSpPr>
        <p:spPr>
          <a:xfrm>
            <a:off x="9073518" y="4802058"/>
            <a:ext cx="105337" cy="93854"/>
          </a:xfrm>
          <a:prstGeom prst="rect">
            <a:avLst/>
          </a:prstGeom>
          <a:solidFill>
            <a:srgbClr val="009B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000"/>
          </a:p>
        </p:txBody>
      </p:sp>
      <p:sp>
        <p:nvSpPr>
          <p:cNvPr id="68" name="Rechthoek 67">
            <a:extLst>
              <a:ext uri="{FF2B5EF4-FFF2-40B4-BE49-F238E27FC236}">
                <a16:creationId xmlns:a16="http://schemas.microsoft.com/office/drawing/2014/main" id="{90F56D8F-A3BB-4A4F-95CA-CE9C3CBDA31F}"/>
              </a:ext>
            </a:extLst>
          </p:cNvPr>
          <p:cNvSpPr/>
          <p:nvPr/>
        </p:nvSpPr>
        <p:spPr>
          <a:xfrm>
            <a:off x="9152861" y="5070706"/>
            <a:ext cx="105337" cy="93854"/>
          </a:xfrm>
          <a:prstGeom prst="rect">
            <a:avLst/>
          </a:prstGeom>
          <a:solidFill>
            <a:srgbClr val="009B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000"/>
          </a:p>
        </p:txBody>
      </p:sp>
      <p:sp>
        <p:nvSpPr>
          <p:cNvPr id="69" name="Rechthoek 68">
            <a:extLst>
              <a:ext uri="{FF2B5EF4-FFF2-40B4-BE49-F238E27FC236}">
                <a16:creationId xmlns:a16="http://schemas.microsoft.com/office/drawing/2014/main" id="{F68E1DC3-E7F0-43A7-8FDF-C1F181741979}"/>
              </a:ext>
            </a:extLst>
          </p:cNvPr>
          <p:cNvSpPr/>
          <p:nvPr/>
        </p:nvSpPr>
        <p:spPr>
          <a:xfrm>
            <a:off x="9360825" y="5326811"/>
            <a:ext cx="105337" cy="93854"/>
          </a:xfrm>
          <a:prstGeom prst="rect">
            <a:avLst/>
          </a:prstGeom>
          <a:solidFill>
            <a:srgbClr val="009B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000"/>
          </a:p>
        </p:txBody>
      </p:sp>
      <p:sp>
        <p:nvSpPr>
          <p:cNvPr id="70" name="Rechthoek 69">
            <a:extLst>
              <a:ext uri="{FF2B5EF4-FFF2-40B4-BE49-F238E27FC236}">
                <a16:creationId xmlns:a16="http://schemas.microsoft.com/office/drawing/2014/main" id="{42044C01-3F62-46D7-A5F0-704B138BF3A3}"/>
              </a:ext>
            </a:extLst>
          </p:cNvPr>
          <p:cNvSpPr/>
          <p:nvPr/>
        </p:nvSpPr>
        <p:spPr>
          <a:xfrm>
            <a:off x="8198321" y="4491186"/>
            <a:ext cx="158255" cy="116454"/>
          </a:xfrm>
          <a:prstGeom prst="rect">
            <a:avLst/>
          </a:prstGeom>
          <a:solidFill>
            <a:srgbClr val="B11A7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000"/>
          </a:p>
        </p:txBody>
      </p:sp>
      <p:sp>
        <p:nvSpPr>
          <p:cNvPr id="71" name="Rechthoek 70">
            <a:extLst>
              <a:ext uri="{FF2B5EF4-FFF2-40B4-BE49-F238E27FC236}">
                <a16:creationId xmlns:a16="http://schemas.microsoft.com/office/drawing/2014/main" id="{6F6229A5-7C03-42C7-8FF5-30B25AF603EA}"/>
              </a:ext>
            </a:extLst>
          </p:cNvPr>
          <p:cNvSpPr/>
          <p:nvPr/>
        </p:nvSpPr>
        <p:spPr>
          <a:xfrm>
            <a:off x="8549086" y="3301767"/>
            <a:ext cx="158255" cy="116454"/>
          </a:xfrm>
          <a:prstGeom prst="rect">
            <a:avLst/>
          </a:prstGeom>
          <a:solidFill>
            <a:srgbClr val="009B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000"/>
          </a:p>
        </p:txBody>
      </p:sp>
      <p:sp>
        <p:nvSpPr>
          <p:cNvPr id="72" name="Rechthoek 71">
            <a:extLst>
              <a:ext uri="{FF2B5EF4-FFF2-40B4-BE49-F238E27FC236}">
                <a16:creationId xmlns:a16="http://schemas.microsoft.com/office/drawing/2014/main" id="{ED88F903-52D1-4002-9FB5-82BC448E20CE}"/>
              </a:ext>
            </a:extLst>
          </p:cNvPr>
          <p:cNvSpPr/>
          <p:nvPr/>
        </p:nvSpPr>
        <p:spPr>
          <a:xfrm>
            <a:off x="8979917" y="3749480"/>
            <a:ext cx="93599" cy="102708"/>
          </a:xfrm>
          <a:prstGeom prst="rect">
            <a:avLst/>
          </a:prstGeom>
          <a:solidFill>
            <a:srgbClr val="009B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000"/>
          </a:p>
        </p:txBody>
      </p:sp>
      <p:sp>
        <p:nvSpPr>
          <p:cNvPr id="73" name="Rechthoek 72">
            <a:extLst>
              <a:ext uri="{FF2B5EF4-FFF2-40B4-BE49-F238E27FC236}">
                <a16:creationId xmlns:a16="http://schemas.microsoft.com/office/drawing/2014/main" id="{5031750B-B26F-4A1E-8EF2-6E0C458E9492}"/>
              </a:ext>
            </a:extLst>
          </p:cNvPr>
          <p:cNvSpPr/>
          <p:nvPr/>
        </p:nvSpPr>
        <p:spPr>
          <a:xfrm>
            <a:off x="8962787" y="3905568"/>
            <a:ext cx="110731" cy="107384"/>
          </a:xfrm>
          <a:prstGeom prst="rect">
            <a:avLst/>
          </a:prstGeom>
          <a:solidFill>
            <a:srgbClr val="009B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000"/>
          </a:p>
        </p:txBody>
      </p:sp>
      <p:sp>
        <p:nvSpPr>
          <p:cNvPr id="74" name="Rechthoek 73">
            <a:extLst>
              <a:ext uri="{FF2B5EF4-FFF2-40B4-BE49-F238E27FC236}">
                <a16:creationId xmlns:a16="http://schemas.microsoft.com/office/drawing/2014/main" id="{F0388C13-9B31-4930-97B3-DB85476AB2D2}"/>
              </a:ext>
            </a:extLst>
          </p:cNvPr>
          <p:cNvSpPr/>
          <p:nvPr/>
        </p:nvSpPr>
        <p:spPr>
          <a:xfrm>
            <a:off x="7479611" y="3013058"/>
            <a:ext cx="106794" cy="125423"/>
          </a:xfrm>
          <a:prstGeom prst="rect">
            <a:avLst/>
          </a:prstGeom>
          <a:solidFill>
            <a:srgbClr val="E38A5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000"/>
          </a:p>
        </p:txBody>
      </p:sp>
      <p:sp>
        <p:nvSpPr>
          <p:cNvPr id="75" name="Rechthoek 74">
            <a:extLst>
              <a:ext uri="{FF2B5EF4-FFF2-40B4-BE49-F238E27FC236}">
                <a16:creationId xmlns:a16="http://schemas.microsoft.com/office/drawing/2014/main" id="{D75B8C28-17AA-4505-BB2B-BA195D47D530}"/>
              </a:ext>
            </a:extLst>
          </p:cNvPr>
          <p:cNvSpPr/>
          <p:nvPr/>
        </p:nvSpPr>
        <p:spPr>
          <a:xfrm>
            <a:off x="6925193" y="1618176"/>
            <a:ext cx="106794" cy="125423"/>
          </a:xfrm>
          <a:prstGeom prst="rect">
            <a:avLst/>
          </a:prstGeom>
          <a:solidFill>
            <a:srgbClr val="E38A5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000"/>
          </a:p>
        </p:txBody>
      </p:sp>
      <p:sp>
        <p:nvSpPr>
          <p:cNvPr id="76" name="Rechthoek 75">
            <a:extLst>
              <a:ext uri="{FF2B5EF4-FFF2-40B4-BE49-F238E27FC236}">
                <a16:creationId xmlns:a16="http://schemas.microsoft.com/office/drawing/2014/main" id="{A50AB635-D9C3-4A28-8E63-23E3FF3F2757}"/>
              </a:ext>
            </a:extLst>
          </p:cNvPr>
          <p:cNvSpPr/>
          <p:nvPr/>
        </p:nvSpPr>
        <p:spPr>
          <a:xfrm>
            <a:off x="7071917" y="1743301"/>
            <a:ext cx="106794" cy="125423"/>
          </a:xfrm>
          <a:prstGeom prst="rect">
            <a:avLst/>
          </a:prstGeom>
          <a:solidFill>
            <a:srgbClr val="E38A5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000"/>
          </a:p>
        </p:txBody>
      </p:sp>
      <p:sp>
        <p:nvSpPr>
          <p:cNvPr id="77" name="Rechthoek 76">
            <a:extLst>
              <a:ext uri="{FF2B5EF4-FFF2-40B4-BE49-F238E27FC236}">
                <a16:creationId xmlns:a16="http://schemas.microsoft.com/office/drawing/2014/main" id="{258AD44F-B36C-45D6-BCB5-3ECE89C3B05C}"/>
              </a:ext>
            </a:extLst>
          </p:cNvPr>
          <p:cNvSpPr/>
          <p:nvPr/>
        </p:nvSpPr>
        <p:spPr>
          <a:xfrm>
            <a:off x="6558229" y="1632396"/>
            <a:ext cx="106794" cy="125423"/>
          </a:xfrm>
          <a:prstGeom prst="rect">
            <a:avLst/>
          </a:prstGeom>
          <a:solidFill>
            <a:srgbClr val="E38A5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000"/>
          </a:p>
        </p:txBody>
      </p:sp>
      <p:sp>
        <p:nvSpPr>
          <p:cNvPr id="78" name="Rechthoek 77">
            <a:extLst>
              <a:ext uri="{FF2B5EF4-FFF2-40B4-BE49-F238E27FC236}">
                <a16:creationId xmlns:a16="http://schemas.microsoft.com/office/drawing/2014/main" id="{2E7F98A5-F5C9-4E05-81AC-6304127321FA}"/>
              </a:ext>
            </a:extLst>
          </p:cNvPr>
          <p:cNvSpPr/>
          <p:nvPr/>
        </p:nvSpPr>
        <p:spPr>
          <a:xfrm>
            <a:off x="6131541" y="1636297"/>
            <a:ext cx="166518" cy="132245"/>
          </a:xfrm>
          <a:prstGeom prst="rect">
            <a:avLst/>
          </a:prstGeom>
          <a:solidFill>
            <a:srgbClr val="E38A5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000"/>
          </a:p>
        </p:txBody>
      </p:sp>
      <p:sp>
        <p:nvSpPr>
          <p:cNvPr id="79" name="Rechthoek 78">
            <a:extLst>
              <a:ext uri="{FF2B5EF4-FFF2-40B4-BE49-F238E27FC236}">
                <a16:creationId xmlns:a16="http://schemas.microsoft.com/office/drawing/2014/main" id="{3C1E3D84-25A2-4239-A482-CB38C895BB70}"/>
              </a:ext>
            </a:extLst>
          </p:cNvPr>
          <p:cNvSpPr/>
          <p:nvPr/>
        </p:nvSpPr>
        <p:spPr>
          <a:xfrm>
            <a:off x="5945844" y="1890340"/>
            <a:ext cx="185696" cy="87667"/>
          </a:xfrm>
          <a:prstGeom prst="rect">
            <a:avLst/>
          </a:prstGeom>
          <a:solidFill>
            <a:srgbClr val="E38A5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000"/>
          </a:p>
        </p:txBody>
      </p:sp>
      <p:sp>
        <p:nvSpPr>
          <p:cNvPr id="80" name="Rechthoek 79">
            <a:extLst>
              <a:ext uri="{FF2B5EF4-FFF2-40B4-BE49-F238E27FC236}">
                <a16:creationId xmlns:a16="http://schemas.microsoft.com/office/drawing/2014/main" id="{132E93B5-E488-48F6-83CF-E94B6FB084F4}"/>
              </a:ext>
            </a:extLst>
          </p:cNvPr>
          <p:cNvSpPr/>
          <p:nvPr/>
        </p:nvSpPr>
        <p:spPr>
          <a:xfrm>
            <a:off x="5976591" y="2165285"/>
            <a:ext cx="185696" cy="87667"/>
          </a:xfrm>
          <a:prstGeom prst="rect">
            <a:avLst/>
          </a:prstGeom>
          <a:solidFill>
            <a:srgbClr val="E38A5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000"/>
          </a:p>
        </p:txBody>
      </p:sp>
      <p:sp>
        <p:nvSpPr>
          <p:cNvPr id="81" name="Rechthoek 80">
            <a:extLst>
              <a:ext uri="{FF2B5EF4-FFF2-40B4-BE49-F238E27FC236}">
                <a16:creationId xmlns:a16="http://schemas.microsoft.com/office/drawing/2014/main" id="{5B0420FB-ABC3-4FB9-8BDD-C474852C93AD}"/>
              </a:ext>
            </a:extLst>
          </p:cNvPr>
          <p:cNvSpPr/>
          <p:nvPr/>
        </p:nvSpPr>
        <p:spPr>
          <a:xfrm>
            <a:off x="5976591" y="2013477"/>
            <a:ext cx="185696" cy="87667"/>
          </a:xfrm>
          <a:prstGeom prst="rect">
            <a:avLst/>
          </a:prstGeom>
          <a:solidFill>
            <a:srgbClr val="E38A5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000"/>
          </a:p>
        </p:txBody>
      </p:sp>
      <p:sp>
        <p:nvSpPr>
          <p:cNvPr id="82" name="Rechthoek 81">
            <a:extLst>
              <a:ext uri="{FF2B5EF4-FFF2-40B4-BE49-F238E27FC236}">
                <a16:creationId xmlns:a16="http://schemas.microsoft.com/office/drawing/2014/main" id="{0ED1DF99-3C0E-46C2-A607-030CCC035931}"/>
              </a:ext>
            </a:extLst>
          </p:cNvPr>
          <p:cNvSpPr/>
          <p:nvPr/>
        </p:nvSpPr>
        <p:spPr>
          <a:xfrm>
            <a:off x="5984422" y="2582346"/>
            <a:ext cx="177864" cy="120725"/>
          </a:xfrm>
          <a:prstGeom prst="rect">
            <a:avLst/>
          </a:prstGeom>
          <a:solidFill>
            <a:srgbClr val="E38A5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000"/>
          </a:p>
        </p:txBody>
      </p:sp>
      <p:sp>
        <p:nvSpPr>
          <p:cNvPr id="83" name="Rechthoek 82">
            <a:extLst>
              <a:ext uri="{FF2B5EF4-FFF2-40B4-BE49-F238E27FC236}">
                <a16:creationId xmlns:a16="http://schemas.microsoft.com/office/drawing/2014/main" id="{7F332B78-538B-4766-A056-210EBBA4F01F}"/>
              </a:ext>
            </a:extLst>
          </p:cNvPr>
          <p:cNvSpPr/>
          <p:nvPr/>
        </p:nvSpPr>
        <p:spPr>
          <a:xfrm>
            <a:off x="5233896" y="3160625"/>
            <a:ext cx="177864" cy="120725"/>
          </a:xfrm>
          <a:prstGeom prst="rect">
            <a:avLst/>
          </a:prstGeom>
          <a:solidFill>
            <a:srgbClr val="FFE6A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000"/>
          </a:p>
        </p:txBody>
      </p:sp>
      <p:sp>
        <p:nvSpPr>
          <p:cNvPr id="84" name="Rechthoek 83">
            <a:extLst>
              <a:ext uri="{FF2B5EF4-FFF2-40B4-BE49-F238E27FC236}">
                <a16:creationId xmlns:a16="http://schemas.microsoft.com/office/drawing/2014/main" id="{5F8A018E-028A-4812-8524-06261E3BCB8A}"/>
              </a:ext>
            </a:extLst>
          </p:cNvPr>
          <p:cNvSpPr/>
          <p:nvPr/>
        </p:nvSpPr>
        <p:spPr>
          <a:xfrm>
            <a:off x="6076929" y="2985314"/>
            <a:ext cx="177864" cy="120725"/>
          </a:xfrm>
          <a:prstGeom prst="rect">
            <a:avLst/>
          </a:prstGeom>
          <a:solidFill>
            <a:srgbClr val="E38A5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000"/>
          </a:p>
        </p:txBody>
      </p:sp>
      <p:sp>
        <p:nvSpPr>
          <p:cNvPr id="85" name="Rechthoek 84">
            <a:extLst>
              <a:ext uri="{FF2B5EF4-FFF2-40B4-BE49-F238E27FC236}">
                <a16:creationId xmlns:a16="http://schemas.microsoft.com/office/drawing/2014/main" id="{D2029AE7-487B-4548-92EE-8EA2A3492B89}"/>
              </a:ext>
            </a:extLst>
          </p:cNvPr>
          <p:cNvSpPr/>
          <p:nvPr/>
        </p:nvSpPr>
        <p:spPr>
          <a:xfrm>
            <a:off x="6203759" y="3152552"/>
            <a:ext cx="177864" cy="120725"/>
          </a:xfrm>
          <a:prstGeom prst="rect">
            <a:avLst/>
          </a:prstGeom>
          <a:solidFill>
            <a:srgbClr val="E38A5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000"/>
          </a:p>
        </p:txBody>
      </p:sp>
      <p:sp>
        <p:nvSpPr>
          <p:cNvPr id="86" name="Rechthoek 85">
            <a:extLst>
              <a:ext uri="{FF2B5EF4-FFF2-40B4-BE49-F238E27FC236}">
                <a16:creationId xmlns:a16="http://schemas.microsoft.com/office/drawing/2014/main" id="{03436CB2-06BC-4F2B-A54C-150A5C901AE6}"/>
              </a:ext>
            </a:extLst>
          </p:cNvPr>
          <p:cNvSpPr/>
          <p:nvPr/>
        </p:nvSpPr>
        <p:spPr>
          <a:xfrm>
            <a:off x="6446069" y="3216354"/>
            <a:ext cx="112161" cy="114050"/>
          </a:xfrm>
          <a:prstGeom prst="rect">
            <a:avLst/>
          </a:prstGeom>
          <a:solidFill>
            <a:srgbClr val="E38A5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000"/>
          </a:p>
        </p:txBody>
      </p:sp>
      <p:sp>
        <p:nvSpPr>
          <p:cNvPr id="87" name="Rechthoek 86">
            <a:extLst>
              <a:ext uri="{FF2B5EF4-FFF2-40B4-BE49-F238E27FC236}">
                <a16:creationId xmlns:a16="http://schemas.microsoft.com/office/drawing/2014/main" id="{4211BFAD-3E7D-4FCD-AC94-8701D3C14B86}"/>
              </a:ext>
            </a:extLst>
          </p:cNvPr>
          <p:cNvSpPr/>
          <p:nvPr/>
        </p:nvSpPr>
        <p:spPr>
          <a:xfrm>
            <a:off x="6629069" y="3220379"/>
            <a:ext cx="112161" cy="114050"/>
          </a:xfrm>
          <a:prstGeom prst="rect">
            <a:avLst/>
          </a:prstGeom>
          <a:solidFill>
            <a:srgbClr val="E38A5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000"/>
          </a:p>
        </p:txBody>
      </p:sp>
      <p:sp>
        <p:nvSpPr>
          <p:cNvPr id="88" name="Rechthoek 87">
            <a:extLst>
              <a:ext uri="{FF2B5EF4-FFF2-40B4-BE49-F238E27FC236}">
                <a16:creationId xmlns:a16="http://schemas.microsoft.com/office/drawing/2014/main" id="{2FF9EE2E-8147-4457-89AB-57CDC04C1A94}"/>
              </a:ext>
            </a:extLst>
          </p:cNvPr>
          <p:cNvSpPr/>
          <p:nvPr/>
        </p:nvSpPr>
        <p:spPr>
          <a:xfrm>
            <a:off x="6814637" y="3216354"/>
            <a:ext cx="112161" cy="114050"/>
          </a:xfrm>
          <a:prstGeom prst="rect">
            <a:avLst/>
          </a:prstGeom>
          <a:solidFill>
            <a:srgbClr val="E38A5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000"/>
          </a:p>
        </p:txBody>
      </p:sp>
      <p:sp>
        <p:nvSpPr>
          <p:cNvPr id="89" name="Rechthoek 88">
            <a:extLst>
              <a:ext uri="{FF2B5EF4-FFF2-40B4-BE49-F238E27FC236}">
                <a16:creationId xmlns:a16="http://schemas.microsoft.com/office/drawing/2014/main" id="{0D8173A9-050F-4053-BA18-EE606DD86131}"/>
              </a:ext>
            </a:extLst>
          </p:cNvPr>
          <p:cNvSpPr/>
          <p:nvPr/>
        </p:nvSpPr>
        <p:spPr>
          <a:xfrm>
            <a:off x="6959659" y="3226323"/>
            <a:ext cx="100315" cy="122395"/>
          </a:xfrm>
          <a:prstGeom prst="rect">
            <a:avLst/>
          </a:prstGeom>
          <a:solidFill>
            <a:srgbClr val="E38A5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000"/>
          </a:p>
        </p:txBody>
      </p:sp>
      <p:sp>
        <p:nvSpPr>
          <p:cNvPr id="90" name="Rechthoek 89">
            <a:extLst>
              <a:ext uri="{FF2B5EF4-FFF2-40B4-BE49-F238E27FC236}">
                <a16:creationId xmlns:a16="http://schemas.microsoft.com/office/drawing/2014/main" id="{1D07CAAD-AC77-49CF-8DFA-11AF3EE8B6C0}"/>
              </a:ext>
            </a:extLst>
          </p:cNvPr>
          <p:cNvSpPr/>
          <p:nvPr/>
        </p:nvSpPr>
        <p:spPr>
          <a:xfrm>
            <a:off x="7121381" y="3244313"/>
            <a:ext cx="100315" cy="122395"/>
          </a:xfrm>
          <a:prstGeom prst="rect">
            <a:avLst/>
          </a:prstGeom>
          <a:solidFill>
            <a:srgbClr val="E38A5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000"/>
          </a:p>
        </p:txBody>
      </p:sp>
      <p:sp>
        <p:nvSpPr>
          <p:cNvPr id="91" name="Rechthoek 90">
            <a:extLst>
              <a:ext uri="{FF2B5EF4-FFF2-40B4-BE49-F238E27FC236}">
                <a16:creationId xmlns:a16="http://schemas.microsoft.com/office/drawing/2014/main" id="{4E245983-2466-41D4-A8FB-61012CB74E12}"/>
              </a:ext>
            </a:extLst>
          </p:cNvPr>
          <p:cNvSpPr/>
          <p:nvPr/>
        </p:nvSpPr>
        <p:spPr>
          <a:xfrm>
            <a:off x="5377863" y="2509308"/>
            <a:ext cx="177864" cy="120725"/>
          </a:xfrm>
          <a:prstGeom prst="rect">
            <a:avLst/>
          </a:prstGeom>
          <a:solidFill>
            <a:srgbClr val="FFE6A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000"/>
          </a:p>
        </p:txBody>
      </p:sp>
      <p:sp>
        <p:nvSpPr>
          <p:cNvPr id="92" name="Rechthoek 91">
            <a:extLst>
              <a:ext uri="{FF2B5EF4-FFF2-40B4-BE49-F238E27FC236}">
                <a16:creationId xmlns:a16="http://schemas.microsoft.com/office/drawing/2014/main" id="{65D5C4AE-F55B-42A9-A863-2677410E13AB}"/>
              </a:ext>
            </a:extLst>
          </p:cNvPr>
          <p:cNvSpPr/>
          <p:nvPr/>
        </p:nvSpPr>
        <p:spPr>
          <a:xfrm>
            <a:off x="5044012" y="3163816"/>
            <a:ext cx="100555" cy="120725"/>
          </a:xfrm>
          <a:prstGeom prst="rect">
            <a:avLst/>
          </a:prstGeom>
          <a:solidFill>
            <a:srgbClr val="FFE6A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000"/>
          </a:p>
        </p:txBody>
      </p:sp>
      <p:sp>
        <p:nvSpPr>
          <p:cNvPr id="93" name="Rechthoek 92">
            <a:extLst>
              <a:ext uri="{FF2B5EF4-FFF2-40B4-BE49-F238E27FC236}">
                <a16:creationId xmlns:a16="http://schemas.microsoft.com/office/drawing/2014/main" id="{C36771E2-6FE5-404D-AD52-A0FCB7F8CCC6}"/>
              </a:ext>
            </a:extLst>
          </p:cNvPr>
          <p:cNvSpPr/>
          <p:nvPr/>
        </p:nvSpPr>
        <p:spPr>
          <a:xfrm>
            <a:off x="5245860" y="3153080"/>
            <a:ext cx="100555" cy="120725"/>
          </a:xfrm>
          <a:prstGeom prst="rect">
            <a:avLst/>
          </a:prstGeom>
          <a:solidFill>
            <a:srgbClr val="FFE6A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000"/>
          </a:p>
        </p:txBody>
      </p:sp>
      <p:sp>
        <p:nvSpPr>
          <p:cNvPr id="94" name="Rechthoek 93">
            <a:extLst>
              <a:ext uri="{FF2B5EF4-FFF2-40B4-BE49-F238E27FC236}">
                <a16:creationId xmlns:a16="http://schemas.microsoft.com/office/drawing/2014/main" id="{43342BCC-359C-4F60-99FA-46A8BC2B0731}"/>
              </a:ext>
            </a:extLst>
          </p:cNvPr>
          <p:cNvSpPr/>
          <p:nvPr/>
        </p:nvSpPr>
        <p:spPr>
          <a:xfrm>
            <a:off x="4796399" y="3130230"/>
            <a:ext cx="100555" cy="120725"/>
          </a:xfrm>
          <a:prstGeom prst="rect">
            <a:avLst/>
          </a:prstGeom>
          <a:solidFill>
            <a:srgbClr val="FFE6A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000"/>
          </a:p>
        </p:txBody>
      </p:sp>
      <p:sp>
        <p:nvSpPr>
          <p:cNvPr id="95" name="Rechthoek 94">
            <a:extLst>
              <a:ext uri="{FF2B5EF4-FFF2-40B4-BE49-F238E27FC236}">
                <a16:creationId xmlns:a16="http://schemas.microsoft.com/office/drawing/2014/main" id="{7ECF9765-F580-46DE-BFC6-28FCC2747FD1}"/>
              </a:ext>
            </a:extLst>
          </p:cNvPr>
          <p:cNvSpPr/>
          <p:nvPr/>
        </p:nvSpPr>
        <p:spPr>
          <a:xfrm>
            <a:off x="4520179" y="3160625"/>
            <a:ext cx="100555" cy="120725"/>
          </a:xfrm>
          <a:prstGeom prst="rect">
            <a:avLst/>
          </a:prstGeom>
          <a:solidFill>
            <a:srgbClr val="FFE6A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000"/>
          </a:p>
        </p:txBody>
      </p:sp>
      <p:sp>
        <p:nvSpPr>
          <p:cNvPr id="96" name="Rechthoek 95">
            <a:extLst>
              <a:ext uri="{FF2B5EF4-FFF2-40B4-BE49-F238E27FC236}">
                <a16:creationId xmlns:a16="http://schemas.microsoft.com/office/drawing/2014/main" id="{E0F52708-D5AE-4CCB-B1B8-CA6780625973}"/>
              </a:ext>
            </a:extLst>
          </p:cNvPr>
          <p:cNvSpPr/>
          <p:nvPr/>
        </p:nvSpPr>
        <p:spPr>
          <a:xfrm>
            <a:off x="4295817" y="3167134"/>
            <a:ext cx="100555" cy="120725"/>
          </a:xfrm>
          <a:prstGeom prst="rect">
            <a:avLst/>
          </a:prstGeom>
          <a:solidFill>
            <a:srgbClr val="FFE6A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000"/>
          </a:p>
        </p:txBody>
      </p:sp>
      <p:sp>
        <p:nvSpPr>
          <p:cNvPr id="97" name="Rechthoek 96">
            <a:extLst>
              <a:ext uri="{FF2B5EF4-FFF2-40B4-BE49-F238E27FC236}">
                <a16:creationId xmlns:a16="http://schemas.microsoft.com/office/drawing/2014/main" id="{0D7C90A5-E315-4435-B70C-26CBD1B2DE24}"/>
              </a:ext>
            </a:extLst>
          </p:cNvPr>
          <p:cNvSpPr/>
          <p:nvPr/>
        </p:nvSpPr>
        <p:spPr>
          <a:xfrm>
            <a:off x="4270759" y="3159726"/>
            <a:ext cx="100555" cy="120725"/>
          </a:xfrm>
          <a:prstGeom prst="rect">
            <a:avLst/>
          </a:prstGeom>
          <a:solidFill>
            <a:srgbClr val="FFE6A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000"/>
          </a:p>
        </p:txBody>
      </p:sp>
      <p:sp>
        <p:nvSpPr>
          <p:cNvPr id="98" name="Rechthoek 97">
            <a:extLst>
              <a:ext uri="{FF2B5EF4-FFF2-40B4-BE49-F238E27FC236}">
                <a16:creationId xmlns:a16="http://schemas.microsoft.com/office/drawing/2014/main" id="{57C4E635-903F-4FA3-A093-5DC8FBA54C81}"/>
              </a:ext>
            </a:extLst>
          </p:cNvPr>
          <p:cNvSpPr/>
          <p:nvPr/>
        </p:nvSpPr>
        <p:spPr>
          <a:xfrm>
            <a:off x="3731780" y="3164572"/>
            <a:ext cx="100555" cy="120725"/>
          </a:xfrm>
          <a:prstGeom prst="rect">
            <a:avLst/>
          </a:prstGeom>
          <a:solidFill>
            <a:srgbClr val="FFE6A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000"/>
          </a:p>
        </p:txBody>
      </p:sp>
      <p:sp>
        <p:nvSpPr>
          <p:cNvPr id="99" name="Rechthoek 98">
            <a:extLst>
              <a:ext uri="{FF2B5EF4-FFF2-40B4-BE49-F238E27FC236}">
                <a16:creationId xmlns:a16="http://schemas.microsoft.com/office/drawing/2014/main" id="{64954CBE-CA9A-4873-BE16-86C9DA546CC6}"/>
              </a:ext>
            </a:extLst>
          </p:cNvPr>
          <p:cNvSpPr/>
          <p:nvPr/>
        </p:nvSpPr>
        <p:spPr>
          <a:xfrm>
            <a:off x="3567978" y="2794109"/>
            <a:ext cx="163802" cy="120725"/>
          </a:xfrm>
          <a:prstGeom prst="rect">
            <a:avLst/>
          </a:prstGeom>
          <a:solidFill>
            <a:srgbClr val="FFE6A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000"/>
          </a:p>
        </p:txBody>
      </p:sp>
      <p:sp>
        <p:nvSpPr>
          <p:cNvPr id="100" name="Rechthoek 99">
            <a:extLst>
              <a:ext uri="{FF2B5EF4-FFF2-40B4-BE49-F238E27FC236}">
                <a16:creationId xmlns:a16="http://schemas.microsoft.com/office/drawing/2014/main" id="{319B0143-8CE0-4C72-889A-7EA530BDC3BE}"/>
              </a:ext>
            </a:extLst>
          </p:cNvPr>
          <p:cNvSpPr/>
          <p:nvPr/>
        </p:nvSpPr>
        <p:spPr>
          <a:xfrm>
            <a:off x="3555716" y="2493614"/>
            <a:ext cx="163802" cy="120725"/>
          </a:xfrm>
          <a:prstGeom prst="rect">
            <a:avLst/>
          </a:prstGeom>
          <a:solidFill>
            <a:srgbClr val="FFE6A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000"/>
          </a:p>
        </p:txBody>
      </p:sp>
      <p:sp>
        <p:nvSpPr>
          <p:cNvPr id="101" name="Rechthoek 100">
            <a:extLst>
              <a:ext uri="{FF2B5EF4-FFF2-40B4-BE49-F238E27FC236}">
                <a16:creationId xmlns:a16="http://schemas.microsoft.com/office/drawing/2014/main" id="{C2DD8CCA-E445-4AEF-897C-185B1306FCF2}"/>
              </a:ext>
            </a:extLst>
          </p:cNvPr>
          <p:cNvSpPr/>
          <p:nvPr/>
        </p:nvSpPr>
        <p:spPr>
          <a:xfrm>
            <a:off x="3523925" y="2268639"/>
            <a:ext cx="163802" cy="120725"/>
          </a:xfrm>
          <a:prstGeom prst="rect">
            <a:avLst/>
          </a:prstGeom>
          <a:solidFill>
            <a:srgbClr val="FFE6A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000"/>
          </a:p>
        </p:txBody>
      </p:sp>
      <p:sp>
        <p:nvSpPr>
          <p:cNvPr id="102" name="Rechthoek 101">
            <a:extLst>
              <a:ext uri="{FF2B5EF4-FFF2-40B4-BE49-F238E27FC236}">
                <a16:creationId xmlns:a16="http://schemas.microsoft.com/office/drawing/2014/main" id="{42EA7A67-E3DF-4A08-A22E-B1979DECA017}"/>
              </a:ext>
            </a:extLst>
          </p:cNvPr>
          <p:cNvSpPr/>
          <p:nvPr/>
        </p:nvSpPr>
        <p:spPr>
          <a:xfrm>
            <a:off x="3530780" y="2029492"/>
            <a:ext cx="163802" cy="120725"/>
          </a:xfrm>
          <a:prstGeom prst="rect">
            <a:avLst/>
          </a:prstGeom>
          <a:solidFill>
            <a:srgbClr val="FFE6A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000"/>
          </a:p>
        </p:txBody>
      </p:sp>
      <p:sp>
        <p:nvSpPr>
          <p:cNvPr id="103" name="Rechthoek 102">
            <a:extLst>
              <a:ext uri="{FF2B5EF4-FFF2-40B4-BE49-F238E27FC236}">
                <a16:creationId xmlns:a16="http://schemas.microsoft.com/office/drawing/2014/main" id="{1C48849E-30EB-4C35-8A80-118811B03A0F}"/>
              </a:ext>
            </a:extLst>
          </p:cNvPr>
          <p:cNvSpPr/>
          <p:nvPr/>
        </p:nvSpPr>
        <p:spPr>
          <a:xfrm>
            <a:off x="3550669" y="1790535"/>
            <a:ext cx="163802" cy="120725"/>
          </a:xfrm>
          <a:prstGeom prst="rect">
            <a:avLst/>
          </a:prstGeom>
          <a:solidFill>
            <a:srgbClr val="FFE6A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000"/>
          </a:p>
        </p:txBody>
      </p:sp>
      <p:sp>
        <p:nvSpPr>
          <p:cNvPr id="104" name="Rechthoek 103">
            <a:extLst>
              <a:ext uri="{FF2B5EF4-FFF2-40B4-BE49-F238E27FC236}">
                <a16:creationId xmlns:a16="http://schemas.microsoft.com/office/drawing/2014/main" id="{97347753-B5B4-4C21-9B78-08B50DC546D8}"/>
              </a:ext>
            </a:extLst>
          </p:cNvPr>
          <p:cNvSpPr/>
          <p:nvPr/>
        </p:nvSpPr>
        <p:spPr>
          <a:xfrm>
            <a:off x="3508620" y="1549687"/>
            <a:ext cx="163802" cy="120725"/>
          </a:xfrm>
          <a:prstGeom prst="rect">
            <a:avLst/>
          </a:prstGeom>
          <a:solidFill>
            <a:srgbClr val="FFE6A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000"/>
          </a:p>
        </p:txBody>
      </p:sp>
      <p:sp>
        <p:nvSpPr>
          <p:cNvPr id="105" name="Rechthoek 104">
            <a:extLst>
              <a:ext uri="{FF2B5EF4-FFF2-40B4-BE49-F238E27FC236}">
                <a16:creationId xmlns:a16="http://schemas.microsoft.com/office/drawing/2014/main" id="{A195A7A5-4422-438D-AA9B-BFAB2C9101BB}"/>
              </a:ext>
            </a:extLst>
          </p:cNvPr>
          <p:cNvSpPr/>
          <p:nvPr/>
        </p:nvSpPr>
        <p:spPr>
          <a:xfrm>
            <a:off x="3840942" y="1546575"/>
            <a:ext cx="163802" cy="120725"/>
          </a:xfrm>
          <a:prstGeom prst="rect">
            <a:avLst/>
          </a:prstGeom>
          <a:solidFill>
            <a:srgbClr val="FFE6A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000"/>
          </a:p>
        </p:txBody>
      </p:sp>
      <p:sp>
        <p:nvSpPr>
          <p:cNvPr id="106" name="Rechthoek 105">
            <a:extLst>
              <a:ext uri="{FF2B5EF4-FFF2-40B4-BE49-F238E27FC236}">
                <a16:creationId xmlns:a16="http://schemas.microsoft.com/office/drawing/2014/main" id="{03B4BDC0-775A-4CB6-826C-A486B78AF170}"/>
              </a:ext>
            </a:extLst>
          </p:cNvPr>
          <p:cNvSpPr/>
          <p:nvPr/>
        </p:nvSpPr>
        <p:spPr>
          <a:xfrm>
            <a:off x="4048964" y="1545792"/>
            <a:ext cx="163802" cy="120725"/>
          </a:xfrm>
          <a:prstGeom prst="rect">
            <a:avLst/>
          </a:prstGeom>
          <a:solidFill>
            <a:srgbClr val="FFE6A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000"/>
          </a:p>
        </p:txBody>
      </p:sp>
      <p:sp>
        <p:nvSpPr>
          <p:cNvPr id="107" name="Rechthoek 106">
            <a:extLst>
              <a:ext uri="{FF2B5EF4-FFF2-40B4-BE49-F238E27FC236}">
                <a16:creationId xmlns:a16="http://schemas.microsoft.com/office/drawing/2014/main" id="{30605357-7184-40F5-86ED-3D11368D7B13}"/>
              </a:ext>
            </a:extLst>
          </p:cNvPr>
          <p:cNvSpPr/>
          <p:nvPr/>
        </p:nvSpPr>
        <p:spPr>
          <a:xfrm>
            <a:off x="4273930" y="1557599"/>
            <a:ext cx="163802" cy="120725"/>
          </a:xfrm>
          <a:prstGeom prst="rect">
            <a:avLst/>
          </a:prstGeom>
          <a:solidFill>
            <a:srgbClr val="FFE6A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000"/>
          </a:p>
        </p:txBody>
      </p:sp>
      <p:sp>
        <p:nvSpPr>
          <p:cNvPr id="108" name="Rechthoek 107">
            <a:extLst>
              <a:ext uri="{FF2B5EF4-FFF2-40B4-BE49-F238E27FC236}">
                <a16:creationId xmlns:a16="http://schemas.microsoft.com/office/drawing/2014/main" id="{DF3E5C5C-A579-4602-AFF5-5ABD159F1956}"/>
              </a:ext>
            </a:extLst>
          </p:cNvPr>
          <p:cNvSpPr/>
          <p:nvPr/>
        </p:nvSpPr>
        <p:spPr>
          <a:xfrm>
            <a:off x="5082058" y="1590220"/>
            <a:ext cx="163802" cy="120725"/>
          </a:xfrm>
          <a:prstGeom prst="rect">
            <a:avLst/>
          </a:prstGeom>
          <a:solidFill>
            <a:srgbClr val="FFE6A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000"/>
          </a:p>
        </p:txBody>
      </p:sp>
      <p:sp>
        <p:nvSpPr>
          <p:cNvPr id="109" name="Rechthoek 108">
            <a:extLst>
              <a:ext uri="{FF2B5EF4-FFF2-40B4-BE49-F238E27FC236}">
                <a16:creationId xmlns:a16="http://schemas.microsoft.com/office/drawing/2014/main" id="{3D42BF2B-AC8E-4D13-A367-63E555BCC70C}"/>
              </a:ext>
            </a:extLst>
          </p:cNvPr>
          <p:cNvSpPr/>
          <p:nvPr/>
        </p:nvSpPr>
        <p:spPr>
          <a:xfrm>
            <a:off x="5477542" y="1747304"/>
            <a:ext cx="125670" cy="108908"/>
          </a:xfrm>
          <a:prstGeom prst="rect">
            <a:avLst/>
          </a:prstGeom>
          <a:solidFill>
            <a:srgbClr val="FFE6A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000"/>
          </a:p>
        </p:txBody>
      </p:sp>
      <p:sp>
        <p:nvSpPr>
          <p:cNvPr id="110" name="Rechthoek 109">
            <a:extLst>
              <a:ext uri="{FF2B5EF4-FFF2-40B4-BE49-F238E27FC236}">
                <a16:creationId xmlns:a16="http://schemas.microsoft.com/office/drawing/2014/main" id="{75A607AB-9991-4BAF-A777-F3DFFE8D90EC}"/>
              </a:ext>
            </a:extLst>
          </p:cNvPr>
          <p:cNvSpPr/>
          <p:nvPr/>
        </p:nvSpPr>
        <p:spPr>
          <a:xfrm>
            <a:off x="5406745" y="1961324"/>
            <a:ext cx="125670" cy="108908"/>
          </a:xfrm>
          <a:prstGeom prst="rect">
            <a:avLst/>
          </a:prstGeom>
          <a:solidFill>
            <a:srgbClr val="FFE6A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000"/>
          </a:p>
        </p:txBody>
      </p:sp>
      <p:sp>
        <p:nvSpPr>
          <p:cNvPr id="111" name="Rechthoek 110">
            <a:extLst>
              <a:ext uri="{FF2B5EF4-FFF2-40B4-BE49-F238E27FC236}">
                <a16:creationId xmlns:a16="http://schemas.microsoft.com/office/drawing/2014/main" id="{F1B20302-B409-4362-BA41-60144BA28663}"/>
              </a:ext>
            </a:extLst>
          </p:cNvPr>
          <p:cNvSpPr/>
          <p:nvPr/>
        </p:nvSpPr>
        <p:spPr>
          <a:xfrm>
            <a:off x="5402615" y="2137981"/>
            <a:ext cx="125670" cy="108908"/>
          </a:xfrm>
          <a:prstGeom prst="rect">
            <a:avLst/>
          </a:prstGeom>
          <a:solidFill>
            <a:srgbClr val="FFE6A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000"/>
          </a:p>
        </p:txBody>
      </p:sp>
      <p:sp>
        <p:nvSpPr>
          <p:cNvPr id="112" name="Rechthoek 111">
            <a:extLst>
              <a:ext uri="{FF2B5EF4-FFF2-40B4-BE49-F238E27FC236}">
                <a16:creationId xmlns:a16="http://schemas.microsoft.com/office/drawing/2014/main" id="{0D8F88AF-8EC8-4833-9BB8-A67146834231}"/>
              </a:ext>
            </a:extLst>
          </p:cNvPr>
          <p:cNvSpPr/>
          <p:nvPr/>
        </p:nvSpPr>
        <p:spPr>
          <a:xfrm>
            <a:off x="4184189" y="5522933"/>
            <a:ext cx="253544" cy="224067"/>
          </a:xfrm>
          <a:prstGeom prst="rect">
            <a:avLst/>
          </a:prstGeom>
          <a:solidFill>
            <a:srgbClr val="26979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000"/>
          </a:p>
        </p:txBody>
      </p:sp>
      <p:sp>
        <p:nvSpPr>
          <p:cNvPr id="113" name="Rechthoek 112">
            <a:extLst>
              <a:ext uri="{FF2B5EF4-FFF2-40B4-BE49-F238E27FC236}">
                <a16:creationId xmlns:a16="http://schemas.microsoft.com/office/drawing/2014/main" id="{07B53FC5-1B5E-45AC-914F-15E3FCA3960F}"/>
              </a:ext>
            </a:extLst>
          </p:cNvPr>
          <p:cNvSpPr/>
          <p:nvPr/>
        </p:nvSpPr>
        <p:spPr>
          <a:xfrm>
            <a:off x="3612681" y="5440200"/>
            <a:ext cx="177137" cy="216457"/>
          </a:xfrm>
          <a:prstGeom prst="rect">
            <a:avLst/>
          </a:prstGeom>
          <a:solidFill>
            <a:srgbClr val="26979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000"/>
          </a:p>
        </p:txBody>
      </p:sp>
      <p:sp>
        <p:nvSpPr>
          <p:cNvPr id="114" name="Rechthoek 113">
            <a:extLst>
              <a:ext uri="{FF2B5EF4-FFF2-40B4-BE49-F238E27FC236}">
                <a16:creationId xmlns:a16="http://schemas.microsoft.com/office/drawing/2014/main" id="{4FBB5FBC-8BC4-436F-8F86-1949707C824A}"/>
              </a:ext>
            </a:extLst>
          </p:cNvPr>
          <p:cNvSpPr/>
          <p:nvPr/>
        </p:nvSpPr>
        <p:spPr>
          <a:xfrm>
            <a:off x="7326625" y="5505678"/>
            <a:ext cx="177137" cy="216457"/>
          </a:xfrm>
          <a:prstGeom prst="rect">
            <a:avLst/>
          </a:prstGeom>
          <a:solidFill>
            <a:srgbClr val="EE47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000"/>
          </a:p>
        </p:txBody>
      </p:sp>
      <p:sp>
        <p:nvSpPr>
          <p:cNvPr id="118" name="Rechthoek 117">
            <a:extLst>
              <a:ext uri="{FF2B5EF4-FFF2-40B4-BE49-F238E27FC236}">
                <a16:creationId xmlns:a16="http://schemas.microsoft.com/office/drawing/2014/main" id="{A596AE4E-C77D-46A5-B373-57E0E24EB43E}"/>
              </a:ext>
            </a:extLst>
          </p:cNvPr>
          <p:cNvSpPr/>
          <p:nvPr/>
        </p:nvSpPr>
        <p:spPr>
          <a:xfrm>
            <a:off x="1151044" y="6358579"/>
            <a:ext cx="1280458" cy="51426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000"/>
          </a:p>
        </p:txBody>
      </p:sp>
      <p:sp>
        <p:nvSpPr>
          <p:cNvPr id="119" name="Rechthoek 118">
            <a:extLst>
              <a:ext uri="{FF2B5EF4-FFF2-40B4-BE49-F238E27FC236}">
                <a16:creationId xmlns:a16="http://schemas.microsoft.com/office/drawing/2014/main" id="{CB62EB7F-D753-4686-B42F-920447406046}"/>
              </a:ext>
            </a:extLst>
          </p:cNvPr>
          <p:cNvSpPr/>
          <p:nvPr/>
        </p:nvSpPr>
        <p:spPr>
          <a:xfrm>
            <a:off x="5540377" y="3719651"/>
            <a:ext cx="338398" cy="139838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000" b="1">
              <a:solidFill>
                <a:schemeClr val="accent3">
                  <a:lumMod val="50000"/>
                </a:schemeClr>
              </a:solidFill>
              <a:latin typeface="+mj-lt"/>
            </a:endParaRPr>
          </a:p>
        </p:txBody>
      </p:sp>
      <p:sp>
        <p:nvSpPr>
          <p:cNvPr id="120" name="Rechthoek 119">
            <a:extLst>
              <a:ext uri="{FF2B5EF4-FFF2-40B4-BE49-F238E27FC236}">
                <a16:creationId xmlns:a16="http://schemas.microsoft.com/office/drawing/2014/main" id="{B79011EE-21E9-4695-8888-9242473410B4}"/>
              </a:ext>
            </a:extLst>
          </p:cNvPr>
          <p:cNvSpPr/>
          <p:nvPr/>
        </p:nvSpPr>
        <p:spPr>
          <a:xfrm>
            <a:off x="6790460" y="5161125"/>
            <a:ext cx="795945" cy="2595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000" b="1">
              <a:solidFill>
                <a:schemeClr val="accent3">
                  <a:lumMod val="50000"/>
                </a:schemeClr>
              </a:solidFill>
              <a:latin typeface="+mj-lt"/>
            </a:endParaRPr>
          </a:p>
        </p:txBody>
      </p:sp>
      <p:sp>
        <p:nvSpPr>
          <p:cNvPr id="121" name="Rechthoek 120">
            <a:extLst>
              <a:ext uri="{FF2B5EF4-FFF2-40B4-BE49-F238E27FC236}">
                <a16:creationId xmlns:a16="http://schemas.microsoft.com/office/drawing/2014/main" id="{6BB6CB33-D9FE-4D18-90F9-5237F26587F0}"/>
              </a:ext>
            </a:extLst>
          </p:cNvPr>
          <p:cNvSpPr/>
          <p:nvPr/>
        </p:nvSpPr>
        <p:spPr>
          <a:xfrm>
            <a:off x="7716304" y="4905217"/>
            <a:ext cx="1153914" cy="30388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000" b="1">
              <a:solidFill>
                <a:schemeClr val="accent3">
                  <a:lumMod val="50000"/>
                </a:schemeClr>
              </a:solidFill>
              <a:latin typeface="+mj-lt"/>
            </a:endParaRPr>
          </a:p>
        </p:txBody>
      </p:sp>
      <p:sp>
        <p:nvSpPr>
          <p:cNvPr id="122" name="Rechthoek 121">
            <a:extLst>
              <a:ext uri="{FF2B5EF4-FFF2-40B4-BE49-F238E27FC236}">
                <a16:creationId xmlns:a16="http://schemas.microsoft.com/office/drawing/2014/main" id="{61EB83C7-8726-4E49-9036-8BDCD8352E8A}"/>
              </a:ext>
            </a:extLst>
          </p:cNvPr>
          <p:cNvSpPr/>
          <p:nvPr/>
        </p:nvSpPr>
        <p:spPr>
          <a:xfrm rot="19919368">
            <a:off x="8704828" y="4913018"/>
            <a:ext cx="298352" cy="4191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000" b="1">
              <a:solidFill>
                <a:schemeClr val="accent3">
                  <a:lumMod val="50000"/>
                </a:schemeClr>
              </a:solidFill>
              <a:latin typeface="+mj-lt"/>
            </a:endParaRPr>
          </a:p>
        </p:txBody>
      </p:sp>
      <p:sp>
        <p:nvSpPr>
          <p:cNvPr id="123" name="Rechthoek 122">
            <a:extLst>
              <a:ext uri="{FF2B5EF4-FFF2-40B4-BE49-F238E27FC236}">
                <a16:creationId xmlns:a16="http://schemas.microsoft.com/office/drawing/2014/main" id="{445331E9-D9E9-4414-939A-9A1153FD1E22}"/>
              </a:ext>
            </a:extLst>
          </p:cNvPr>
          <p:cNvSpPr/>
          <p:nvPr/>
        </p:nvSpPr>
        <p:spPr>
          <a:xfrm rot="20768558">
            <a:off x="8846030" y="5201366"/>
            <a:ext cx="298352" cy="4191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000" b="1">
              <a:solidFill>
                <a:schemeClr val="accent3">
                  <a:lumMod val="50000"/>
                </a:schemeClr>
              </a:solidFill>
              <a:latin typeface="+mj-lt"/>
            </a:endParaRPr>
          </a:p>
        </p:txBody>
      </p:sp>
      <p:sp>
        <p:nvSpPr>
          <p:cNvPr id="124" name="Rechthoek 123">
            <a:extLst>
              <a:ext uri="{FF2B5EF4-FFF2-40B4-BE49-F238E27FC236}">
                <a16:creationId xmlns:a16="http://schemas.microsoft.com/office/drawing/2014/main" id="{13666BC5-6D64-49A5-8858-ACD76006EBB7}"/>
              </a:ext>
            </a:extLst>
          </p:cNvPr>
          <p:cNvSpPr/>
          <p:nvPr/>
        </p:nvSpPr>
        <p:spPr>
          <a:xfrm>
            <a:off x="7178711" y="5152872"/>
            <a:ext cx="848972" cy="20096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000" b="1">
              <a:solidFill>
                <a:schemeClr val="accent3">
                  <a:lumMod val="50000"/>
                </a:schemeClr>
              </a:solidFill>
              <a:latin typeface="+mj-lt"/>
            </a:endParaRPr>
          </a:p>
        </p:txBody>
      </p:sp>
      <p:sp>
        <p:nvSpPr>
          <p:cNvPr id="125" name="Rechthoek 124">
            <a:extLst>
              <a:ext uri="{FF2B5EF4-FFF2-40B4-BE49-F238E27FC236}">
                <a16:creationId xmlns:a16="http://schemas.microsoft.com/office/drawing/2014/main" id="{6A0C2CE0-A6A5-4581-BD1D-2386693E4CF4}"/>
              </a:ext>
            </a:extLst>
          </p:cNvPr>
          <p:cNvSpPr/>
          <p:nvPr/>
        </p:nvSpPr>
        <p:spPr>
          <a:xfrm>
            <a:off x="7479611" y="5246574"/>
            <a:ext cx="494209" cy="12767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000" b="1">
              <a:solidFill>
                <a:schemeClr val="accent3">
                  <a:lumMod val="50000"/>
                </a:schemeClr>
              </a:solidFill>
              <a:latin typeface="+mj-lt"/>
            </a:endParaRPr>
          </a:p>
        </p:txBody>
      </p:sp>
      <p:sp>
        <p:nvSpPr>
          <p:cNvPr id="126" name="Rechthoek 125">
            <a:extLst>
              <a:ext uri="{FF2B5EF4-FFF2-40B4-BE49-F238E27FC236}">
                <a16:creationId xmlns:a16="http://schemas.microsoft.com/office/drawing/2014/main" id="{5B4C98E4-8948-4FDF-BCC9-0BAF45EDD1B6}"/>
              </a:ext>
            </a:extLst>
          </p:cNvPr>
          <p:cNvSpPr/>
          <p:nvPr/>
        </p:nvSpPr>
        <p:spPr>
          <a:xfrm rot="20618024">
            <a:off x="7968594" y="5141894"/>
            <a:ext cx="615383" cy="13572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000" b="1">
              <a:solidFill>
                <a:schemeClr val="accent3">
                  <a:lumMod val="50000"/>
                </a:schemeClr>
              </a:solidFill>
              <a:latin typeface="+mj-lt"/>
            </a:endParaRPr>
          </a:p>
        </p:txBody>
      </p:sp>
      <p:sp>
        <p:nvSpPr>
          <p:cNvPr id="130" name="Rechthoek 129">
            <a:extLst>
              <a:ext uri="{FF2B5EF4-FFF2-40B4-BE49-F238E27FC236}">
                <a16:creationId xmlns:a16="http://schemas.microsoft.com/office/drawing/2014/main" id="{89CFC027-1316-45EC-A588-2CBBF620E9AE}"/>
              </a:ext>
            </a:extLst>
          </p:cNvPr>
          <p:cNvSpPr/>
          <p:nvPr/>
        </p:nvSpPr>
        <p:spPr>
          <a:xfrm>
            <a:off x="933450" y="500620"/>
            <a:ext cx="10401300" cy="32152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31" name="Rechthoek 130">
            <a:extLst>
              <a:ext uri="{FF2B5EF4-FFF2-40B4-BE49-F238E27FC236}">
                <a16:creationId xmlns:a16="http://schemas.microsoft.com/office/drawing/2014/main" id="{445FE54E-B2FE-479B-9922-5A8F52349828}"/>
              </a:ext>
            </a:extLst>
          </p:cNvPr>
          <p:cNvSpPr/>
          <p:nvPr/>
        </p:nvSpPr>
        <p:spPr>
          <a:xfrm>
            <a:off x="1316678" y="663431"/>
            <a:ext cx="9799219" cy="1719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32" name="Rechthoek 131">
            <a:extLst>
              <a:ext uri="{FF2B5EF4-FFF2-40B4-BE49-F238E27FC236}">
                <a16:creationId xmlns:a16="http://schemas.microsoft.com/office/drawing/2014/main" id="{57AE1571-ADFB-4339-A5A6-A82B21C36E9A}"/>
              </a:ext>
            </a:extLst>
          </p:cNvPr>
          <p:cNvSpPr/>
          <p:nvPr/>
        </p:nvSpPr>
        <p:spPr>
          <a:xfrm>
            <a:off x="1662902" y="2694791"/>
            <a:ext cx="202250" cy="132712"/>
          </a:xfrm>
          <a:prstGeom prst="rect">
            <a:avLst/>
          </a:prstGeom>
          <a:solidFill>
            <a:srgbClr val="F9B19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000"/>
          </a:p>
        </p:txBody>
      </p:sp>
      <p:sp>
        <p:nvSpPr>
          <p:cNvPr id="133" name="Rechthoek 132">
            <a:extLst>
              <a:ext uri="{FF2B5EF4-FFF2-40B4-BE49-F238E27FC236}">
                <a16:creationId xmlns:a16="http://schemas.microsoft.com/office/drawing/2014/main" id="{B0366BA6-8182-4AF6-814D-67AA2170658A}"/>
              </a:ext>
            </a:extLst>
          </p:cNvPr>
          <p:cNvSpPr/>
          <p:nvPr/>
        </p:nvSpPr>
        <p:spPr>
          <a:xfrm>
            <a:off x="2630470" y="2530340"/>
            <a:ext cx="202250" cy="132712"/>
          </a:xfrm>
          <a:prstGeom prst="rect">
            <a:avLst/>
          </a:prstGeom>
          <a:solidFill>
            <a:srgbClr val="F9B19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000"/>
          </a:p>
        </p:txBody>
      </p:sp>
      <p:sp>
        <p:nvSpPr>
          <p:cNvPr id="134" name="Rechthoek 133">
            <a:extLst>
              <a:ext uri="{FF2B5EF4-FFF2-40B4-BE49-F238E27FC236}">
                <a16:creationId xmlns:a16="http://schemas.microsoft.com/office/drawing/2014/main" id="{1A5A4CF4-9095-4383-9D7B-E7CEF5DCA9DB}"/>
              </a:ext>
            </a:extLst>
          </p:cNvPr>
          <p:cNvSpPr/>
          <p:nvPr/>
        </p:nvSpPr>
        <p:spPr>
          <a:xfrm>
            <a:off x="3036557" y="2521445"/>
            <a:ext cx="202250" cy="132712"/>
          </a:xfrm>
          <a:prstGeom prst="rect">
            <a:avLst/>
          </a:prstGeom>
          <a:solidFill>
            <a:srgbClr val="F9B19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000"/>
          </a:p>
        </p:txBody>
      </p:sp>
      <p:sp>
        <p:nvSpPr>
          <p:cNvPr id="135" name="Rechthoek 134">
            <a:extLst>
              <a:ext uri="{FF2B5EF4-FFF2-40B4-BE49-F238E27FC236}">
                <a16:creationId xmlns:a16="http://schemas.microsoft.com/office/drawing/2014/main" id="{DFCBA377-DA67-4289-850E-798EC993C8EE}"/>
              </a:ext>
            </a:extLst>
          </p:cNvPr>
          <p:cNvSpPr/>
          <p:nvPr/>
        </p:nvSpPr>
        <p:spPr>
          <a:xfrm>
            <a:off x="3013252" y="2933889"/>
            <a:ext cx="153257" cy="124164"/>
          </a:xfrm>
          <a:prstGeom prst="rect">
            <a:avLst/>
          </a:prstGeom>
          <a:solidFill>
            <a:srgbClr val="F9B19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000"/>
          </a:p>
        </p:txBody>
      </p:sp>
      <p:sp>
        <p:nvSpPr>
          <p:cNvPr id="136" name="Rechthoek 135">
            <a:extLst>
              <a:ext uri="{FF2B5EF4-FFF2-40B4-BE49-F238E27FC236}">
                <a16:creationId xmlns:a16="http://schemas.microsoft.com/office/drawing/2014/main" id="{65971908-E966-4C54-854C-53160A238749}"/>
              </a:ext>
            </a:extLst>
          </p:cNvPr>
          <p:cNvSpPr/>
          <p:nvPr/>
        </p:nvSpPr>
        <p:spPr>
          <a:xfrm rot="2197501">
            <a:off x="2842379" y="3151212"/>
            <a:ext cx="165230" cy="65571"/>
          </a:xfrm>
          <a:prstGeom prst="rect">
            <a:avLst/>
          </a:prstGeom>
          <a:solidFill>
            <a:srgbClr val="F9B19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000"/>
          </a:p>
        </p:txBody>
      </p:sp>
      <p:sp>
        <p:nvSpPr>
          <p:cNvPr id="137" name="Rechthoek 136">
            <a:extLst>
              <a:ext uri="{FF2B5EF4-FFF2-40B4-BE49-F238E27FC236}">
                <a16:creationId xmlns:a16="http://schemas.microsoft.com/office/drawing/2014/main" id="{D46495DB-2F7F-4666-9FA8-446EA1FF0880}"/>
              </a:ext>
            </a:extLst>
          </p:cNvPr>
          <p:cNvSpPr/>
          <p:nvPr/>
        </p:nvSpPr>
        <p:spPr>
          <a:xfrm>
            <a:off x="1662902" y="2885105"/>
            <a:ext cx="202250" cy="115142"/>
          </a:xfrm>
          <a:prstGeom prst="rect">
            <a:avLst/>
          </a:prstGeom>
          <a:solidFill>
            <a:srgbClr val="F9B19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000"/>
          </a:p>
        </p:txBody>
      </p:sp>
      <p:sp>
        <p:nvSpPr>
          <p:cNvPr id="138" name="Rechthoek 137">
            <a:extLst>
              <a:ext uri="{FF2B5EF4-FFF2-40B4-BE49-F238E27FC236}">
                <a16:creationId xmlns:a16="http://schemas.microsoft.com/office/drawing/2014/main" id="{56AF6D0D-32E4-4A0E-BF80-DFFA0ABB5EC9}"/>
              </a:ext>
            </a:extLst>
          </p:cNvPr>
          <p:cNvSpPr/>
          <p:nvPr/>
        </p:nvSpPr>
        <p:spPr>
          <a:xfrm>
            <a:off x="1662902" y="3330403"/>
            <a:ext cx="202250" cy="115142"/>
          </a:xfrm>
          <a:prstGeom prst="rect">
            <a:avLst/>
          </a:prstGeom>
          <a:solidFill>
            <a:srgbClr val="F9B19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000"/>
          </a:p>
        </p:txBody>
      </p:sp>
      <p:sp>
        <p:nvSpPr>
          <p:cNvPr id="139" name="Rechthoek 138">
            <a:extLst>
              <a:ext uri="{FF2B5EF4-FFF2-40B4-BE49-F238E27FC236}">
                <a16:creationId xmlns:a16="http://schemas.microsoft.com/office/drawing/2014/main" id="{4EAA9091-129A-417F-B4E6-2C83D68DA49E}"/>
              </a:ext>
            </a:extLst>
          </p:cNvPr>
          <p:cNvSpPr/>
          <p:nvPr/>
        </p:nvSpPr>
        <p:spPr>
          <a:xfrm>
            <a:off x="1957823" y="3330403"/>
            <a:ext cx="86487" cy="90477"/>
          </a:xfrm>
          <a:prstGeom prst="rect">
            <a:avLst/>
          </a:prstGeom>
          <a:solidFill>
            <a:srgbClr val="F9B19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000"/>
          </a:p>
        </p:txBody>
      </p:sp>
      <p:sp>
        <p:nvSpPr>
          <p:cNvPr id="140" name="Rechthoek 139">
            <a:extLst>
              <a:ext uri="{FF2B5EF4-FFF2-40B4-BE49-F238E27FC236}">
                <a16:creationId xmlns:a16="http://schemas.microsoft.com/office/drawing/2014/main" id="{3B28112C-8A2A-4379-ADA2-0D4248691547}"/>
              </a:ext>
            </a:extLst>
          </p:cNvPr>
          <p:cNvSpPr/>
          <p:nvPr/>
        </p:nvSpPr>
        <p:spPr>
          <a:xfrm>
            <a:off x="2158225" y="3299110"/>
            <a:ext cx="103196" cy="121769"/>
          </a:xfrm>
          <a:prstGeom prst="rect">
            <a:avLst/>
          </a:prstGeom>
          <a:solidFill>
            <a:srgbClr val="F9B19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000"/>
          </a:p>
        </p:txBody>
      </p:sp>
      <p:sp>
        <p:nvSpPr>
          <p:cNvPr id="19" name="Tekstvak 18">
            <a:extLst>
              <a:ext uri="{FF2B5EF4-FFF2-40B4-BE49-F238E27FC236}">
                <a16:creationId xmlns:a16="http://schemas.microsoft.com/office/drawing/2014/main" id="{8FD88401-D8A0-40F0-A60A-BAC0744ED3A1}"/>
              </a:ext>
            </a:extLst>
          </p:cNvPr>
          <p:cNvSpPr txBox="1"/>
          <p:nvPr/>
        </p:nvSpPr>
        <p:spPr>
          <a:xfrm>
            <a:off x="477921" y="324649"/>
            <a:ext cx="11340897" cy="502702"/>
          </a:xfrm>
          <a:prstGeom prst="rect">
            <a:avLst/>
          </a:prstGeom>
          <a:noFill/>
        </p:spPr>
        <p:txBody>
          <a:bodyPr wrap="square">
            <a:spAutoFit/>
          </a:bodyPr>
          <a:lstStyle/>
          <a:p>
            <a:pPr algn="ctr">
              <a:lnSpc>
                <a:spcPts val="3200"/>
              </a:lnSpc>
            </a:pPr>
            <a:r>
              <a:rPr lang="nl-NL" sz="3000" b="1" dirty="0">
                <a:solidFill>
                  <a:srgbClr val="62366E"/>
                </a:solidFill>
                <a:latin typeface="Open Sans"/>
              </a:rPr>
              <a:t>Interne druktebeeldmeting </a:t>
            </a:r>
            <a:endParaRPr lang="nl-NL" sz="2000" b="1" dirty="0">
              <a:solidFill>
                <a:schemeClr val="accent3"/>
              </a:solidFill>
              <a:latin typeface="Open Sans"/>
            </a:endParaRPr>
          </a:p>
        </p:txBody>
      </p:sp>
      <p:sp>
        <p:nvSpPr>
          <p:cNvPr id="144" name="Pijl: links/rechts 143">
            <a:extLst>
              <a:ext uri="{FF2B5EF4-FFF2-40B4-BE49-F238E27FC236}">
                <a16:creationId xmlns:a16="http://schemas.microsoft.com/office/drawing/2014/main" id="{6A7C6493-927D-444E-9C57-CDA8B0F6402D}"/>
              </a:ext>
            </a:extLst>
          </p:cNvPr>
          <p:cNvSpPr/>
          <p:nvPr/>
        </p:nvSpPr>
        <p:spPr>
          <a:xfrm>
            <a:off x="3881175" y="3401579"/>
            <a:ext cx="956930" cy="191386"/>
          </a:xfrm>
          <a:prstGeom prst="leftRightArrow">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45" name="Pijl: links/rechts 144">
            <a:extLst>
              <a:ext uri="{FF2B5EF4-FFF2-40B4-BE49-F238E27FC236}">
                <a16:creationId xmlns:a16="http://schemas.microsoft.com/office/drawing/2014/main" id="{8C76746B-F01B-4001-A8E2-E5FECE029EA5}"/>
              </a:ext>
            </a:extLst>
          </p:cNvPr>
          <p:cNvSpPr/>
          <p:nvPr/>
        </p:nvSpPr>
        <p:spPr>
          <a:xfrm rot="16200000">
            <a:off x="5191358" y="4254064"/>
            <a:ext cx="956930" cy="191386"/>
          </a:xfrm>
          <a:prstGeom prst="leftRightArrow">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46" name="Pijl: links/rechts 145">
            <a:extLst>
              <a:ext uri="{FF2B5EF4-FFF2-40B4-BE49-F238E27FC236}">
                <a16:creationId xmlns:a16="http://schemas.microsoft.com/office/drawing/2014/main" id="{3F778BA7-AECA-4490-92AE-31AC5EA953FC}"/>
              </a:ext>
            </a:extLst>
          </p:cNvPr>
          <p:cNvSpPr/>
          <p:nvPr/>
        </p:nvSpPr>
        <p:spPr>
          <a:xfrm rot="16200000">
            <a:off x="5279369" y="2151314"/>
            <a:ext cx="956930" cy="191386"/>
          </a:xfrm>
          <a:prstGeom prst="leftRightArrow">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47" name="Pijl: links/rechts 146">
            <a:extLst>
              <a:ext uri="{FF2B5EF4-FFF2-40B4-BE49-F238E27FC236}">
                <a16:creationId xmlns:a16="http://schemas.microsoft.com/office/drawing/2014/main" id="{CF83B5BC-0E9D-4DAC-B133-0EC071F2ECF6}"/>
              </a:ext>
            </a:extLst>
          </p:cNvPr>
          <p:cNvSpPr/>
          <p:nvPr/>
        </p:nvSpPr>
        <p:spPr>
          <a:xfrm rot="13137857">
            <a:off x="7768480" y="3929695"/>
            <a:ext cx="956930" cy="191386"/>
          </a:xfrm>
          <a:prstGeom prst="leftRightArrow">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48" name="Pijl: links/rechts 147">
            <a:extLst>
              <a:ext uri="{FF2B5EF4-FFF2-40B4-BE49-F238E27FC236}">
                <a16:creationId xmlns:a16="http://schemas.microsoft.com/office/drawing/2014/main" id="{A2A06352-9624-4E3A-9D3E-9B7629361DC6}"/>
              </a:ext>
            </a:extLst>
          </p:cNvPr>
          <p:cNvSpPr/>
          <p:nvPr/>
        </p:nvSpPr>
        <p:spPr>
          <a:xfrm>
            <a:off x="6319791" y="3457077"/>
            <a:ext cx="956930" cy="191386"/>
          </a:xfrm>
          <a:prstGeom prst="leftRightArrow">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49" name="Pijl: links/rechts 148">
            <a:extLst>
              <a:ext uri="{FF2B5EF4-FFF2-40B4-BE49-F238E27FC236}">
                <a16:creationId xmlns:a16="http://schemas.microsoft.com/office/drawing/2014/main" id="{3E4EEEAC-2918-4ED5-BDC5-2B5B8BB8F68B}"/>
              </a:ext>
            </a:extLst>
          </p:cNvPr>
          <p:cNvSpPr/>
          <p:nvPr/>
        </p:nvSpPr>
        <p:spPr>
          <a:xfrm rot="20961828">
            <a:off x="2551502" y="3557662"/>
            <a:ext cx="956930" cy="191386"/>
          </a:xfrm>
          <a:prstGeom prst="leftRightArrow">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50" name="Rechthoek 149">
            <a:extLst>
              <a:ext uri="{FF2B5EF4-FFF2-40B4-BE49-F238E27FC236}">
                <a16:creationId xmlns:a16="http://schemas.microsoft.com/office/drawing/2014/main" id="{A6B296EB-1219-4F8B-BC59-FB50519580FE}"/>
              </a:ext>
            </a:extLst>
          </p:cNvPr>
          <p:cNvSpPr/>
          <p:nvPr/>
        </p:nvSpPr>
        <p:spPr>
          <a:xfrm>
            <a:off x="8176274" y="3400375"/>
            <a:ext cx="1029255" cy="420167"/>
          </a:xfrm>
          <a:prstGeom prst="rect">
            <a:avLst/>
          </a:prstGeom>
          <a:solidFill>
            <a:schemeClr val="accent3">
              <a:lumMod val="60000"/>
              <a:lumOff val="40000"/>
            </a:schemeClr>
          </a:solidFill>
          <a:ln w="38100">
            <a:solidFill>
              <a:schemeClr val="accent3">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b="1" dirty="0">
                <a:solidFill>
                  <a:schemeClr val="tx1"/>
                </a:solidFill>
                <a:latin typeface="+mj-lt"/>
              </a:rPr>
              <a:t>19.706</a:t>
            </a:r>
          </a:p>
        </p:txBody>
      </p:sp>
      <p:sp>
        <p:nvSpPr>
          <p:cNvPr id="151" name="Rechthoek 150">
            <a:extLst>
              <a:ext uri="{FF2B5EF4-FFF2-40B4-BE49-F238E27FC236}">
                <a16:creationId xmlns:a16="http://schemas.microsoft.com/office/drawing/2014/main" id="{2C266DD7-0FA3-4CE7-A976-44DE12BD5D66}"/>
              </a:ext>
            </a:extLst>
          </p:cNvPr>
          <p:cNvSpPr/>
          <p:nvPr/>
        </p:nvSpPr>
        <p:spPr>
          <a:xfrm>
            <a:off x="6261214" y="2978731"/>
            <a:ext cx="1029255" cy="420167"/>
          </a:xfrm>
          <a:prstGeom prst="rect">
            <a:avLst/>
          </a:prstGeom>
          <a:solidFill>
            <a:schemeClr val="accent3">
              <a:lumMod val="60000"/>
              <a:lumOff val="40000"/>
            </a:schemeClr>
          </a:solidFill>
          <a:ln w="38100">
            <a:solidFill>
              <a:schemeClr val="accent3">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b="1">
                <a:solidFill>
                  <a:schemeClr val="tx1"/>
                </a:solidFill>
                <a:latin typeface="+mj-lt"/>
              </a:rPr>
              <a:t>22.643</a:t>
            </a:r>
          </a:p>
        </p:txBody>
      </p:sp>
      <p:sp>
        <p:nvSpPr>
          <p:cNvPr id="152" name="Rechthoek 151">
            <a:extLst>
              <a:ext uri="{FF2B5EF4-FFF2-40B4-BE49-F238E27FC236}">
                <a16:creationId xmlns:a16="http://schemas.microsoft.com/office/drawing/2014/main" id="{E55C3FB2-0A5D-4B31-9611-72014040EDA7}"/>
              </a:ext>
            </a:extLst>
          </p:cNvPr>
          <p:cNvSpPr/>
          <p:nvPr/>
        </p:nvSpPr>
        <p:spPr>
          <a:xfrm>
            <a:off x="5925630" y="2003634"/>
            <a:ext cx="1029255" cy="420167"/>
          </a:xfrm>
          <a:prstGeom prst="rect">
            <a:avLst/>
          </a:prstGeom>
          <a:solidFill>
            <a:schemeClr val="accent6">
              <a:lumMod val="60000"/>
              <a:lumOff val="40000"/>
            </a:schemeClr>
          </a:solidFill>
          <a:ln w="38100">
            <a:solidFill>
              <a:schemeClr val="accent6">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b="1">
                <a:solidFill>
                  <a:schemeClr val="tx1"/>
                </a:solidFill>
                <a:latin typeface="+mj-lt"/>
              </a:rPr>
              <a:t>5.786</a:t>
            </a:r>
          </a:p>
        </p:txBody>
      </p:sp>
      <p:sp>
        <p:nvSpPr>
          <p:cNvPr id="153" name="Rechthoek 152">
            <a:extLst>
              <a:ext uri="{FF2B5EF4-FFF2-40B4-BE49-F238E27FC236}">
                <a16:creationId xmlns:a16="http://schemas.microsoft.com/office/drawing/2014/main" id="{13A5E7E7-10F1-489E-AA33-31B61DD97CE9}"/>
              </a:ext>
            </a:extLst>
          </p:cNvPr>
          <p:cNvSpPr/>
          <p:nvPr/>
        </p:nvSpPr>
        <p:spPr>
          <a:xfrm>
            <a:off x="5881033" y="4133468"/>
            <a:ext cx="1029255" cy="420167"/>
          </a:xfrm>
          <a:prstGeom prst="rect">
            <a:avLst/>
          </a:prstGeom>
          <a:solidFill>
            <a:schemeClr val="accent6">
              <a:lumMod val="60000"/>
              <a:lumOff val="40000"/>
            </a:schemeClr>
          </a:solidFill>
          <a:ln w="38100">
            <a:solidFill>
              <a:schemeClr val="accent6">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b="1">
                <a:solidFill>
                  <a:schemeClr val="tx1"/>
                </a:solidFill>
                <a:latin typeface="+mj-lt"/>
              </a:rPr>
              <a:t>5.600</a:t>
            </a:r>
          </a:p>
        </p:txBody>
      </p:sp>
      <p:sp>
        <p:nvSpPr>
          <p:cNvPr id="154" name="Rechthoek 153">
            <a:extLst>
              <a:ext uri="{FF2B5EF4-FFF2-40B4-BE49-F238E27FC236}">
                <a16:creationId xmlns:a16="http://schemas.microsoft.com/office/drawing/2014/main" id="{0C4CFA8F-BE85-49A6-9080-CEF25B1C7352}"/>
              </a:ext>
            </a:extLst>
          </p:cNvPr>
          <p:cNvSpPr/>
          <p:nvPr/>
        </p:nvSpPr>
        <p:spPr>
          <a:xfrm>
            <a:off x="3872278" y="2968457"/>
            <a:ext cx="1029255" cy="420167"/>
          </a:xfrm>
          <a:prstGeom prst="rect">
            <a:avLst/>
          </a:prstGeom>
          <a:solidFill>
            <a:schemeClr val="accent3">
              <a:lumMod val="60000"/>
              <a:lumOff val="40000"/>
            </a:schemeClr>
          </a:solidFill>
          <a:ln w="38100">
            <a:solidFill>
              <a:schemeClr val="accent3">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b="1">
                <a:solidFill>
                  <a:schemeClr val="tx1"/>
                </a:solidFill>
                <a:latin typeface="+mj-lt"/>
              </a:rPr>
              <a:t>22.478</a:t>
            </a:r>
          </a:p>
        </p:txBody>
      </p:sp>
      <p:sp>
        <p:nvSpPr>
          <p:cNvPr id="155" name="Rechthoek 154">
            <a:extLst>
              <a:ext uri="{FF2B5EF4-FFF2-40B4-BE49-F238E27FC236}">
                <a16:creationId xmlns:a16="http://schemas.microsoft.com/office/drawing/2014/main" id="{D293CBFA-6EFE-41C2-8A8D-E2B695AB97DF}"/>
              </a:ext>
            </a:extLst>
          </p:cNvPr>
          <p:cNvSpPr/>
          <p:nvPr/>
        </p:nvSpPr>
        <p:spPr>
          <a:xfrm>
            <a:off x="1784818" y="3117093"/>
            <a:ext cx="1029255" cy="420167"/>
          </a:xfrm>
          <a:prstGeom prst="rect">
            <a:avLst/>
          </a:prstGeom>
          <a:solidFill>
            <a:schemeClr val="accent3">
              <a:lumMod val="60000"/>
              <a:lumOff val="40000"/>
            </a:schemeClr>
          </a:solidFill>
          <a:ln w="38100">
            <a:solidFill>
              <a:schemeClr val="accent3">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b="1">
                <a:solidFill>
                  <a:schemeClr val="tx1"/>
                </a:solidFill>
                <a:latin typeface="+mj-lt"/>
              </a:rPr>
              <a:t>22.680</a:t>
            </a:r>
          </a:p>
        </p:txBody>
      </p:sp>
      <p:sp>
        <p:nvSpPr>
          <p:cNvPr id="156" name="Paginanummer Seinpost">
            <a:extLst>
              <a:ext uri="{FF2B5EF4-FFF2-40B4-BE49-F238E27FC236}">
                <a16:creationId xmlns:a16="http://schemas.microsoft.com/office/drawing/2014/main" id="{D4AA1432-EA12-4841-9D09-7680295A00CF}"/>
              </a:ext>
            </a:extLst>
          </p:cNvPr>
          <p:cNvSpPr txBox="1">
            <a:spLocks/>
          </p:cNvSpPr>
          <p:nvPr>
            <p:custDataLst>
              <p:tags r:id="rId2"/>
            </p:custDataLst>
          </p:nvPr>
        </p:nvSpPr>
        <p:spPr>
          <a:xfrm>
            <a:off x="11628018" y="252000"/>
            <a:ext cx="381601" cy="244800"/>
          </a:xfrm>
          <a:prstGeom prst="rect">
            <a:avLst/>
          </a:prstGeom>
          <a:noFill/>
        </p:spPr>
        <p:txBody>
          <a:bodyPr vert="horz" lIns="0" tIns="0" rIns="0" bIns="0" rtlCol="0" anchor="t">
            <a:noAutofit/>
          </a:bodyPr>
          <a:lstStyle/>
          <a:p>
            <a:pPr algn="ctr"/>
            <a:r>
              <a:rPr lang="nl-NL" sz="1000" b="1">
                <a:solidFill>
                  <a:srgbClr val="62366E"/>
                </a:solidFill>
                <a:latin typeface="Open Sans" panose="020B0606030504020204" pitchFamily="34" charset="0"/>
              </a:rPr>
              <a:t>7</a:t>
            </a:r>
          </a:p>
        </p:txBody>
      </p:sp>
      <p:pic>
        <p:nvPicPr>
          <p:cNvPr id="158" name="Paginanummer Seinpost">
            <a:extLst>
              <a:ext uri="{FF2B5EF4-FFF2-40B4-BE49-F238E27FC236}">
                <a16:creationId xmlns:a16="http://schemas.microsoft.com/office/drawing/2014/main" id="{AD29ECB6-7246-4775-9742-2EF05EB21B6E}"/>
              </a:ext>
            </a:extLst>
          </p:cNvPr>
          <p:cNvPicPr>
            <a:picLocks noChangeAspect="1"/>
          </p:cNvPicPr>
          <p:nvPr>
            <p:custDataLst>
              <p:tags r:id="rId3"/>
            </p:custDataLst>
          </p:nvPr>
        </p:nvPicPr>
        <p:blipFill>
          <a:blip r:embed="rId7">
            <a:extLst>
              <a:ext uri="{28A0092B-C50C-407E-A947-70E740481C1C}">
                <a14:useLocalDpi xmlns:a14="http://schemas.microsoft.com/office/drawing/2010/main" val="0"/>
              </a:ext>
            </a:extLst>
          </a:blip>
          <a:stretch>
            <a:fillRect/>
          </a:stretch>
        </p:blipFill>
        <p:spPr>
          <a:xfrm>
            <a:off x="11674818" y="172800"/>
            <a:ext cx="298705" cy="289561"/>
          </a:xfrm>
          <a:prstGeom prst="rect">
            <a:avLst/>
          </a:prstGeom>
        </p:spPr>
      </p:pic>
      <p:sp>
        <p:nvSpPr>
          <p:cNvPr id="159" name="Paginanummer Seinpost">
            <a:extLst>
              <a:ext uri="{FF2B5EF4-FFF2-40B4-BE49-F238E27FC236}">
                <a16:creationId xmlns:a16="http://schemas.microsoft.com/office/drawing/2014/main" id="{A62DAE67-24EF-44B5-9217-0EE23EBF1609}"/>
              </a:ext>
            </a:extLst>
          </p:cNvPr>
          <p:cNvSpPr txBox="1">
            <a:spLocks/>
          </p:cNvSpPr>
          <p:nvPr>
            <p:custDataLst>
              <p:tags r:id="rId4"/>
            </p:custDataLst>
          </p:nvPr>
        </p:nvSpPr>
        <p:spPr>
          <a:xfrm>
            <a:off x="11628018" y="252000"/>
            <a:ext cx="381601" cy="244800"/>
          </a:xfrm>
          <a:prstGeom prst="rect">
            <a:avLst/>
          </a:prstGeom>
          <a:noFill/>
        </p:spPr>
        <p:txBody>
          <a:bodyPr vert="horz" lIns="0" tIns="0" rIns="0" bIns="0" rtlCol="0" anchor="t">
            <a:noAutofit/>
          </a:bodyPr>
          <a:lstStyle/>
          <a:p>
            <a:pPr algn="ctr"/>
            <a:r>
              <a:rPr lang="nl-NL" sz="1000" b="1">
                <a:solidFill>
                  <a:srgbClr val="62366E"/>
                </a:solidFill>
                <a:latin typeface="Open Sans" panose="020B0606030504020204" pitchFamily="34" charset="0"/>
              </a:rPr>
              <a:t>6</a:t>
            </a:r>
          </a:p>
        </p:txBody>
      </p:sp>
    </p:spTree>
    <p:extLst>
      <p:ext uri="{BB962C8B-B14F-4D97-AF65-F5344CB8AC3E}">
        <p14:creationId xmlns:p14="http://schemas.microsoft.com/office/powerpoint/2010/main" val="285248701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1 Kolom breed links hoog">
            <a:extLst>
              <a:ext uri="{FF2B5EF4-FFF2-40B4-BE49-F238E27FC236}">
                <a16:creationId xmlns:a16="http://schemas.microsoft.com/office/drawing/2014/main" id="{3EE7C7D8-9031-4353-BCAD-397EDB63D8FE}"/>
              </a:ext>
            </a:extLst>
          </p:cNvPr>
          <p:cNvSpPr txBox="1"/>
          <p:nvPr>
            <p:custDataLst>
              <p:tags r:id="rId1"/>
            </p:custDataLst>
          </p:nvPr>
        </p:nvSpPr>
        <p:spPr>
          <a:xfrm>
            <a:off x="1080002" y="1404002"/>
            <a:ext cx="6311398" cy="5270557"/>
          </a:xfrm>
          <a:prstGeom prst="rect">
            <a:avLst/>
          </a:prstGeom>
          <a:noFill/>
        </p:spPr>
        <p:txBody>
          <a:bodyPr vert="horz" lIns="0" tIns="0" rIns="0" bIns="0" rtlCol="0" anchor="t">
            <a:noAutofit/>
          </a:bodyPr>
          <a:lstStyle/>
          <a:p>
            <a:pPr marL="228600" lvl="1" indent="-228600">
              <a:buClr>
                <a:srgbClr val="000000"/>
              </a:buClr>
              <a:buSzPct val="100000"/>
              <a:buFontTx/>
              <a:buChar char="•"/>
            </a:pPr>
            <a:endParaRPr lang="nl-NL" sz="1600" dirty="0">
              <a:latin typeface="Open Sans" panose="020B0606030504020204"/>
            </a:endParaRPr>
          </a:p>
          <a:p>
            <a:pPr marL="228600" lvl="1" indent="-228600">
              <a:buClr>
                <a:srgbClr val="000000"/>
              </a:buClr>
              <a:buSzPct val="100000"/>
              <a:buFontTx/>
              <a:buChar char="•"/>
            </a:pPr>
            <a:endParaRPr lang="nl-NL" sz="1600" dirty="0">
              <a:latin typeface="Open Sans" panose="020B0606030504020204"/>
            </a:endParaRPr>
          </a:p>
          <a:p>
            <a:pPr marL="228600" lvl="1" indent="-228600">
              <a:buClr>
                <a:srgbClr val="000000"/>
              </a:buClr>
              <a:buSzPct val="100000"/>
              <a:buFontTx/>
              <a:buChar char="•"/>
            </a:pPr>
            <a:r>
              <a:rPr lang="nl-NL" sz="1600" dirty="0">
                <a:latin typeface="Open Sans" panose="020B0606030504020204"/>
              </a:rPr>
              <a:t>54.000 bezoekers per week (41.000 bezoekeenheden)</a:t>
            </a:r>
          </a:p>
          <a:p>
            <a:pPr marL="0" lvl="1">
              <a:buClr>
                <a:srgbClr val="000000"/>
              </a:buClr>
              <a:buSzPct val="100000"/>
            </a:pPr>
            <a:endParaRPr lang="nl-NL" sz="1600" dirty="0">
              <a:latin typeface="Open Sans" panose="020B0606030504020204"/>
            </a:endParaRPr>
          </a:p>
          <a:p>
            <a:pPr marL="228600" lvl="1" indent="-228600">
              <a:buClr>
                <a:srgbClr val="000000"/>
              </a:buClr>
              <a:buSzPct val="100000"/>
              <a:buFontTx/>
              <a:buChar char="•"/>
            </a:pPr>
            <a:r>
              <a:rPr lang="nl-NL" sz="1600" dirty="0">
                <a:latin typeface="Open Sans" panose="020B0606030504020204"/>
              </a:rPr>
              <a:t>88% van de bezoekers komt uit Leusden </a:t>
            </a:r>
          </a:p>
          <a:p>
            <a:pPr marL="0" lvl="1">
              <a:buClr>
                <a:srgbClr val="000000"/>
              </a:buClr>
              <a:buSzPct val="100000"/>
            </a:pPr>
            <a:endParaRPr lang="nl-NL" sz="1600" dirty="0">
              <a:latin typeface="Open Sans" panose="020B0606030504020204"/>
            </a:endParaRPr>
          </a:p>
          <a:p>
            <a:pPr marL="228600" lvl="1" indent="-228600">
              <a:buClr>
                <a:srgbClr val="000000"/>
              </a:buClr>
              <a:buSzPct val="100000"/>
              <a:buFontTx/>
              <a:buChar char="•"/>
            </a:pPr>
            <a:r>
              <a:rPr lang="nl-NL" sz="1600" dirty="0">
                <a:latin typeface="Open Sans" panose="020B0606030504020204"/>
              </a:rPr>
              <a:t>Het bezoek is doorgaans doelgericht </a:t>
            </a:r>
          </a:p>
          <a:p>
            <a:pPr marL="228600" lvl="1" indent="-228600">
              <a:buClr>
                <a:srgbClr val="000000"/>
              </a:buClr>
              <a:buSzPct val="100000"/>
              <a:buFontTx/>
              <a:buChar char="•"/>
            </a:pPr>
            <a:endParaRPr lang="nl-NL" sz="1600" dirty="0">
              <a:latin typeface="Open Sans" panose="020B0606030504020204"/>
            </a:endParaRPr>
          </a:p>
          <a:p>
            <a:pPr marL="228600" lvl="1" indent="-228600">
              <a:buClr>
                <a:srgbClr val="000000"/>
              </a:buClr>
              <a:buSzPct val="100000"/>
              <a:buFontTx/>
              <a:buChar char="•"/>
            </a:pPr>
            <a:r>
              <a:rPr lang="nl-NL" sz="1600" dirty="0">
                <a:latin typeface="Open Sans" panose="020B0606030504020204"/>
              </a:rPr>
              <a:t>62% van de bezoekers komt voor het doen van boodschappen. 58% bezoekt minimaal één supermarkt. </a:t>
            </a:r>
          </a:p>
          <a:p>
            <a:pPr marL="0" lvl="1">
              <a:buClr>
                <a:srgbClr val="000000"/>
              </a:buClr>
              <a:buSzPct val="100000"/>
            </a:pPr>
            <a:endParaRPr lang="nl-NL" sz="1600" dirty="0">
              <a:latin typeface="Open Sans" panose="020B0606030504020204"/>
            </a:endParaRPr>
          </a:p>
          <a:p>
            <a:pPr marL="228600" lvl="1" indent="-228600">
              <a:buClr>
                <a:srgbClr val="000000"/>
              </a:buClr>
              <a:buSzPct val="100000"/>
              <a:buFontTx/>
              <a:buChar char="•"/>
            </a:pPr>
            <a:r>
              <a:rPr lang="nl-NL" sz="1600" dirty="0">
                <a:latin typeface="Open Sans" panose="020B0606030504020204"/>
              </a:rPr>
              <a:t>Bezoekers van de Hamershof zijn positief over het winkelcentrum en het winkelaanbod (beoordeling: 7,5). Kritisch is men over het horeca-aanbod (6,4)</a:t>
            </a:r>
          </a:p>
          <a:p>
            <a:pPr marL="228600" lvl="1" indent="-228600">
              <a:buClr>
                <a:srgbClr val="000000"/>
              </a:buClr>
              <a:buSzPct val="100000"/>
              <a:buFontTx/>
              <a:buChar char="•"/>
            </a:pPr>
            <a:endParaRPr lang="nl-NL" sz="1600" dirty="0">
              <a:latin typeface="Open Sans" panose="020B0606030504020204"/>
            </a:endParaRPr>
          </a:p>
          <a:p>
            <a:pPr marL="228600" lvl="1" indent="-228600">
              <a:buClr>
                <a:srgbClr val="000000"/>
              </a:buClr>
              <a:buSzPct val="100000"/>
              <a:buFontTx/>
              <a:buChar char="•"/>
            </a:pPr>
            <a:r>
              <a:rPr lang="nl-NL" sz="1600" dirty="0">
                <a:latin typeface="Open Sans" panose="020B0606030504020204"/>
              </a:rPr>
              <a:t>De Passage is, volgens sommige bezoekers, niet prettig winkelen, donker en enigszins unheimisch. </a:t>
            </a:r>
          </a:p>
          <a:p>
            <a:pPr marL="228600" lvl="1" indent="-228600">
              <a:buClr>
                <a:srgbClr val="000000"/>
              </a:buClr>
              <a:buSzPct val="100000"/>
              <a:buFontTx/>
              <a:buChar char="•"/>
            </a:pPr>
            <a:endParaRPr lang="nl-NL" sz="1600" dirty="0">
              <a:latin typeface="Open Sans" panose="020B0606030504020204"/>
            </a:endParaRPr>
          </a:p>
          <a:p>
            <a:pPr marL="228600" lvl="1" indent="-228600">
              <a:buClr>
                <a:srgbClr val="000000"/>
              </a:buClr>
              <a:buSzPct val="100000"/>
              <a:buFontTx/>
              <a:buChar char="•"/>
            </a:pPr>
            <a:r>
              <a:rPr lang="nl-NL" sz="1600" dirty="0">
                <a:latin typeface="Open Sans" panose="020B0606030504020204"/>
              </a:rPr>
              <a:t>Ontbrekende winkels: ruim een kwart (!) van de respondenten mist een Action</a:t>
            </a:r>
          </a:p>
          <a:p>
            <a:pPr marL="228600" lvl="1" indent="-228600">
              <a:buClr>
                <a:srgbClr val="000000"/>
              </a:buClr>
              <a:buSzPct val="100000"/>
              <a:buFontTx/>
              <a:buChar char="•"/>
            </a:pPr>
            <a:endParaRPr lang="nl-NL" sz="1600" dirty="0">
              <a:latin typeface="Open Sans" panose="020B0606030504020204"/>
            </a:endParaRPr>
          </a:p>
          <a:p>
            <a:pPr marL="228600" lvl="1" indent="-228600">
              <a:buClr>
                <a:srgbClr val="000000"/>
              </a:buClr>
              <a:buSzPct val="100000"/>
              <a:buFontTx/>
              <a:buChar char="•"/>
            </a:pPr>
            <a:endParaRPr lang="nl-NL" sz="1600" dirty="0">
              <a:latin typeface="Open Sans" panose="020B0606030504020204"/>
            </a:endParaRPr>
          </a:p>
          <a:p>
            <a:pPr marL="228600" lvl="1" indent="-228600">
              <a:buClr>
                <a:srgbClr val="000000"/>
              </a:buClr>
              <a:buSzPct val="100000"/>
              <a:buFontTx/>
              <a:buChar char="•"/>
            </a:pPr>
            <a:endParaRPr lang="nl-NL" sz="1600" dirty="0">
              <a:latin typeface="Open Sans" panose="020B0606030504020204"/>
            </a:endParaRPr>
          </a:p>
          <a:p>
            <a:pPr marL="228600" lvl="1" indent="-228600">
              <a:buClr>
                <a:srgbClr val="000000"/>
              </a:buClr>
              <a:buSzPct val="100000"/>
              <a:buFontTx/>
              <a:buChar char="•"/>
            </a:pPr>
            <a:endParaRPr lang="nl-NL" sz="1600" dirty="0">
              <a:latin typeface="Open Sans" panose="020B0606030504020204"/>
            </a:endParaRPr>
          </a:p>
          <a:p>
            <a:pPr marL="228600" lvl="1" indent="-228600">
              <a:buClr>
                <a:srgbClr val="000000"/>
              </a:buClr>
              <a:buSzPct val="100000"/>
              <a:buFontTx/>
              <a:buChar char="•"/>
            </a:pPr>
            <a:endParaRPr lang="nl-NL" sz="1600" dirty="0">
              <a:latin typeface="Open Sans" panose="020B0606030504020204"/>
            </a:endParaRPr>
          </a:p>
          <a:p>
            <a:pPr marL="228600" lvl="1" indent="-228600">
              <a:lnSpc>
                <a:spcPct val="150000"/>
              </a:lnSpc>
              <a:buClr>
                <a:srgbClr val="000000"/>
              </a:buClr>
              <a:buSzPct val="100000"/>
              <a:buChar char="•"/>
            </a:pPr>
            <a:endParaRPr lang="nl-NL" sz="1600" dirty="0">
              <a:solidFill>
                <a:srgbClr val="000000"/>
              </a:solidFill>
              <a:latin typeface="Open Sans" panose="020B0606030504020204"/>
            </a:endParaRPr>
          </a:p>
        </p:txBody>
      </p:sp>
      <p:sp>
        <p:nvSpPr>
          <p:cNvPr id="9" name="Paragraaf titel hoog">
            <a:extLst>
              <a:ext uri="{FF2B5EF4-FFF2-40B4-BE49-F238E27FC236}">
                <a16:creationId xmlns:a16="http://schemas.microsoft.com/office/drawing/2014/main" id="{4FAB9BA9-540C-453B-9C26-729EBE5D9D47}"/>
              </a:ext>
            </a:extLst>
          </p:cNvPr>
          <p:cNvSpPr txBox="1"/>
          <p:nvPr>
            <p:custDataLst>
              <p:tags r:id="rId2"/>
            </p:custDataLst>
          </p:nvPr>
        </p:nvSpPr>
        <p:spPr>
          <a:xfrm>
            <a:off x="1080001" y="473386"/>
            <a:ext cx="9554131" cy="432001"/>
          </a:xfrm>
          <a:prstGeom prst="rect">
            <a:avLst/>
          </a:prstGeom>
          <a:noFill/>
        </p:spPr>
        <p:txBody>
          <a:bodyPr vert="horz" lIns="0" tIns="0" rIns="0" bIns="0" rtlCol="0" anchor="t">
            <a:noAutofit/>
          </a:bodyPr>
          <a:lstStyle/>
          <a:p>
            <a:pPr>
              <a:lnSpc>
                <a:spcPts val="3200"/>
              </a:lnSpc>
            </a:pPr>
            <a:r>
              <a:rPr lang="nl-NL" sz="3000" b="1" dirty="0">
                <a:solidFill>
                  <a:srgbClr val="62366E"/>
                </a:solidFill>
                <a:latin typeface="Open Sans"/>
              </a:rPr>
              <a:t>Resultaten passantenonderzoek </a:t>
            </a:r>
            <a:br>
              <a:rPr lang="nl-NL" sz="3000" b="1" dirty="0">
                <a:solidFill>
                  <a:srgbClr val="62366E"/>
                </a:solidFill>
                <a:latin typeface="Open Sans"/>
              </a:rPr>
            </a:br>
            <a:r>
              <a:rPr lang="nl-NL" sz="2400" b="1" dirty="0">
                <a:solidFill>
                  <a:schemeClr val="accent3"/>
                </a:solidFill>
                <a:latin typeface="Open Sans" panose="020B0606030504020204" pitchFamily="34" charset="0"/>
              </a:rPr>
              <a:t>Belangrijkste resultaten</a:t>
            </a:r>
          </a:p>
        </p:txBody>
      </p:sp>
      <p:sp>
        <p:nvSpPr>
          <p:cNvPr id="8" name="Paginanummer Seinpost">
            <a:extLst>
              <a:ext uri="{FF2B5EF4-FFF2-40B4-BE49-F238E27FC236}">
                <a16:creationId xmlns:a16="http://schemas.microsoft.com/office/drawing/2014/main" id="{0F76C650-9BA7-416B-A006-188B7548FA5B}"/>
              </a:ext>
            </a:extLst>
          </p:cNvPr>
          <p:cNvSpPr txBox="1">
            <a:spLocks/>
          </p:cNvSpPr>
          <p:nvPr>
            <p:custDataLst>
              <p:tags r:id="rId3"/>
            </p:custDataLst>
          </p:nvPr>
        </p:nvSpPr>
        <p:spPr>
          <a:xfrm>
            <a:off x="11628018" y="252000"/>
            <a:ext cx="381601" cy="244800"/>
          </a:xfrm>
          <a:prstGeom prst="rect">
            <a:avLst/>
          </a:prstGeom>
          <a:noFill/>
        </p:spPr>
        <p:txBody>
          <a:bodyPr vert="horz" lIns="0" tIns="0" rIns="0" bIns="0" rtlCol="0" anchor="t">
            <a:noAutofit/>
          </a:bodyPr>
          <a:lstStyle/>
          <a:p>
            <a:pPr algn="ctr"/>
            <a:r>
              <a:rPr lang="nl-NL" sz="1000" b="1">
                <a:solidFill>
                  <a:srgbClr val="62366E"/>
                </a:solidFill>
                <a:latin typeface="Open Sans" panose="020B0606030504020204" pitchFamily="34" charset="0"/>
              </a:rPr>
              <a:t>8</a:t>
            </a:r>
          </a:p>
        </p:txBody>
      </p:sp>
      <p:pic>
        <p:nvPicPr>
          <p:cNvPr id="11" name="Paginanummer Seinpost">
            <a:extLst>
              <a:ext uri="{FF2B5EF4-FFF2-40B4-BE49-F238E27FC236}">
                <a16:creationId xmlns:a16="http://schemas.microsoft.com/office/drawing/2014/main" id="{D3ED4793-DFDF-43EB-99DC-80359B0BEBAD}"/>
              </a:ext>
            </a:extLst>
          </p:cNvPr>
          <p:cNvPicPr>
            <a:picLocks noChangeAspect="1"/>
          </p:cNvPicPr>
          <p:nvPr>
            <p:custDataLst>
              <p:tags r:id="rId4"/>
            </p:custDataLst>
          </p:nvPr>
        </p:nvPicPr>
        <p:blipFill>
          <a:blip r:embed="rId7">
            <a:extLst>
              <a:ext uri="{28A0092B-C50C-407E-A947-70E740481C1C}">
                <a14:useLocalDpi xmlns:a14="http://schemas.microsoft.com/office/drawing/2010/main" val="0"/>
              </a:ext>
            </a:extLst>
          </a:blip>
          <a:stretch>
            <a:fillRect/>
          </a:stretch>
        </p:blipFill>
        <p:spPr>
          <a:xfrm>
            <a:off x="11674818" y="172800"/>
            <a:ext cx="298705" cy="289561"/>
          </a:xfrm>
          <a:prstGeom prst="rect">
            <a:avLst/>
          </a:prstGeom>
        </p:spPr>
      </p:pic>
      <p:sp>
        <p:nvSpPr>
          <p:cNvPr id="12" name="Paginanummer Seinpost">
            <a:extLst>
              <a:ext uri="{FF2B5EF4-FFF2-40B4-BE49-F238E27FC236}">
                <a16:creationId xmlns:a16="http://schemas.microsoft.com/office/drawing/2014/main" id="{808F81B2-CBD4-4E5A-9985-0B87FA8D9461}"/>
              </a:ext>
            </a:extLst>
          </p:cNvPr>
          <p:cNvSpPr txBox="1">
            <a:spLocks/>
          </p:cNvSpPr>
          <p:nvPr>
            <p:custDataLst>
              <p:tags r:id="rId5"/>
            </p:custDataLst>
          </p:nvPr>
        </p:nvSpPr>
        <p:spPr>
          <a:xfrm>
            <a:off x="11628018" y="252000"/>
            <a:ext cx="381601" cy="244800"/>
          </a:xfrm>
          <a:prstGeom prst="rect">
            <a:avLst/>
          </a:prstGeom>
          <a:noFill/>
        </p:spPr>
        <p:txBody>
          <a:bodyPr vert="horz" lIns="0" tIns="0" rIns="0" bIns="0" rtlCol="0" anchor="t">
            <a:noAutofit/>
          </a:bodyPr>
          <a:lstStyle/>
          <a:p>
            <a:pPr algn="ctr"/>
            <a:r>
              <a:rPr lang="nl-NL" sz="1000" b="1">
                <a:solidFill>
                  <a:srgbClr val="62366E"/>
                </a:solidFill>
                <a:latin typeface="Open Sans" panose="020B0606030504020204" pitchFamily="34" charset="0"/>
              </a:rPr>
              <a:t>7</a:t>
            </a:r>
          </a:p>
        </p:txBody>
      </p:sp>
    </p:spTree>
    <p:extLst>
      <p:ext uri="{BB962C8B-B14F-4D97-AF65-F5344CB8AC3E}">
        <p14:creationId xmlns:p14="http://schemas.microsoft.com/office/powerpoint/2010/main" val="12329460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
                                            <p:txEl>
                                              <p:pRg st="2" end="2"/>
                                            </p:txEl>
                                          </p:spTgt>
                                        </p:tgtEl>
                                        <p:attrNameLst>
                                          <p:attrName>style.visibility</p:attrName>
                                        </p:attrNameLst>
                                      </p:cBhvr>
                                      <p:to>
                                        <p:strVal val="visible"/>
                                      </p:to>
                                    </p:set>
                                    <p:animEffect transition="in" filter="fade">
                                      <p:cBhvr>
                                        <p:cTn id="7" dur="500"/>
                                        <p:tgtEl>
                                          <p:spTgt spid="4">
                                            <p:txEl>
                                              <p:pRg st="2" end="2"/>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4">
                                            <p:txEl>
                                              <p:pRg st="4" end="4"/>
                                            </p:txEl>
                                          </p:spTgt>
                                        </p:tgtEl>
                                        <p:attrNameLst>
                                          <p:attrName>style.visibility</p:attrName>
                                        </p:attrNameLst>
                                      </p:cBhvr>
                                      <p:to>
                                        <p:strVal val="visible"/>
                                      </p:to>
                                    </p:set>
                                    <p:animEffect transition="in" filter="fade">
                                      <p:cBhvr>
                                        <p:cTn id="12" dur="500"/>
                                        <p:tgtEl>
                                          <p:spTgt spid="4">
                                            <p:txEl>
                                              <p:pRg st="4" end="4"/>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4">
                                            <p:txEl>
                                              <p:pRg st="6" end="6"/>
                                            </p:txEl>
                                          </p:spTgt>
                                        </p:tgtEl>
                                        <p:attrNameLst>
                                          <p:attrName>style.visibility</p:attrName>
                                        </p:attrNameLst>
                                      </p:cBhvr>
                                      <p:to>
                                        <p:strVal val="visible"/>
                                      </p:to>
                                    </p:set>
                                    <p:animEffect transition="in" filter="fade">
                                      <p:cBhvr>
                                        <p:cTn id="17" dur="500"/>
                                        <p:tgtEl>
                                          <p:spTgt spid="4">
                                            <p:txEl>
                                              <p:pRg st="6" end="6"/>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4">
                                            <p:txEl>
                                              <p:pRg st="8" end="8"/>
                                            </p:txEl>
                                          </p:spTgt>
                                        </p:tgtEl>
                                        <p:attrNameLst>
                                          <p:attrName>style.visibility</p:attrName>
                                        </p:attrNameLst>
                                      </p:cBhvr>
                                      <p:to>
                                        <p:strVal val="visible"/>
                                      </p:to>
                                    </p:set>
                                    <p:animEffect transition="in" filter="fade">
                                      <p:cBhvr>
                                        <p:cTn id="22" dur="500"/>
                                        <p:tgtEl>
                                          <p:spTgt spid="4">
                                            <p:txEl>
                                              <p:pRg st="8" end="8"/>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4">
                                            <p:txEl>
                                              <p:pRg st="10" end="10"/>
                                            </p:txEl>
                                          </p:spTgt>
                                        </p:tgtEl>
                                        <p:attrNameLst>
                                          <p:attrName>style.visibility</p:attrName>
                                        </p:attrNameLst>
                                      </p:cBhvr>
                                      <p:to>
                                        <p:strVal val="visible"/>
                                      </p:to>
                                    </p:set>
                                    <p:animEffect transition="in" filter="fade">
                                      <p:cBhvr>
                                        <p:cTn id="27" dur="500"/>
                                        <p:tgtEl>
                                          <p:spTgt spid="4">
                                            <p:txEl>
                                              <p:pRg st="10" end="10"/>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4">
                                            <p:txEl>
                                              <p:pRg st="12" end="12"/>
                                            </p:txEl>
                                          </p:spTgt>
                                        </p:tgtEl>
                                        <p:attrNameLst>
                                          <p:attrName>style.visibility</p:attrName>
                                        </p:attrNameLst>
                                      </p:cBhvr>
                                      <p:to>
                                        <p:strVal val="visible"/>
                                      </p:to>
                                    </p:set>
                                    <p:animEffect transition="in" filter="fade">
                                      <p:cBhvr>
                                        <p:cTn id="32" dur="500"/>
                                        <p:tgtEl>
                                          <p:spTgt spid="4">
                                            <p:txEl>
                                              <p:pRg st="12" end="12"/>
                                            </p:txEl>
                                          </p:spTgt>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nodeType="clickEffect">
                                  <p:stCondLst>
                                    <p:cond delay="0"/>
                                  </p:stCondLst>
                                  <p:childTnLst>
                                    <p:set>
                                      <p:cBhvr>
                                        <p:cTn id="36" dur="1" fill="hold">
                                          <p:stCondLst>
                                            <p:cond delay="0"/>
                                          </p:stCondLst>
                                        </p:cTn>
                                        <p:tgtEl>
                                          <p:spTgt spid="4">
                                            <p:txEl>
                                              <p:pRg st="14" end="14"/>
                                            </p:txEl>
                                          </p:spTgt>
                                        </p:tgtEl>
                                        <p:attrNameLst>
                                          <p:attrName>style.visibility</p:attrName>
                                        </p:attrNameLst>
                                      </p:cBhvr>
                                      <p:to>
                                        <p:strVal val="visible"/>
                                      </p:to>
                                    </p:set>
                                    <p:animEffect transition="in" filter="fade">
                                      <p:cBhvr>
                                        <p:cTn id="37" dur="500"/>
                                        <p:tgtEl>
                                          <p:spTgt spid="4">
                                            <p:txEl>
                                              <p:pRg st="14" end="14"/>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Paragraaf titel hoog">
            <a:extLst>
              <a:ext uri="{FF2B5EF4-FFF2-40B4-BE49-F238E27FC236}">
                <a16:creationId xmlns:a16="http://schemas.microsoft.com/office/drawing/2014/main" id="{13DF5F15-D2E2-4E99-86B6-9D92A86057B4}"/>
              </a:ext>
            </a:extLst>
          </p:cNvPr>
          <p:cNvSpPr txBox="1"/>
          <p:nvPr>
            <p:custDataLst>
              <p:tags r:id="rId1"/>
            </p:custDataLst>
          </p:nvPr>
        </p:nvSpPr>
        <p:spPr>
          <a:xfrm>
            <a:off x="1080001" y="522001"/>
            <a:ext cx="9607049" cy="432001"/>
          </a:xfrm>
          <a:prstGeom prst="rect">
            <a:avLst/>
          </a:prstGeom>
          <a:noFill/>
        </p:spPr>
        <p:txBody>
          <a:bodyPr vert="horz" lIns="0" tIns="0" rIns="0" bIns="0" rtlCol="0" anchor="t">
            <a:noAutofit/>
          </a:bodyPr>
          <a:lstStyle/>
          <a:p>
            <a:pPr>
              <a:lnSpc>
                <a:spcPts val="3200"/>
              </a:lnSpc>
            </a:pPr>
            <a:r>
              <a:rPr lang="nl-NL" sz="3000" b="1" dirty="0">
                <a:solidFill>
                  <a:srgbClr val="62366E"/>
                </a:solidFill>
                <a:latin typeface="Open Sans" panose="020B0606030504020204" pitchFamily="34" charset="0"/>
              </a:rPr>
              <a:t>Resultaten ondernemersenquête </a:t>
            </a:r>
            <a:endParaRPr lang="nl-NL" sz="2000" b="1" dirty="0">
              <a:solidFill>
                <a:srgbClr val="62366E"/>
              </a:solidFill>
              <a:latin typeface="Open Sans" panose="020B0606030504020204" pitchFamily="34" charset="0"/>
            </a:endParaRPr>
          </a:p>
        </p:txBody>
      </p:sp>
      <p:sp>
        <p:nvSpPr>
          <p:cNvPr id="6" name="Rondje">
            <a:extLst>
              <a:ext uri="{FF2B5EF4-FFF2-40B4-BE49-F238E27FC236}">
                <a16:creationId xmlns:a16="http://schemas.microsoft.com/office/drawing/2014/main" id="{366D7365-B4B7-4898-9417-05E7F9F7174E}"/>
              </a:ext>
            </a:extLst>
          </p:cNvPr>
          <p:cNvSpPr>
            <a:spLocks noChangeAspect="1"/>
          </p:cNvSpPr>
          <p:nvPr>
            <p:custDataLst>
              <p:tags r:id="rId2"/>
            </p:custDataLst>
          </p:nvPr>
        </p:nvSpPr>
        <p:spPr>
          <a:xfrm>
            <a:off x="5483091" y="1413129"/>
            <a:ext cx="720000" cy="720000"/>
          </a:xfrm>
          <a:prstGeom prst="ellipse">
            <a:avLst/>
          </a:prstGeom>
          <a:solidFill>
            <a:schemeClr val="accent3">
              <a:lumMod val="75000"/>
            </a:scheme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nl-NL" sz="1600" b="1">
                <a:solidFill>
                  <a:srgbClr val="FFFFFF"/>
                </a:solidFill>
                <a:latin typeface="Open Sans" panose="020B0606030504020204" pitchFamily="34" charset="0"/>
              </a:rPr>
              <a:t>7,4</a:t>
            </a:r>
          </a:p>
        </p:txBody>
      </p:sp>
      <p:sp>
        <p:nvSpPr>
          <p:cNvPr id="7" name="Rondje">
            <a:extLst>
              <a:ext uri="{FF2B5EF4-FFF2-40B4-BE49-F238E27FC236}">
                <a16:creationId xmlns:a16="http://schemas.microsoft.com/office/drawing/2014/main" id="{A8208CF7-E358-4D95-B4AF-40D0799CCC99}"/>
              </a:ext>
            </a:extLst>
          </p:cNvPr>
          <p:cNvSpPr>
            <a:spLocks noChangeAspect="1"/>
          </p:cNvSpPr>
          <p:nvPr>
            <p:custDataLst>
              <p:tags r:id="rId3"/>
            </p:custDataLst>
          </p:nvPr>
        </p:nvSpPr>
        <p:spPr>
          <a:xfrm>
            <a:off x="5489361" y="2265682"/>
            <a:ext cx="720000" cy="720000"/>
          </a:xfrm>
          <a:prstGeom prst="ellipse">
            <a:avLst/>
          </a:prstGeom>
          <a:solidFill>
            <a:schemeClr val="accent3">
              <a:lumMod val="75000"/>
            </a:scheme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nl-NL" sz="1600" b="1">
                <a:solidFill>
                  <a:srgbClr val="FFFFFF"/>
                </a:solidFill>
                <a:latin typeface="Open Sans" panose="020B0606030504020204" pitchFamily="34" charset="0"/>
              </a:rPr>
              <a:t>7,9</a:t>
            </a:r>
          </a:p>
        </p:txBody>
      </p:sp>
      <p:sp>
        <p:nvSpPr>
          <p:cNvPr id="8" name="Rondje">
            <a:extLst>
              <a:ext uri="{FF2B5EF4-FFF2-40B4-BE49-F238E27FC236}">
                <a16:creationId xmlns:a16="http://schemas.microsoft.com/office/drawing/2014/main" id="{F2B865B3-C46E-4EF5-B6FE-E5D50C896EDA}"/>
              </a:ext>
            </a:extLst>
          </p:cNvPr>
          <p:cNvSpPr>
            <a:spLocks noChangeAspect="1"/>
          </p:cNvSpPr>
          <p:nvPr>
            <p:custDataLst>
              <p:tags r:id="rId4"/>
            </p:custDataLst>
          </p:nvPr>
        </p:nvSpPr>
        <p:spPr>
          <a:xfrm>
            <a:off x="5483091" y="3087173"/>
            <a:ext cx="720000" cy="720000"/>
          </a:xfrm>
          <a:prstGeom prst="ellipse">
            <a:avLst/>
          </a:prstGeom>
          <a:solidFill>
            <a:srgbClr val="FFC000"/>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nl-NL" sz="1600" b="1">
                <a:solidFill>
                  <a:srgbClr val="FFFFFF"/>
                </a:solidFill>
                <a:latin typeface="Open Sans" panose="020B0606030504020204" pitchFamily="34" charset="0"/>
              </a:rPr>
              <a:t>5,5</a:t>
            </a:r>
          </a:p>
        </p:txBody>
      </p:sp>
      <p:sp>
        <p:nvSpPr>
          <p:cNvPr id="17" name="Rondje">
            <a:extLst>
              <a:ext uri="{FF2B5EF4-FFF2-40B4-BE49-F238E27FC236}">
                <a16:creationId xmlns:a16="http://schemas.microsoft.com/office/drawing/2014/main" id="{200FA73A-A5A1-47F0-9C50-848F7C2A1D4B}"/>
              </a:ext>
            </a:extLst>
          </p:cNvPr>
          <p:cNvSpPr>
            <a:spLocks noChangeAspect="1"/>
          </p:cNvSpPr>
          <p:nvPr>
            <p:custDataLst>
              <p:tags r:id="rId5"/>
            </p:custDataLst>
          </p:nvPr>
        </p:nvSpPr>
        <p:spPr>
          <a:xfrm>
            <a:off x="5483091" y="4704113"/>
            <a:ext cx="720000" cy="720000"/>
          </a:xfrm>
          <a:prstGeom prst="ellipse">
            <a:avLst/>
          </a:prstGeom>
          <a:solidFill>
            <a:schemeClr val="accent6"/>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nl-NL" sz="1600" b="1">
                <a:solidFill>
                  <a:srgbClr val="FFFFFF"/>
                </a:solidFill>
                <a:latin typeface="Open Sans" panose="020B0606030504020204" pitchFamily="34" charset="0"/>
              </a:rPr>
              <a:t>5,1</a:t>
            </a:r>
          </a:p>
        </p:txBody>
      </p:sp>
      <p:sp>
        <p:nvSpPr>
          <p:cNvPr id="21" name="Rondje">
            <a:extLst>
              <a:ext uri="{FF2B5EF4-FFF2-40B4-BE49-F238E27FC236}">
                <a16:creationId xmlns:a16="http://schemas.microsoft.com/office/drawing/2014/main" id="{64DD5A49-B688-4B56-9BC7-74FD69A81F30}"/>
              </a:ext>
            </a:extLst>
          </p:cNvPr>
          <p:cNvSpPr>
            <a:spLocks noChangeAspect="1"/>
          </p:cNvSpPr>
          <p:nvPr>
            <p:custDataLst>
              <p:tags r:id="rId6"/>
            </p:custDataLst>
          </p:nvPr>
        </p:nvSpPr>
        <p:spPr>
          <a:xfrm>
            <a:off x="5483091" y="3895643"/>
            <a:ext cx="720000" cy="720000"/>
          </a:xfrm>
          <a:prstGeom prst="ellipse">
            <a:avLst/>
          </a:prstGeom>
          <a:solidFill>
            <a:schemeClr val="accent3">
              <a:lumMod val="75000"/>
            </a:scheme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nl-NL" sz="1600" b="1">
                <a:solidFill>
                  <a:srgbClr val="FFFFFF"/>
                </a:solidFill>
                <a:latin typeface="Open Sans" panose="020B0606030504020204" pitchFamily="34" charset="0"/>
              </a:rPr>
              <a:t>6,8</a:t>
            </a:r>
          </a:p>
        </p:txBody>
      </p:sp>
      <p:sp>
        <p:nvSpPr>
          <p:cNvPr id="23" name="Rondje">
            <a:extLst>
              <a:ext uri="{FF2B5EF4-FFF2-40B4-BE49-F238E27FC236}">
                <a16:creationId xmlns:a16="http://schemas.microsoft.com/office/drawing/2014/main" id="{84C6EF05-52E3-4AD9-A6BE-9397DE037596}"/>
              </a:ext>
            </a:extLst>
          </p:cNvPr>
          <p:cNvSpPr>
            <a:spLocks noChangeAspect="1"/>
          </p:cNvSpPr>
          <p:nvPr>
            <p:custDataLst>
              <p:tags r:id="rId7"/>
            </p:custDataLst>
          </p:nvPr>
        </p:nvSpPr>
        <p:spPr>
          <a:xfrm>
            <a:off x="1080001" y="5879055"/>
            <a:ext cx="720000" cy="720000"/>
          </a:xfrm>
          <a:prstGeom prst="ellipse">
            <a:avLst/>
          </a:prstGeom>
          <a:solidFill>
            <a:schemeClr val="accent2"/>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nl-NL" sz="1600" b="1">
                <a:solidFill>
                  <a:srgbClr val="FFFFFF"/>
                </a:solidFill>
                <a:latin typeface="Open Sans" panose="020B0606030504020204" pitchFamily="34" charset="0"/>
              </a:rPr>
              <a:t>85%</a:t>
            </a:r>
          </a:p>
        </p:txBody>
      </p:sp>
      <p:sp>
        <p:nvSpPr>
          <p:cNvPr id="32" name="Rondje">
            <a:extLst>
              <a:ext uri="{FF2B5EF4-FFF2-40B4-BE49-F238E27FC236}">
                <a16:creationId xmlns:a16="http://schemas.microsoft.com/office/drawing/2014/main" id="{E3261326-5995-49ED-9F25-955802EFA368}"/>
              </a:ext>
            </a:extLst>
          </p:cNvPr>
          <p:cNvSpPr>
            <a:spLocks noChangeAspect="1"/>
          </p:cNvSpPr>
          <p:nvPr>
            <p:custDataLst>
              <p:tags r:id="rId8"/>
            </p:custDataLst>
          </p:nvPr>
        </p:nvSpPr>
        <p:spPr>
          <a:xfrm>
            <a:off x="5266531" y="5879055"/>
            <a:ext cx="720000" cy="720000"/>
          </a:xfrm>
          <a:prstGeom prst="ellipse">
            <a:avLst/>
          </a:prstGeom>
          <a:solidFill>
            <a:schemeClr val="accent2"/>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nl-NL" sz="1600" b="1">
                <a:solidFill>
                  <a:srgbClr val="FFFFFF"/>
                </a:solidFill>
                <a:latin typeface="Open Sans" panose="020B0606030504020204" pitchFamily="34" charset="0"/>
              </a:rPr>
              <a:t>89%</a:t>
            </a:r>
          </a:p>
        </p:txBody>
      </p:sp>
      <p:sp>
        <p:nvSpPr>
          <p:cNvPr id="18" name="Tekstvak 17">
            <a:extLst>
              <a:ext uri="{FF2B5EF4-FFF2-40B4-BE49-F238E27FC236}">
                <a16:creationId xmlns:a16="http://schemas.microsoft.com/office/drawing/2014/main" id="{9A4D2EE7-1128-4000-87D6-5D83B3C7AE08}"/>
              </a:ext>
            </a:extLst>
          </p:cNvPr>
          <p:cNvSpPr txBox="1"/>
          <p:nvPr/>
        </p:nvSpPr>
        <p:spPr>
          <a:xfrm>
            <a:off x="1080000" y="4717986"/>
            <a:ext cx="4297761" cy="584775"/>
          </a:xfrm>
          <a:prstGeom prst="rect">
            <a:avLst/>
          </a:prstGeom>
          <a:noFill/>
        </p:spPr>
        <p:txBody>
          <a:bodyPr wrap="square" rtlCol="0">
            <a:spAutoFit/>
          </a:bodyPr>
          <a:lstStyle/>
          <a:p>
            <a:pPr algn="l" fontAlgn="b"/>
            <a:r>
              <a:rPr lang="nl-NL" sz="1600" b="0" i="0" u="none" strike="noStrike">
                <a:solidFill>
                  <a:srgbClr val="000000"/>
                </a:solidFill>
                <a:effectLst/>
                <a:latin typeface="+mj-lt"/>
              </a:rPr>
              <a:t>Aanwezigheid bijzondere/ vernieuwende winkelconcepten</a:t>
            </a:r>
          </a:p>
        </p:txBody>
      </p:sp>
      <p:sp>
        <p:nvSpPr>
          <p:cNvPr id="22" name="Tekstvak 21">
            <a:extLst>
              <a:ext uri="{FF2B5EF4-FFF2-40B4-BE49-F238E27FC236}">
                <a16:creationId xmlns:a16="http://schemas.microsoft.com/office/drawing/2014/main" id="{38E3808F-BEBF-4817-AF1B-C506F22EF2ED}"/>
              </a:ext>
            </a:extLst>
          </p:cNvPr>
          <p:cNvSpPr txBox="1"/>
          <p:nvPr/>
        </p:nvSpPr>
        <p:spPr>
          <a:xfrm>
            <a:off x="1080000" y="4049285"/>
            <a:ext cx="4295409" cy="338554"/>
          </a:xfrm>
          <a:prstGeom prst="rect">
            <a:avLst/>
          </a:prstGeom>
          <a:noFill/>
        </p:spPr>
        <p:txBody>
          <a:bodyPr wrap="square" rtlCol="0">
            <a:spAutoFit/>
          </a:bodyPr>
          <a:lstStyle/>
          <a:p>
            <a:r>
              <a:rPr lang="nl-NL" sz="1600">
                <a:solidFill>
                  <a:srgbClr val="000000"/>
                </a:solidFill>
                <a:latin typeface="+mj-lt"/>
              </a:rPr>
              <a:t>Hoeveel, kwaliteit horeca en terrassen</a:t>
            </a:r>
            <a:endParaRPr lang="nl-NL" sz="1600"/>
          </a:p>
        </p:txBody>
      </p:sp>
      <p:sp>
        <p:nvSpPr>
          <p:cNvPr id="33" name="Tekstvak 32">
            <a:extLst>
              <a:ext uri="{FF2B5EF4-FFF2-40B4-BE49-F238E27FC236}">
                <a16:creationId xmlns:a16="http://schemas.microsoft.com/office/drawing/2014/main" id="{EC01B826-8AB9-4A2E-9150-18BD3BBD6DCC}"/>
              </a:ext>
            </a:extLst>
          </p:cNvPr>
          <p:cNvSpPr txBox="1"/>
          <p:nvPr/>
        </p:nvSpPr>
        <p:spPr>
          <a:xfrm>
            <a:off x="1800001" y="5865710"/>
            <a:ext cx="3445368" cy="830997"/>
          </a:xfrm>
          <a:prstGeom prst="rect">
            <a:avLst/>
          </a:prstGeom>
          <a:noFill/>
        </p:spPr>
        <p:txBody>
          <a:bodyPr wrap="square" rtlCol="0">
            <a:spAutoFit/>
          </a:bodyPr>
          <a:lstStyle/>
          <a:p>
            <a:r>
              <a:rPr lang="nl-NL" sz="1600">
                <a:solidFill>
                  <a:srgbClr val="000000"/>
                </a:solidFill>
                <a:latin typeface="+mj-lt"/>
              </a:rPr>
              <a:t>van de ondernemers vindt  </a:t>
            </a:r>
            <a:r>
              <a:rPr lang="nl-NL" sz="1600" b="0" i="0" u="none" strike="noStrike" kern="1200">
                <a:solidFill>
                  <a:srgbClr val="000000"/>
                </a:solidFill>
                <a:effectLst/>
                <a:latin typeface="+mj-lt"/>
              </a:rPr>
              <a:t>de Hamershof een </a:t>
            </a:r>
            <a:r>
              <a:rPr lang="nl-NL" sz="1600" b="1" i="0" u="none" strike="noStrike" kern="1200">
                <a:solidFill>
                  <a:srgbClr val="000000"/>
                </a:solidFill>
                <a:effectLst/>
                <a:latin typeface="+mj-lt"/>
              </a:rPr>
              <a:t>introvert winkelgebied</a:t>
            </a:r>
            <a:r>
              <a:rPr lang="nl-NL" sz="1600">
                <a:solidFill>
                  <a:srgbClr val="000000"/>
                </a:solidFill>
                <a:latin typeface="+mj-lt"/>
              </a:rPr>
              <a:t> </a:t>
            </a:r>
            <a:endParaRPr lang="nl-NL" sz="1600"/>
          </a:p>
        </p:txBody>
      </p:sp>
      <p:sp>
        <p:nvSpPr>
          <p:cNvPr id="34" name="Tekstvak 33">
            <a:extLst>
              <a:ext uri="{FF2B5EF4-FFF2-40B4-BE49-F238E27FC236}">
                <a16:creationId xmlns:a16="http://schemas.microsoft.com/office/drawing/2014/main" id="{BB7F829D-F608-4852-B585-C52E5BA0B3AA}"/>
              </a:ext>
            </a:extLst>
          </p:cNvPr>
          <p:cNvSpPr txBox="1"/>
          <p:nvPr/>
        </p:nvSpPr>
        <p:spPr>
          <a:xfrm>
            <a:off x="5993499" y="5822405"/>
            <a:ext cx="3253871" cy="830997"/>
          </a:xfrm>
          <a:prstGeom prst="rect">
            <a:avLst/>
          </a:prstGeom>
          <a:noFill/>
        </p:spPr>
        <p:txBody>
          <a:bodyPr wrap="square" rtlCol="0">
            <a:spAutoFit/>
          </a:bodyPr>
          <a:lstStyle/>
          <a:p>
            <a:r>
              <a:rPr lang="nl-NL" sz="1600">
                <a:solidFill>
                  <a:srgbClr val="000000"/>
                </a:solidFill>
                <a:latin typeface="+mj-lt"/>
              </a:rPr>
              <a:t>van de ondernemers zou nogmaals voor de Hamershof kiezen!!</a:t>
            </a:r>
            <a:endParaRPr lang="nl-NL" sz="1600"/>
          </a:p>
        </p:txBody>
      </p:sp>
      <p:graphicFrame>
        <p:nvGraphicFramePr>
          <p:cNvPr id="35" name="Grafiek 34">
            <a:extLst>
              <a:ext uri="{FF2B5EF4-FFF2-40B4-BE49-F238E27FC236}">
                <a16:creationId xmlns:a16="http://schemas.microsoft.com/office/drawing/2014/main" id="{C1CE9E30-AA3D-41E5-B775-0CEEADFB8C46}"/>
              </a:ext>
            </a:extLst>
          </p:cNvPr>
          <p:cNvGraphicFramePr>
            <a:graphicFrameLocks/>
          </p:cNvGraphicFramePr>
          <p:nvPr>
            <p:extLst>
              <p:ext uri="{D42A27DB-BD31-4B8C-83A1-F6EECF244321}">
                <p14:modId xmlns:p14="http://schemas.microsoft.com/office/powerpoint/2010/main" val="4150709100"/>
              </p:ext>
            </p:extLst>
          </p:nvPr>
        </p:nvGraphicFramePr>
        <p:xfrm>
          <a:off x="7096263" y="1356135"/>
          <a:ext cx="4877260" cy="4061882"/>
        </p:xfrm>
        <a:graphic>
          <a:graphicData uri="http://schemas.openxmlformats.org/drawingml/2006/chart">
            <c:chart xmlns:c="http://schemas.openxmlformats.org/drawingml/2006/chart" xmlns:r="http://schemas.openxmlformats.org/officeDocument/2006/relationships" r:id="rId14"/>
          </a:graphicData>
        </a:graphic>
      </p:graphicFrame>
      <p:sp>
        <p:nvSpPr>
          <p:cNvPr id="9" name="Tekstvak 8">
            <a:extLst>
              <a:ext uri="{FF2B5EF4-FFF2-40B4-BE49-F238E27FC236}">
                <a16:creationId xmlns:a16="http://schemas.microsoft.com/office/drawing/2014/main" id="{8F096D12-D367-4F64-9B7E-62A8887FFE46}"/>
              </a:ext>
            </a:extLst>
          </p:cNvPr>
          <p:cNvSpPr txBox="1"/>
          <p:nvPr/>
        </p:nvSpPr>
        <p:spPr>
          <a:xfrm>
            <a:off x="1080000" y="1536726"/>
            <a:ext cx="4325654" cy="338554"/>
          </a:xfrm>
          <a:prstGeom prst="rect">
            <a:avLst/>
          </a:prstGeom>
          <a:noFill/>
        </p:spPr>
        <p:txBody>
          <a:bodyPr wrap="square" rtlCol="0">
            <a:spAutoFit/>
          </a:bodyPr>
          <a:lstStyle/>
          <a:p>
            <a:r>
              <a:rPr lang="nl-NL" sz="1600" dirty="0">
                <a:solidFill>
                  <a:srgbClr val="000000"/>
                </a:solidFill>
                <a:latin typeface="+mj-lt"/>
              </a:rPr>
              <a:t>Algemeen oordeel Hamershof</a:t>
            </a:r>
            <a:endParaRPr lang="nl-NL" sz="1600" dirty="0"/>
          </a:p>
        </p:txBody>
      </p:sp>
      <p:sp>
        <p:nvSpPr>
          <p:cNvPr id="10" name="Tekstvak 9">
            <a:extLst>
              <a:ext uri="{FF2B5EF4-FFF2-40B4-BE49-F238E27FC236}">
                <a16:creationId xmlns:a16="http://schemas.microsoft.com/office/drawing/2014/main" id="{427882C4-ECA2-46AA-85AD-CB8E6BFB374C}"/>
              </a:ext>
            </a:extLst>
          </p:cNvPr>
          <p:cNvSpPr txBox="1"/>
          <p:nvPr/>
        </p:nvSpPr>
        <p:spPr>
          <a:xfrm>
            <a:off x="1080000" y="2265682"/>
            <a:ext cx="3709924" cy="584775"/>
          </a:xfrm>
          <a:prstGeom prst="rect">
            <a:avLst/>
          </a:prstGeom>
          <a:noFill/>
        </p:spPr>
        <p:txBody>
          <a:bodyPr wrap="square" rtlCol="0">
            <a:spAutoFit/>
          </a:bodyPr>
          <a:lstStyle/>
          <a:p>
            <a:r>
              <a:rPr lang="nl-NL" sz="1600">
                <a:solidFill>
                  <a:srgbClr val="000000"/>
                </a:solidFill>
                <a:latin typeface="+mj-lt"/>
              </a:rPr>
              <a:t>Hoeveel, kwaliteit en locatie dagelijkse winkels</a:t>
            </a:r>
            <a:endParaRPr lang="nl-NL" sz="1600"/>
          </a:p>
        </p:txBody>
      </p:sp>
      <p:sp>
        <p:nvSpPr>
          <p:cNvPr id="11" name="Tekstvak 10">
            <a:extLst>
              <a:ext uri="{FF2B5EF4-FFF2-40B4-BE49-F238E27FC236}">
                <a16:creationId xmlns:a16="http://schemas.microsoft.com/office/drawing/2014/main" id="{525D2E38-DB1D-4893-B975-C217F3099DAA}"/>
              </a:ext>
            </a:extLst>
          </p:cNvPr>
          <p:cNvSpPr txBox="1"/>
          <p:nvPr/>
        </p:nvSpPr>
        <p:spPr>
          <a:xfrm>
            <a:off x="1080000" y="3134363"/>
            <a:ext cx="3709924" cy="584775"/>
          </a:xfrm>
          <a:prstGeom prst="rect">
            <a:avLst/>
          </a:prstGeom>
          <a:noFill/>
        </p:spPr>
        <p:txBody>
          <a:bodyPr wrap="square" rtlCol="0">
            <a:spAutoFit/>
          </a:bodyPr>
          <a:lstStyle/>
          <a:p>
            <a:r>
              <a:rPr lang="nl-NL" sz="1600" dirty="0">
                <a:solidFill>
                  <a:srgbClr val="000000"/>
                </a:solidFill>
                <a:latin typeface="+mj-lt"/>
              </a:rPr>
              <a:t>Hoeveel, kwaliteit en locatie non-foodwinkels</a:t>
            </a:r>
            <a:endParaRPr lang="nl-NL" sz="1600" dirty="0"/>
          </a:p>
        </p:txBody>
      </p:sp>
      <p:sp>
        <p:nvSpPr>
          <p:cNvPr id="14" name="Paginanummer Seinpost">
            <a:extLst>
              <a:ext uri="{FF2B5EF4-FFF2-40B4-BE49-F238E27FC236}">
                <a16:creationId xmlns:a16="http://schemas.microsoft.com/office/drawing/2014/main" id="{A80A99D5-AAC3-407B-A108-C5BF6D99C4FC}"/>
              </a:ext>
            </a:extLst>
          </p:cNvPr>
          <p:cNvSpPr txBox="1">
            <a:spLocks/>
          </p:cNvSpPr>
          <p:nvPr>
            <p:custDataLst>
              <p:tags r:id="rId9"/>
            </p:custDataLst>
          </p:nvPr>
        </p:nvSpPr>
        <p:spPr>
          <a:xfrm>
            <a:off x="11628018" y="252000"/>
            <a:ext cx="381601" cy="244800"/>
          </a:xfrm>
          <a:prstGeom prst="rect">
            <a:avLst/>
          </a:prstGeom>
          <a:noFill/>
        </p:spPr>
        <p:txBody>
          <a:bodyPr vert="horz" lIns="0" tIns="0" rIns="0" bIns="0" rtlCol="0" anchor="t">
            <a:noAutofit/>
          </a:bodyPr>
          <a:lstStyle/>
          <a:p>
            <a:pPr algn="ctr"/>
            <a:r>
              <a:rPr lang="nl-NL" sz="1000" b="1">
                <a:solidFill>
                  <a:srgbClr val="62366E"/>
                </a:solidFill>
                <a:latin typeface="Open Sans" panose="020B0606030504020204" pitchFamily="34" charset="0"/>
              </a:rPr>
              <a:t>9</a:t>
            </a:r>
          </a:p>
        </p:txBody>
      </p:sp>
      <p:pic>
        <p:nvPicPr>
          <p:cNvPr id="16" name="Paginanummer Seinpost">
            <a:extLst>
              <a:ext uri="{FF2B5EF4-FFF2-40B4-BE49-F238E27FC236}">
                <a16:creationId xmlns:a16="http://schemas.microsoft.com/office/drawing/2014/main" id="{E5F2D23D-F621-46B1-9DE1-2C997A816963}"/>
              </a:ext>
            </a:extLst>
          </p:cNvPr>
          <p:cNvPicPr>
            <a:picLocks noChangeAspect="1"/>
          </p:cNvPicPr>
          <p:nvPr>
            <p:custDataLst>
              <p:tags r:id="rId10"/>
            </p:custDataLst>
          </p:nvPr>
        </p:nvPicPr>
        <p:blipFill>
          <a:blip r:embed="rId15">
            <a:extLst>
              <a:ext uri="{28A0092B-C50C-407E-A947-70E740481C1C}">
                <a14:useLocalDpi xmlns:a14="http://schemas.microsoft.com/office/drawing/2010/main" val="0"/>
              </a:ext>
            </a:extLst>
          </a:blip>
          <a:stretch>
            <a:fillRect/>
          </a:stretch>
        </p:blipFill>
        <p:spPr>
          <a:xfrm>
            <a:off x="11674818" y="172800"/>
            <a:ext cx="298705" cy="289561"/>
          </a:xfrm>
          <a:prstGeom prst="rect">
            <a:avLst/>
          </a:prstGeom>
        </p:spPr>
      </p:pic>
      <p:sp>
        <p:nvSpPr>
          <p:cNvPr id="19" name="Paginanummer Seinpost">
            <a:extLst>
              <a:ext uri="{FF2B5EF4-FFF2-40B4-BE49-F238E27FC236}">
                <a16:creationId xmlns:a16="http://schemas.microsoft.com/office/drawing/2014/main" id="{8F38236B-C0A5-488E-8FBC-EC367E58665D}"/>
              </a:ext>
            </a:extLst>
          </p:cNvPr>
          <p:cNvSpPr txBox="1">
            <a:spLocks/>
          </p:cNvSpPr>
          <p:nvPr>
            <p:custDataLst>
              <p:tags r:id="rId11"/>
            </p:custDataLst>
          </p:nvPr>
        </p:nvSpPr>
        <p:spPr>
          <a:xfrm>
            <a:off x="11628018" y="252000"/>
            <a:ext cx="381601" cy="244800"/>
          </a:xfrm>
          <a:prstGeom prst="rect">
            <a:avLst/>
          </a:prstGeom>
          <a:noFill/>
        </p:spPr>
        <p:txBody>
          <a:bodyPr vert="horz" lIns="0" tIns="0" rIns="0" bIns="0" rtlCol="0" anchor="t">
            <a:noAutofit/>
          </a:bodyPr>
          <a:lstStyle/>
          <a:p>
            <a:pPr algn="ctr"/>
            <a:r>
              <a:rPr lang="nl-NL" sz="1000" b="1">
                <a:solidFill>
                  <a:srgbClr val="62366E"/>
                </a:solidFill>
                <a:latin typeface="Open Sans" panose="020B0606030504020204" pitchFamily="34" charset="0"/>
              </a:rPr>
              <a:t>8</a:t>
            </a:r>
          </a:p>
        </p:txBody>
      </p:sp>
    </p:spTree>
    <p:extLst>
      <p:ext uri="{BB962C8B-B14F-4D97-AF65-F5344CB8AC3E}">
        <p14:creationId xmlns:p14="http://schemas.microsoft.com/office/powerpoint/2010/main" val="88424461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7"/>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8"/>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7"/>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21"/>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18"/>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22"/>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9"/>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10"/>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11"/>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grpId="0" nodeType="clickEffect">
                                  <p:stCondLst>
                                    <p:cond delay="0"/>
                                  </p:stCondLst>
                                  <p:childTnLst>
                                    <p:set>
                                      <p:cBhvr>
                                        <p:cTn id="28" dur="1" fill="hold">
                                          <p:stCondLst>
                                            <p:cond delay="0"/>
                                          </p:stCondLst>
                                        </p:cTn>
                                        <p:tgtEl>
                                          <p:spTgt spid="35"/>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grpId="0" nodeType="clickEffect">
                                  <p:stCondLst>
                                    <p:cond delay="0"/>
                                  </p:stCondLst>
                                  <p:childTnLst>
                                    <p:set>
                                      <p:cBhvr>
                                        <p:cTn id="32" dur="1" fill="hold">
                                          <p:stCondLst>
                                            <p:cond delay="0"/>
                                          </p:stCondLst>
                                        </p:cTn>
                                        <p:tgtEl>
                                          <p:spTgt spid="23"/>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32"/>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33"/>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3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7" grpId="0" animBg="1"/>
      <p:bldP spid="8" grpId="0" animBg="1"/>
      <p:bldP spid="17" grpId="0" animBg="1"/>
      <p:bldP spid="21" grpId="0" animBg="1"/>
      <p:bldP spid="23" grpId="0" animBg="1"/>
      <p:bldP spid="32" grpId="0" animBg="1"/>
      <p:bldP spid="18" grpId="0"/>
      <p:bldP spid="22" grpId="0"/>
      <p:bldP spid="33" grpId="0"/>
      <p:bldP spid="34" grpId="0"/>
      <p:bldGraphic spid="35" grpId="0">
        <p:bldAsOne/>
      </p:bldGraphic>
      <p:bldP spid="9" grpId="0"/>
      <p:bldP spid="10" grpId="0"/>
      <p:bldP spid="11"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5" name="Grote afbeelding">
            <a:extLst>
              <a:ext uri="{FF2B5EF4-FFF2-40B4-BE49-F238E27FC236}">
                <a16:creationId xmlns:a16="http://schemas.microsoft.com/office/drawing/2014/main" id="{5E59920C-E03D-43DE-82F9-2302836F63D3}"/>
              </a:ext>
            </a:extLst>
          </p:cNvPr>
          <p:cNvPicPr>
            <a:picLocks noChangeAspect="1"/>
          </p:cNvPicPr>
          <p:nvPr>
            <p:custDataLst>
              <p:tags r:id="rId1"/>
            </p:custDataLst>
          </p:nvPr>
        </p:nvPicPr>
        <p:blipFill rotWithShape="1">
          <a:blip r:embed="rId6">
            <a:extLst>
              <a:ext uri="{28A0092B-C50C-407E-A947-70E740481C1C}">
                <a14:useLocalDpi xmlns:a14="http://schemas.microsoft.com/office/drawing/2010/main" val="0"/>
              </a:ext>
            </a:extLst>
          </a:blip>
          <a:srcRect l="11168" t="10586" r="8294" b="6256"/>
          <a:stretch/>
        </p:blipFill>
        <p:spPr>
          <a:xfrm>
            <a:off x="1316678" y="765425"/>
            <a:ext cx="9448345" cy="5936205"/>
          </a:xfrm>
          <a:prstGeom prst="rect">
            <a:avLst/>
          </a:prstGeom>
        </p:spPr>
      </p:pic>
      <p:sp>
        <p:nvSpPr>
          <p:cNvPr id="33" name="Rechthoek 32">
            <a:extLst>
              <a:ext uri="{FF2B5EF4-FFF2-40B4-BE49-F238E27FC236}">
                <a16:creationId xmlns:a16="http://schemas.microsoft.com/office/drawing/2014/main" id="{C41E5EA6-2F17-4F46-8B2D-EE49884CC80F}"/>
              </a:ext>
            </a:extLst>
          </p:cNvPr>
          <p:cNvSpPr/>
          <p:nvPr/>
        </p:nvSpPr>
        <p:spPr>
          <a:xfrm>
            <a:off x="1662902" y="3050183"/>
            <a:ext cx="202250" cy="88297"/>
          </a:xfrm>
          <a:prstGeom prst="rect">
            <a:avLst/>
          </a:prstGeom>
          <a:solidFill>
            <a:srgbClr val="F9B19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000"/>
          </a:p>
        </p:txBody>
      </p:sp>
      <p:sp>
        <p:nvSpPr>
          <p:cNvPr id="36" name="Rechthoek 35">
            <a:extLst>
              <a:ext uri="{FF2B5EF4-FFF2-40B4-BE49-F238E27FC236}">
                <a16:creationId xmlns:a16="http://schemas.microsoft.com/office/drawing/2014/main" id="{A1AB9886-7AFC-4F40-98AD-1EF861DCB903}"/>
              </a:ext>
            </a:extLst>
          </p:cNvPr>
          <p:cNvSpPr/>
          <p:nvPr/>
        </p:nvSpPr>
        <p:spPr>
          <a:xfrm>
            <a:off x="2374816" y="3314758"/>
            <a:ext cx="70387" cy="121769"/>
          </a:xfrm>
          <a:prstGeom prst="rect">
            <a:avLst/>
          </a:prstGeom>
          <a:solidFill>
            <a:srgbClr val="F9B19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000"/>
          </a:p>
        </p:txBody>
      </p:sp>
      <p:sp>
        <p:nvSpPr>
          <p:cNvPr id="37" name="Rechthoek 36">
            <a:extLst>
              <a:ext uri="{FF2B5EF4-FFF2-40B4-BE49-F238E27FC236}">
                <a16:creationId xmlns:a16="http://schemas.microsoft.com/office/drawing/2014/main" id="{04483010-C8DF-4AE7-8D1E-1BF202434681}"/>
              </a:ext>
            </a:extLst>
          </p:cNvPr>
          <p:cNvSpPr/>
          <p:nvPr/>
        </p:nvSpPr>
        <p:spPr>
          <a:xfrm>
            <a:off x="2674597" y="3299110"/>
            <a:ext cx="88624" cy="95147"/>
          </a:xfrm>
          <a:prstGeom prst="rect">
            <a:avLst/>
          </a:prstGeom>
          <a:solidFill>
            <a:srgbClr val="F9B19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000"/>
          </a:p>
        </p:txBody>
      </p:sp>
      <p:sp>
        <p:nvSpPr>
          <p:cNvPr id="38" name="Rechthoek 37">
            <a:extLst>
              <a:ext uri="{FF2B5EF4-FFF2-40B4-BE49-F238E27FC236}">
                <a16:creationId xmlns:a16="http://schemas.microsoft.com/office/drawing/2014/main" id="{03C78294-CCA9-48AC-855F-B2586D076509}"/>
              </a:ext>
            </a:extLst>
          </p:cNvPr>
          <p:cNvSpPr/>
          <p:nvPr/>
        </p:nvSpPr>
        <p:spPr>
          <a:xfrm>
            <a:off x="1719715" y="3952016"/>
            <a:ext cx="145437" cy="110225"/>
          </a:xfrm>
          <a:prstGeom prst="rect">
            <a:avLst/>
          </a:prstGeom>
          <a:solidFill>
            <a:srgbClr val="0385C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000"/>
          </a:p>
        </p:txBody>
      </p:sp>
      <p:sp>
        <p:nvSpPr>
          <p:cNvPr id="39" name="Rechthoek 38">
            <a:extLst>
              <a:ext uri="{FF2B5EF4-FFF2-40B4-BE49-F238E27FC236}">
                <a16:creationId xmlns:a16="http://schemas.microsoft.com/office/drawing/2014/main" id="{F65CE90B-60ED-4FCB-9C4C-DDAD94C42AFB}"/>
              </a:ext>
            </a:extLst>
          </p:cNvPr>
          <p:cNvSpPr/>
          <p:nvPr/>
        </p:nvSpPr>
        <p:spPr>
          <a:xfrm>
            <a:off x="2001068" y="3953627"/>
            <a:ext cx="145437" cy="110225"/>
          </a:xfrm>
          <a:prstGeom prst="rect">
            <a:avLst/>
          </a:prstGeom>
          <a:solidFill>
            <a:srgbClr val="0385C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000"/>
          </a:p>
        </p:txBody>
      </p:sp>
      <p:sp>
        <p:nvSpPr>
          <p:cNvPr id="40" name="Rechthoek 39">
            <a:extLst>
              <a:ext uri="{FF2B5EF4-FFF2-40B4-BE49-F238E27FC236}">
                <a16:creationId xmlns:a16="http://schemas.microsoft.com/office/drawing/2014/main" id="{C8824496-A413-4F9D-840B-AC8D34B5142E}"/>
              </a:ext>
            </a:extLst>
          </p:cNvPr>
          <p:cNvSpPr/>
          <p:nvPr/>
        </p:nvSpPr>
        <p:spPr>
          <a:xfrm>
            <a:off x="2264572" y="4401061"/>
            <a:ext cx="145437" cy="110225"/>
          </a:xfrm>
          <a:prstGeom prst="rect">
            <a:avLst/>
          </a:prstGeom>
          <a:solidFill>
            <a:srgbClr val="0385C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000"/>
          </a:p>
        </p:txBody>
      </p:sp>
      <p:sp>
        <p:nvSpPr>
          <p:cNvPr id="41" name="Rechthoek 40">
            <a:extLst>
              <a:ext uri="{FF2B5EF4-FFF2-40B4-BE49-F238E27FC236}">
                <a16:creationId xmlns:a16="http://schemas.microsoft.com/office/drawing/2014/main" id="{5079217E-13A7-44AF-A2FB-F55F5E68E543}"/>
              </a:ext>
            </a:extLst>
          </p:cNvPr>
          <p:cNvSpPr/>
          <p:nvPr/>
        </p:nvSpPr>
        <p:spPr>
          <a:xfrm>
            <a:off x="2356962" y="3952016"/>
            <a:ext cx="145437" cy="110225"/>
          </a:xfrm>
          <a:prstGeom prst="rect">
            <a:avLst/>
          </a:prstGeom>
          <a:solidFill>
            <a:srgbClr val="0385C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000"/>
          </a:p>
        </p:txBody>
      </p:sp>
      <p:sp>
        <p:nvSpPr>
          <p:cNvPr id="42" name="Rechthoek 41">
            <a:extLst>
              <a:ext uri="{FF2B5EF4-FFF2-40B4-BE49-F238E27FC236}">
                <a16:creationId xmlns:a16="http://schemas.microsoft.com/office/drawing/2014/main" id="{B7B4D66C-CD73-41BE-A951-48BF2138FDA9}"/>
              </a:ext>
            </a:extLst>
          </p:cNvPr>
          <p:cNvSpPr/>
          <p:nvPr/>
        </p:nvSpPr>
        <p:spPr>
          <a:xfrm>
            <a:off x="3616673" y="4775465"/>
            <a:ext cx="145437" cy="110225"/>
          </a:xfrm>
          <a:prstGeom prst="rect">
            <a:avLst/>
          </a:prstGeom>
          <a:solidFill>
            <a:srgbClr val="FDCBA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000"/>
          </a:p>
        </p:txBody>
      </p:sp>
      <p:sp>
        <p:nvSpPr>
          <p:cNvPr id="43" name="Rechthoek 42">
            <a:extLst>
              <a:ext uri="{FF2B5EF4-FFF2-40B4-BE49-F238E27FC236}">
                <a16:creationId xmlns:a16="http://schemas.microsoft.com/office/drawing/2014/main" id="{FF0E72FC-21B5-4225-9444-1771016EBC61}"/>
              </a:ext>
            </a:extLst>
          </p:cNvPr>
          <p:cNvSpPr/>
          <p:nvPr/>
        </p:nvSpPr>
        <p:spPr>
          <a:xfrm>
            <a:off x="3616673" y="4607640"/>
            <a:ext cx="145437" cy="110225"/>
          </a:xfrm>
          <a:prstGeom prst="rect">
            <a:avLst/>
          </a:prstGeom>
          <a:solidFill>
            <a:srgbClr val="FDCBA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000"/>
          </a:p>
        </p:txBody>
      </p:sp>
      <p:sp>
        <p:nvSpPr>
          <p:cNvPr id="44" name="Rechthoek 43">
            <a:extLst>
              <a:ext uri="{FF2B5EF4-FFF2-40B4-BE49-F238E27FC236}">
                <a16:creationId xmlns:a16="http://schemas.microsoft.com/office/drawing/2014/main" id="{E525EA95-4DA7-4140-9A25-470ADFE9AEEC}"/>
              </a:ext>
            </a:extLst>
          </p:cNvPr>
          <p:cNvSpPr/>
          <p:nvPr/>
        </p:nvSpPr>
        <p:spPr>
          <a:xfrm>
            <a:off x="3644381" y="4480656"/>
            <a:ext cx="145437" cy="110225"/>
          </a:xfrm>
          <a:prstGeom prst="rect">
            <a:avLst/>
          </a:prstGeom>
          <a:solidFill>
            <a:srgbClr val="FDCBA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000"/>
          </a:p>
        </p:txBody>
      </p:sp>
      <p:sp>
        <p:nvSpPr>
          <p:cNvPr id="45" name="Rechthoek 44">
            <a:extLst>
              <a:ext uri="{FF2B5EF4-FFF2-40B4-BE49-F238E27FC236}">
                <a16:creationId xmlns:a16="http://schemas.microsoft.com/office/drawing/2014/main" id="{B266FD1D-F297-46F2-A8AB-11D65BBD2FC3}"/>
              </a:ext>
            </a:extLst>
          </p:cNvPr>
          <p:cNvSpPr/>
          <p:nvPr/>
        </p:nvSpPr>
        <p:spPr>
          <a:xfrm>
            <a:off x="3609351" y="4324427"/>
            <a:ext cx="145437" cy="110225"/>
          </a:xfrm>
          <a:prstGeom prst="rect">
            <a:avLst/>
          </a:prstGeom>
          <a:solidFill>
            <a:srgbClr val="FDCBA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000"/>
          </a:p>
        </p:txBody>
      </p:sp>
      <p:sp>
        <p:nvSpPr>
          <p:cNvPr id="46" name="Rechthoek 45">
            <a:extLst>
              <a:ext uri="{FF2B5EF4-FFF2-40B4-BE49-F238E27FC236}">
                <a16:creationId xmlns:a16="http://schemas.microsoft.com/office/drawing/2014/main" id="{842D006D-C613-4D0A-B2A2-74E924E35CAA}"/>
              </a:ext>
            </a:extLst>
          </p:cNvPr>
          <p:cNvSpPr/>
          <p:nvPr/>
        </p:nvSpPr>
        <p:spPr>
          <a:xfrm>
            <a:off x="3595815" y="4162482"/>
            <a:ext cx="145437" cy="110225"/>
          </a:xfrm>
          <a:prstGeom prst="rect">
            <a:avLst/>
          </a:prstGeom>
          <a:solidFill>
            <a:srgbClr val="FDCBA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000"/>
          </a:p>
        </p:txBody>
      </p:sp>
      <p:sp>
        <p:nvSpPr>
          <p:cNvPr id="47" name="Rechthoek 46">
            <a:extLst>
              <a:ext uri="{FF2B5EF4-FFF2-40B4-BE49-F238E27FC236}">
                <a16:creationId xmlns:a16="http://schemas.microsoft.com/office/drawing/2014/main" id="{FAC18528-CF71-4FA1-9353-B995AB54DBF3}"/>
              </a:ext>
            </a:extLst>
          </p:cNvPr>
          <p:cNvSpPr/>
          <p:nvPr/>
        </p:nvSpPr>
        <p:spPr>
          <a:xfrm>
            <a:off x="3605828" y="4017719"/>
            <a:ext cx="145437" cy="110225"/>
          </a:xfrm>
          <a:prstGeom prst="rect">
            <a:avLst/>
          </a:prstGeom>
          <a:solidFill>
            <a:srgbClr val="FDCBA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000"/>
          </a:p>
        </p:txBody>
      </p:sp>
      <p:sp>
        <p:nvSpPr>
          <p:cNvPr id="48" name="Rechthoek 47">
            <a:extLst>
              <a:ext uri="{FF2B5EF4-FFF2-40B4-BE49-F238E27FC236}">
                <a16:creationId xmlns:a16="http://schemas.microsoft.com/office/drawing/2014/main" id="{D6323827-4F8F-4886-ABA0-CEA483A7DD47}"/>
              </a:ext>
            </a:extLst>
          </p:cNvPr>
          <p:cNvSpPr/>
          <p:nvPr/>
        </p:nvSpPr>
        <p:spPr>
          <a:xfrm>
            <a:off x="3716886" y="3798794"/>
            <a:ext cx="145437" cy="110225"/>
          </a:xfrm>
          <a:prstGeom prst="rect">
            <a:avLst/>
          </a:prstGeom>
          <a:solidFill>
            <a:srgbClr val="FDCBA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000"/>
          </a:p>
        </p:txBody>
      </p:sp>
      <p:sp>
        <p:nvSpPr>
          <p:cNvPr id="49" name="Rechthoek 48">
            <a:extLst>
              <a:ext uri="{FF2B5EF4-FFF2-40B4-BE49-F238E27FC236}">
                <a16:creationId xmlns:a16="http://schemas.microsoft.com/office/drawing/2014/main" id="{193DDB9B-F31A-4EBD-AB36-FAAF824F2028}"/>
              </a:ext>
            </a:extLst>
          </p:cNvPr>
          <p:cNvSpPr/>
          <p:nvPr/>
        </p:nvSpPr>
        <p:spPr>
          <a:xfrm>
            <a:off x="3998864" y="3795343"/>
            <a:ext cx="121927" cy="113676"/>
          </a:xfrm>
          <a:prstGeom prst="rect">
            <a:avLst/>
          </a:prstGeom>
          <a:solidFill>
            <a:srgbClr val="FDCBA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000"/>
          </a:p>
        </p:txBody>
      </p:sp>
      <p:sp>
        <p:nvSpPr>
          <p:cNvPr id="50" name="Rechthoek 49">
            <a:extLst>
              <a:ext uri="{FF2B5EF4-FFF2-40B4-BE49-F238E27FC236}">
                <a16:creationId xmlns:a16="http://schemas.microsoft.com/office/drawing/2014/main" id="{2CFFAC25-A952-46CD-9156-8A58E96B3B9C}"/>
              </a:ext>
            </a:extLst>
          </p:cNvPr>
          <p:cNvSpPr/>
          <p:nvPr/>
        </p:nvSpPr>
        <p:spPr>
          <a:xfrm>
            <a:off x="4184443" y="3795343"/>
            <a:ext cx="126421" cy="113676"/>
          </a:xfrm>
          <a:prstGeom prst="rect">
            <a:avLst/>
          </a:prstGeom>
          <a:solidFill>
            <a:srgbClr val="FDCBA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000"/>
          </a:p>
        </p:txBody>
      </p:sp>
      <p:sp>
        <p:nvSpPr>
          <p:cNvPr id="51" name="Rechthoek 50">
            <a:extLst>
              <a:ext uri="{FF2B5EF4-FFF2-40B4-BE49-F238E27FC236}">
                <a16:creationId xmlns:a16="http://schemas.microsoft.com/office/drawing/2014/main" id="{4AE646CF-9ED4-478A-A0D3-998FBF6271D2}"/>
              </a:ext>
            </a:extLst>
          </p:cNvPr>
          <p:cNvSpPr/>
          <p:nvPr/>
        </p:nvSpPr>
        <p:spPr>
          <a:xfrm>
            <a:off x="4396936" y="3785805"/>
            <a:ext cx="121927" cy="113676"/>
          </a:xfrm>
          <a:prstGeom prst="rect">
            <a:avLst/>
          </a:prstGeom>
          <a:solidFill>
            <a:srgbClr val="FDCBA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000"/>
          </a:p>
        </p:txBody>
      </p:sp>
      <p:sp>
        <p:nvSpPr>
          <p:cNvPr id="52" name="Rechthoek 51">
            <a:extLst>
              <a:ext uri="{FF2B5EF4-FFF2-40B4-BE49-F238E27FC236}">
                <a16:creationId xmlns:a16="http://schemas.microsoft.com/office/drawing/2014/main" id="{BD861966-DB86-48B1-BD26-3BD78DC3F2A6}"/>
              </a:ext>
            </a:extLst>
          </p:cNvPr>
          <p:cNvSpPr/>
          <p:nvPr/>
        </p:nvSpPr>
        <p:spPr>
          <a:xfrm>
            <a:off x="4652795" y="3791891"/>
            <a:ext cx="121927" cy="113676"/>
          </a:xfrm>
          <a:prstGeom prst="rect">
            <a:avLst/>
          </a:prstGeom>
          <a:solidFill>
            <a:srgbClr val="FDCBA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000"/>
          </a:p>
        </p:txBody>
      </p:sp>
      <p:sp>
        <p:nvSpPr>
          <p:cNvPr id="53" name="Rechthoek 52">
            <a:extLst>
              <a:ext uri="{FF2B5EF4-FFF2-40B4-BE49-F238E27FC236}">
                <a16:creationId xmlns:a16="http://schemas.microsoft.com/office/drawing/2014/main" id="{C7CCE745-26A8-4973-B8D0-4B760CAC2B1C}"/>
              </a:ext>
            </a:extLst>
          </p:cNvPr>
          <p:cNvSpPr/>
          <p:nvPr/>
        </p:nvSpPr>
        <p:spPr>
          <a:xfrm>
            <a:off x="4846676" y="3813206"/>
            <a:ext cx="121927" cy="113676"/>
          </a:xfrm>
          <a:prstGeom prst="rect">
            <a:avLst/>
          </a:prstGeom>
          <a:solidFill>
            <a:srgbClr val="FDCBA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000"/>
          </a:p>
        </p:txBody>
      </p:sp>
      <p:sp>
        <p:nvSpPr>
          <p:cNvPr id="54" name="Rechthoek 53">
            <a:extLst>
              <a:ext uri="{FF2B5EF4-FFF2-40B4-BE49-F238E27FC236}">
                <a16:creationId xmlns:a16="http://schemas.microsoft.com/office/drawing/2014/main" id="{74928F9B-BE33-47AF-900F-4CA20382E338}"/>
              </a:ext>
            </a:extLst>
          </p:cNvPr>
          <p:cNvSpPr/>
          <p:nvPr/>
        </p:nvSpPr>
        <p:spPr>
          <a:xfrm>
            <a:off x="5051006" y="3799964"/>
            <a:ext cx="121927" cy="113676"/>
          </a:xfrm>
          <a:prstGeom prst="rect">
            <a:avLst/>
          </a:prstGeom>
          <a:solidFill>
            <a:srgbClr val="FDCBA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000"/>
          </a:p>
        </p:txBody>
      </p:sp>
      <p:sp>
        <p:nvSpPr>
          <p:cNvPr id="55" name="Rechthoek 54">
            <a:extLst>
              <a:ext uri="{FF2B5EF4-FFF2-40B4-BE49-F238E27FC236}">
                <a16:creationId xmlns:a16="http://schemas.microsoft.com/office/drawing/2014/main" id="{38F60091-133C-4306-95D3-5930BFFA15B5}"/>
              </a:ext>
            </a:extLst>
          </p:cNvPr>
          <p:cNvSpPr/>
          <p:nvPr/>
        </p:nvSpPr>
        <p:spPr>
          <a:xfrm>
            <a:off x="5099924" y="4062241"/>
            <a:ext cx="121927" cy="113676"/>
          </a:xfrm>
          <a:prstGeom prst="rect">
            <a:avLst/>
          </a:prstGeom>
          <a:solidFill>
            <a:srgbClr val="FDCBA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000"/>
          </a:p>
        </p:txBody>
      </p:sp>
      <p:sp>
        <p:nvSpPr>
          <p:cNvPr id="56" name="Rechthoek 55">
            <a:extLst>
              <a:ext uri="{FF2B5EF4-FFF2-40B4-BE49-F238E27FC236}">
                <a16:creationId xmlns:a16="http://schemas.microsoft.com/office/drawing/2014/main" id="{9A2630CB-0A51-4C8F-989A-0C7FC8C19306}"/>
              </a:ext>
            </a:extLst>
          </p:cNvPr>
          <p:cNvSpPr/>
          <p:nvPr/>
        </p:nvSpPr>
        <p:spPr>
          <a:xfrm>
            <a:off x="5105710" y="4349757"/>
            <a:ext cx="121927" cy="113676"/>
          </a:xfrm>
          <a:prstGeom prst="rect">
            <a:avLst/>
          </a:prstGeom>
          <a:solidFill>
            <a:srgbClr val="FDCBA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000"/>
          </a:p>
        </p:txBody>
      </p:sp>
      <p:sp>
        <p:nvSpPr>
          <p:cNvPr id="57" name="Rechthoek 56">
            <a:extLst>
              <a:ext uri="{FF2B5EF4-FFF2-40B4-BE49-F238E27FC236}">
                <a16:creationId xmlns:a16="http://schemas.microsoft.com/office/drawing/2014/main" id="{6337078D-27F8-4864-8710-D284E1825B14}"/>
              </a:ext>
            </a:extLst>
          </p:cNvPr>
          <p:cNvSpPr/>
          <p:nvPr/>
        </p:nvSpPr>
        <p:spPr>
          <a:xfrm>
            <a:off x="5111970" y="4895911"/>
            <a:ext cx="121927" cy="113676"/>
          </a:xfrm>
          <a:prstGeom prst="rect">
            <a:avLst/>
          </a:prstGeom>
          <a:solidFill>
            <a:srgbClr val="FDCBA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000"/>
          </a:p>
        </p:txBody>
      </p:sp>
      <p:sp>
        <p:nvSpPr>
          <p:cNvPr id="58" name="Rechthoek 57">
            <a:extLst>
              <a:ext uri="{FF2B5EF4-FFF2-40B4-BE49-F238E27FC236}">
                <a16:creationId xmlns:a16="http://schemas.microsoft.com/office/drawing/2014/main" id="{108352D2-71BA-4CEB-8257-801D632186D9}"/>
              </a:ext>
            </a:extLst>
          </p:cNvPr>
          <p:cNvSpPr/>
          <p:nvPr/>
        </p:nvSpPr>
        <p:spPr>
          <a:xfrm>
            <a:off x="4724751" y="4919453"/>
            <a:ext cx="121927" cy="113676"/>
          </a:xfrm>
          <a:prstGeom prst="rect">
            <a:avLst/>
          </a:prstGeom>
          <a:solidFill>
            <a:srgbClr val="FDCBA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000"/>
          </a:p>
        </p:txBody>
      </p:sp>
      <p:sp>
        <p:nvSpPr>
          <p:cNvPr id="59" name="Rechthoek 58">
            <a:extLst>
              <a:ext uri="{FF2B5EF4-FFF2-40B4-BE49-F238E27FC236}">
                <a16:creationId xmlns:a16="http://schemas.microsoft.com/office/drawing/2014/main" id="{F3082C84-A764-44D5-84C0-84093EBEC477}"/>
              </a:ext>
            </a:extLst>
          </p:cNvPr>
          <p:cNvSpPr/>
          <p:nvPr/>
        </p:nvSpPr>
        <p:spPr>
          <a:xfrm>
            <a:off x="4282166" y="4919452"/>
            <a:ext cx="121927" cy="113676"/>
          </a:xfrm>
          <a:prstGeom prst="rect">
            <a:avLst/>
          </a:prstGeom>
          <a:solidFill>
            <a:srgbClr val="FDCBA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000"/>
          </a:p>
        </p:txBody>
      </p:sp>
      <p:sp>
        <p:nvSpPr>
          <p:cNvPr id="60" name="Rechthoek 59">
            <a:extLst>
              <a:ext uri="{FF2B5EF4-FFF2-40B4-BE49-F238E27FC236}">
                <a16:creationId xmlns:a16="http://schemas.microsoft.com/office/drawing/2014/main" id="{3F20180D-9E29-4592-89A1-B02D0023EE43}"/>
              </a:ext>
            </a:extLst>
          </p:cNvPr>
          <p:cNvSpPr/>
          <p:nvPr/>
        </p:nvSpPr>
        <p:spPr>
          <a:xfrm>
            <a:off x="6852733" y="4880690"/>
            <a:ext cx="251715" cy="152440"/>
          </a:xfrm>
          <a:prstGeom prst="rect">
            <a:avLst/>
          </a:prstGeom>
          <a:solidFill>
            <a:srgbClr val="00A4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000"/>
          </a:p>
        </p:txBody>
      </p:sp>
      <p:sp>
        <p:nvSpPr>
          <p:cNvPr id="61" name="Rechthoek 60">
            <a:extLst>
              <a:ext uri="{FF2B5EF4-FFF2-40B4-BE49-F238E27FC236}">
                <a16:creationId xmlns:a16="http://schemas.microsoft.com/office/drawing/2014/main" id="{4C696EFE-6693-44DB-B138-103724682A40}"/>
              </a:ext>
            </a:extLst>
          </p:cNvPr>
          <p:cNvSpPr/>
          <p:nvPr/>
        </p:nvSpPr>
        <p:spPr>
          <a:xfrm>
            <a:off x="6359910" y="4867669"/>
            <a:ext cx="251715" cy="152440"/>
          </a:xfrm>
          <a:prstGeom prst="rect">
            <a:avLst/>
          </a:prstGeom>
          <a:solidFill>
            <a:srgbClr val="00A4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000"/>
          </a:p>
        </p:txBody>
      </p:sp>
      <p:sp>
        <p:nvSpPr>
          <p:cNvPr id="62" name="Rechthoek 61">
            <a:extLst>
              <a:ext uri="{FF2B5EF4-FFF2-40B4-BE49-F238E27FC236}">
                <a16:creationId xmlns:a16="http://schemas.microsoft.com/office/drawing/2014/main" id="{E86A7500-9C50-4A09-9224-46CA1674C5CE}"/>
              </a:ext>
            </a:extLst>
          </p:cNvPr>
          <p:cNvSpPr/>
          <p:nvPr/>
        </p:nvSpPr>
        <p:spPr>
          <a:xfrm>
            <a:off x="6092358" y="4570695"/>
            <a:ext cx="130612" cy="125039"/>
          </a:xfrm>
          <a:prstGeom prst="rect">
            <a:avLst/>
          </a:prstGeom>
          <a:solidFill>
            <a:srgbClr val="00A4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000"/>
          </a:p>
        </p:txBody>
      </p:sp>
      <p:sp>
        <p:nvSpPr>
          <p:cNvPr id="63" name="Rechthoek 62">
            <a:extLst>
              <a:ext uri="{FF2B5EF4-FFF2-40B4-BE49-F238E27FC236}">
                <a16:creationId xmlns:a16="http://schemas.microsoft.com/office/drawing/2014/main" id="{AC512BF9-748A-4EEE-AD82-1DE7BBCB15DA}"/>
              </a:ext>
            </a:extLst>
          </p:cNvPr>
          <p:cNvSpPr/>
          <p:nvPr/>
        </p:nvSpPr>
        <p:spPr>
          <a:xfrm>
            <a:off x="6086808" y="4418137"/>
            <a:ext cx="136163" cy="71327"/>
          </a:xfrm>
          <a:prstGeom prst="rect">
            <a:avLst/>
          </a:prstGeom>
          <a:solidFill>
            <a:srgbClr val="00A4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000"/>
          </a:p>
        </p:txBody>
      </p:sp>
      <p:sp>
        <p:nvSpPr>
          <p:cNvPr id="64" name="Rechthoek 63">
            <a:extLst>
              <a:ext uri="{FF2B5EF4-FFF2-40B4-BE49-F238E27FC236}">
                <a16:creationId xmlns:a16="http://schemas.microsoft.com/office/drawing/2014/main" id="{C0BCCCF4-72FB-4395-AB78-36ABD4FBF791}"/>
              </a:ext>
            </a:extLst>
          </p:cNvPr>
          <p:cNvSpPr/>
          <p:nvPr/>
        </p:nvSpPr>
        <p:spPr>
          <a:xfrm>
            <a:off x="6085839" y="4275645"/>
            <a:ext cx="152897" cy="81805"/>
          </a:xfrm>
          <a:prstGeom prst="rect">
            <a:avLst/>
          </a:prstGeom>
          <a:solidFill>
            <a:srgbClr val="00A4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000"/>
          </a:p>
        </p:txBody>
      </p:sp>
      <p:sp>
        <p:nvSpPr>
          <p:cNvPr id="65" name="Rechthoek 64">
            <a:extLst>
              <a:ext uri="{FF2B5EF4-FFF2-40B4-BE49-F238E27FC236}">
                <a16:creationId xmlns:a16="http://schemas.microsoft.com/office/drawing/2014/main" id="{04B1B7F1-40D2-4788-AF99-DC4057D0A01A}"/>
              </a:ext>
            </a:extLst>
          </p:cNvPr>
          <p:cNvSpPr/>
          <p:nvPr/>
        </p:nvSpPr>
        <p:spPr>
          <a:xfrm>
            <a:off x="6092358" y="4159183"/>
            <a:ext cx="146378" cy="75846"/>
          </a:xfrm>
          <a:prstGeom prst="rect">
            <a:avLst/>
          </a:prstGeom>
          <a:solidFill>
            <a:srgbClr val="00A4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000"/>
          </a:p>
        </p:txBody>
      </p:sp>
      <p:sp>
        <p:nvSpPr>
          <p:cNvPr id="66" name="Rechthoek 65">
            <a:extLst>
              <a:ext uri="{FF2B5EF4-FFF2-40B4-BE49-F238E27FC236}">
                <a16:creationId xmlns:a16="http://schemas.microsoft.com/office/drawing/2014/main" id="{9D60D56A-5D85-435C-B9C4-CC3BBAAE1C01}"/>
              </a:ext>
            </a:extLst>
          </p:cNvPr>
          <p:cNvSpPr/>
          <p:nvPr/>
        </p:nvSpPr>
        <p:spPr>
          <a:xfrm>
            <a:off x="6102574" y="3791891"/>
            <a:ext cx="125947" cy="148087"/>
          </a:xfrm>
          <a:prstGeom prst="rect">
            <a:avLst/>
          </a:prstGeom>
          <a:solidFill>
            <a:srgbClr val="00A4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000"/>
          </a:p>
        </p:txBody>
      </p:sp>
      <p:sp>
        <p:nvSpPr>
          <p:cNvPr id="67" name="Rechthoek 66">
            <a:extLst>
              <a:ext uri="{FF2B5EF4-FFF2-40B4-BE49-F238E27FC236}">
                <a16:creationId xmlns:a16="http://schemas.microsoft.com/office/drawing/2014/main" id="{433B5D5F-500C-46D4-9A58-5AC03A0CBEFC}"/>
              </a:ext>
            </a:extLst>
          </p:cNvPr>
          <p:cNvSpPr/>
          <p:nvPr/>
        </p:nvSpPr>
        <p:spPr>
          <a:xfrm>
            <a:off x="6333026" y="3764534"/>
            <a:ext cx="94515" cy="149107"/>
          </a:xfrm>
          <a:prstGeom prst="rect">
            <a:avLst/>
          </a:prstGeom>
          <a:solidFill>
            <a:srgbClr val="00A4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000"/>
          </a:p>
        </p:txBody>
      </p:sp>
      <p:sp>
        <p:nvSpPr>
          <p:cNvPr id="68" name="Rechthoek 67">
            <a:extLst>
              <a:ext uri="{FF2B5EF4-FFF2-40B4-BE49-F238E27FC236}">
                <a16:creationId xmlns:a16="http://schemas.microsoft.com/office/drawing/2014/main" id="{AEE4DE7A-7491-437B-BB08-F76923BB91EE}"/>
              </a:ext>
            </a:extLst>
          </p:cNvPr>
          <p:cNvSpPr/>
          <p:nvPr/>
        </p:nvSpPr>
        <p:spPr>
          <a:xfrm>
            <a:off x="6520299" y="3771313"/>
            <a:ext cx="107830" cy="155570"/>
          </a:xfrm>
          <a:prstGeom prst="rect">
            <a:avLst/>
          </a:prstGeom>
          <a:solidFill>
            <a:srgbClr val="00A4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000"/>
          </a:p>
        </p:txBody>
      </p:sp>
      <p:sp>
        <p:nvSpPr>
          <p:cNvPr id="69" name="Rechthoek 68">
            <a:extLst>
              <a:ext uri="{FF2B5EF4-FFF2-40B4-BE49-F238E27FC236}">
                <a16:creationId xmlns:a16="http://schemas.microsoft.com/office/drawing/2014/main" id="{F315392D-204E-4A84-A5E4-57769E8F0824}"/>
              </a:ext>
            </a:extLst>
          </p:cNvPr>
          <p:cNvSpPr/>
          <p:nvPr/>
        </p:nvSpPr>
        <p:spPr>
          <a:xfrm>
            <a:off x="6714807" y="3777473"/>
            <a:ext cx="107830" cy="155570"/>
          </a:xfrm>
          <a:prstGeom prst="rect">
            <a:avLst/>
          </a:prstGeom>
          <a:solidFill>
            <a:srgbClr val="00A4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000"/>
          </a:p>
        </p:txBody>
      </p:sp>
      <p:sp>
        <p:nvSpPr>
          <p:cNvPr id="70" name="Rechthoek 69">
            <a:extLst>
              <a:ext uri="{FF2B5EF4-FFF2-40B4-BE49-F238E27FC236}">
                <a16:creationId xmlns:a16="http://schemas.microsoft.com/office/drawing/2014/main" id="{04811128-8526-4508-A993-3EB5BF64DF15}"/>
              </a:ext>
            </a:extLst>
          </p:cNvPr>
          <p:cNvSpPr/>
          <p:nvPr/>
        </p:nvSpPr>
        <p:spPr>
          <a:xfrm>
            <a:off x="6876726" y="3777472"/>
            <a:ext cx="140194" cy="155571"/>
          </a:xfrm>
          <a:prstGeom prst="rect">
            <a:avLst/>
          </a:prstGeom>
          <a:solidFill>
            <a:srgbClr val="00A4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000"/>
          </a:p>
        </p:txBody>
      </p:sp>
      <p:sp>
        <p:nvSpPr>
          <p:cNvPr id="71" name="Rechthoek 70">
            <a:extLst>
              <a:ext uri="{FF2B5EF4-FFF2-40B4-BE49-F238E27FC236}">
                <a16:creationId xmlns:a16="http://schemas.microsoft.com/office/drawing/2014/main" id="{C0FB5F5F-DB97-4CDA-BAF2-FA105F339F33}"/>
              </a:ext>
            </a:extLst>
          </p:cNvPr>
          <p:cNvSpPr/>
          <p:nvPr/>
        </p:nvSpPr>
        <p:spPr>
          <a:xfrm>
            <a:off x="7058762" y="3785804"/>
            <a:ext cx="112777" cy="111632"/>
          </a:xfrm>
          <a:prstGeom prst="rect">
            <a:avLst/>
          </a:prstGeom>
          <a:solidFill>
            <a:srgbClr val="00A4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000"/>
          </a:p>
        </p:txBody>
      </p:sp>
      <p:sp>
        <p:nvSpPr>
          <p:cNvPr id="72" name="Rechthoek 71">
            <a:extLst>
              <a:ext uri="{FF2B5EF4-FFF2-40B4-BE49-F238E27FC236}">
                <a16:creationId xmlns:a16="http://schemas.microsoft.com/office/drawing/2014/main" id="{2D2950A7-4931-435B-B1BA-98ADE6BF8FB6}"/>
              </a:ext>
            </a:extLst>
          </p:cNvPr>
          <p:cNvSpPr/>
          <p:nvPr/>
        </p:nvSpPr>
        <p:spPr>
          <a:xfrm>
            <a:off x="7225493" y="3785804"/>
            <a:ext cx="102457" cy="127836"/>
          </a:xfrm>
          <a:prstGeom prst="rect">
            <a:avLst/>
          </a:prstGeom>
          <a:solidFill>
            <a:srgbClr val="00A4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000"/>
          </a:p>
        </p:txBody>
      </p:sp>
      <p:sp>
        <p:nvSpPr>
          <p:cNvPr id="73" name="Rechthoek 72">
            <a:extLst>
              <a:ext uri="{FF2B5EF4-FFF2-40B4-BE49-F238E27FC236}">
                <a16:creationId xmlns:a16="http://schemas.microsoft.com/office/drawing/2014/main" id="{C0CEFC8B-A71F-4154-8F35-4BD9E9765C3E}"/>
              </a:ext>
            </a:extLst>
          </p:cNvPr>
          <p:cNvSpPr/>
          <p:nvPr/>
        </p:nvSpPr>
        <p:spPr>
          <a:xfrm>
            <a:off x="7430783" y="3784810"/>
            <a:ext cx="145961" cy="142072"/>
          </a:xfrm>
          <a:prstGeom prst="rect">
            <a:avLst/>
          </a:prstGeom>
          <a:solidFill>
            <a:srgbClr val="00A4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000"/>
          </a:p>
        </p:txBody>
      </p:sp>
      <p:sp>
        <p:nvSpPr>
          <p:cNvPr id="74" name="Rechthoek 73">
            <a:extLst>
              <a:ext uri="{FF2B5EF4-FFF2-40B4-BE49-F238E27FC236}">
                <a16:creationId xmlns:a16="http://schemas.microsoft.com/office/drawing/2014/main" id="{C7913FFC-F6B7-4AC2-A51E-671444E48C28}"/>
              </a:ext>
            </a:extLst>
          </p:cNvPr>
          <p:cNvSpPr/>
          <p:nvPr/>
        </p:nvSpPr>
        <p:spPr>
          <a:xfrm>
            <a:off x="7457021" y="4123230"/>
            <a:ext cx="119722" cy="88015"/>
          </a:xfrm>
          <a:prstGeom prst="rect">
            <a:avLst/>
          </a:prstGeom>
          <a:solidFill>
            <a:srgbClr val="00A4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000"/>
          </a:p>
        </p:txBody>
      </p:sp>
      <p:sp>
        <p:nvSpPr>
          <p:cNvPr id="75" name="Rechthoek 74">
            <a:extLst>
              <a:ext uri="{FF2B5EF4-FFF2-40B4-BE49-F238E27FC236}">
                <a16:creationId xmlns:a16="http://schemas.microsoft.com/office/drawing/2014/main" id="{754F21CA-E068-4CD3-B900-31C1620FB711}"/>
              </a:ext>
            </a:extLst>
          </p:cNvPr>
          <p:cNvSpPr/>
          <p:nvPr/>
        </p:nvSpPr>
        <p:spPr>
          <a:xfrm>
            <a:off x="7448455" y="4291145"/>
            <a:ext cx="119722" cy="88015"/>
          </a:xfrm>
          <a:prstGeom prst="rect">
            <a:avLst/>
          </a:prstGeom>
          <a:solidFill>
            <a:srgbClr val="00A4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000"/>
          </a:p>
        </p:txBody>
      </p:sp>
      <p:sp>
        <p:nvSpPr>
          <p:cNvPr id="76" name="Rechthoek 75">
            <a:extLst>
              <a:ext uri="{FF2B5EF4-FFF2-40B4-BE49-F238E27FC236}">
                <a16:creationId xmlns:a16="http://schemas.microsoft.com/office/drawing/2014/main" id="{6E99152F-88C2-4870-9110-1E10819F8CB9}"/>
              </a:ext>
            </a:extLst>
          </p:cNvPr>
          <p:cNvSpPr/>
          <p:nvPr/>
        </p:nvSpPr>
        <p:spPr>
          <a:xfrm>
            <a:off x="7416094" y="4468110"/>
            <a:ext cx="152082" cy="77076"/>
          </a:xfrm>
          <a:prstGeom prst="rect">
            <a:avLst/>
          </a:prstGeom>
          <a:solidFill>
            <a:srgbClr val="00A4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000"/>
          </a:p>
        </p:txBody>
      </p:sp>
      <p:sp>
        <p:nvSpPr>
          <p:cNvPr id="77" name="Rechthoek 76">
            <a:extLst>
              <a:ext uri="{FF2B5EF4-FFF2-40B4-BE49-F238E27FC236}">
                <a16:creationId xmlns:a16="http://schemas.microsoft.com/office/drawing/2014/main" id="{22022E7E-13E7-4AAB-B747-7C657BF91297}"/>
              </a:ext>
            </a:extLst>
          </p:cNvPr>
          <p:cNvSpPr/>
          <p:nvPr/>
        </p:nvSpPr>
        <p:spPr>
          <a:xfrm>
            <a:off x="7416094" y="4637602"/>
            <a:ext cx="152082" cy="77076"/>
          </a:xfrm>
          <a:prstGeom prst="rect">
            <a:avLst/>
          </a:prstGeom>
          <a:solidFill>
            <a:srgbClr val="00A4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000"/>
          </a:p>
        </p:txBody>
      </p:sp>
      <p:sp>
        <p:nvSpPr>
          <p:cNvPr id="78" name="Rechthoek 77">
            <a:extLst>
              <a:ext uri="{FF2B5EF4-FFF2-40B4-BE49-F238E27FC236}">
                <a16:creationId xmlns:a16="http://schemas.microsoft.com/office/drawing/2014/main" id="{33715825-09FE-4111-AC69-9F7D464666F2}"/>
              </a:ext>
            </a:extLst>
          </p:cNvPr>
          <p:cNvSpPr/>
          <p:nvPr/>
        </p:nvSpPr>
        <p:spPr>
          <a:xfrm>
            <a:off x="7422220" y="4929307"/>
            <a:ext cx="164185" cy="119310"/>
          </a:xfrm>
          <a:prstGeom prst="rect">
            <a:avLst/>
          </a:prstGeom>
          <a:solidFill>
            <a:srgbClr val="00A4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000"/>
          </a:p>
        </p:txBody>
      </p:sp>
      <p:sp>
        <p:nvSpPr>
          <p:cNvPr id="79" name="Rechthoek 78">
            <a:extLst>
              <a:ext uri="{FF2B5EF4-FFF2-40B4-BE49-F238E27FC236}">
                <a16:creationId xmlns:a16="http://schemas.microsoft.com/office/drawing/2014/main" id="{C430FBCA-4C1C-4360-ADC8-77D23C5E1E2E}"/>
              </a:ext>
            </a:extLst>
          </p:cNvPr>
          <p:cNvSpPr/>
          <p:nvPr/>
        </p:nvSpPr>
        <p:spPr>
          <a:xfrm>
            <a:off x="9610414" y="4573560"/>
            <a:ext cx="164185" cy="119310"/>
          </a:xfrm>
          <a:prstGeom prst="rect">
            <a:avLst/>
          </a:prstGeom>
          <a:solidFill>
            <a:srgbClr val="009B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000"/>
          </a:p>
        </p:txBody>
      </p:sp>
      <p:sp>
        <p:nvSpPr>
          <p:cNvPr id="80" name="Rechthoek 79">
            <a:extLst>
              <a:ext uri="{FF2B5EF4-FFF2-40B4-BE49-F238E27FC236}">
                <a16:creationId xmlns:a16="http://schemas.microsoft.com/office/drawing/2014/main" id="{F496BA34-9798-43F1-A6B1-2DC715B06A6A}"/>
              </a:ext>
            </a:extLst>
          </p:cNvPr>
          <p:cNvSpPr/>
          <p:nvPr/>
        </p:nvSpPr>
        <p:spPr>
          <a:xfrm>
            <a:off x="9011731" y="4543442"/>
            <a:ext cx="141131" cy="121521"/>
          </a:xfrm>
          <a:prstGeom prst="rect">
            <a:avLst/>
          </a:prstGeom>
          <a:solidFill>
            <a:srgbClr val="009B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000"/>
          </a:p>
        </p:txBody>
      </p:sp>
      <p:sp>
        <p:nvSpPr>
          <p:cNvPr id="81" name="Rechthoek 80">
            <a:extLst>
              <a:ext uri="{FF2B5EF4-FFF2-40B4-BE49-F238E27FC236}">
                <a16:creationId xmlns:a16="http://schemas.microsoft.com/office/drawing/2014/main" id="{2EEAF36B-0DC4-4D48-B39A-87A7DAF0569C}"/>
              </a:ext>
            </a:extLst>
          </p:cNvPr>
          <p:cNvSpPr/>
          <p:nvPr/>
        </p:nvSpPr>
        <p:spPr>
          <a:xfrm>
            <a:off x="9073518" y="4802058"/>
            <a:ext cx="105337" cy="93854"/>
          </a:xfrm>
          <a:prstGeom prst="rect">
            <a:avLst/>
          </a:prstGeom>
          <a:solidFill>
            <a:srgbClr val="009B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000"/>
          </a:p>
        </p:txBody>
      </p:sp>
      <p:sp>
        <p:nvSpPr>
          <p:cNvPr id="82" name="Rechthoek 81">
            <a:extLst>
              <a:ext uri="{FF2B5EF4-FFF2-40B4-BE49-F238E27FC236}">
                <a16:creationId xmlns:a16="http://schemas.microsoft.com/office/drawing/2014/main" id="{FAB3D6C3-FF31-4EF2-BEFC-F11E16AF149E}"/>
              </a:ext>
            </a:extLst>
          </p:cNvPr>
          <p:cNvSpPr/>
          <p:nvPr/>
        </p:nvSpPr>
        <p:spPr>
          <a:xfrm>
            <a:off x="9152861" y="5070706"/>
            <a:ext cx="105337" cy="93854"/>
          </a:xfrm>
          <a:prstGeom prst="rect">
            <a:avLst/>
          </a:prstGeom>
          <a:solidFill>
            <a:srgbClr val="009B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000"/>
          </a:p>
        </p:txBody>
      </p:sp>
      <p:sp>
        <p:nvSpPr>
          <p:cNvPr id="83" name="Rechthoek 82">
            <a:extLst>
              <a:ext uri="{FF2B5EF4-FFF2-40B4-BE49-F238E27FC236}">
                <a16:creationId xmlns:a16="http://schemas.microsoft.com/office/drawing/2014/main" id="{2C04385F-0273-4D17-9AE3-3FA29BE38D5C}"/>
              </a:ext>
            </a:extLst>
          </p:cNvPr>
          <p:cNvSpPr/>
          <p:nvPr/>
        </p:nvSpPr>
        <p:spPr>
          <a:xfrm>
            <a:off x="9360825" y="5326811"/>
            <a:ext cx="105337" cy="93854"/>
          </a:xfrm>
          <a:prstGeom prst="rect">
            <a:avLst/>
          </a:prstGeom>
          <a:solidFill>
            <a:srgbClr val="009B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000"/>
          </a:p>
        </p:txBody>
      </p:sp>
      <p:sp>
        <p:nvSpPr>
          <p:cNvPr id="84" name="Rechthoek 83">
            <a:extLst>
              <a:ext uri="{FF2B5EF4-FFF2-40B4-BE49-F238E27FC236}">
                <a16:creationId xmlns:a16="http://schemas.microsoft.com/office/drawing/2014/main" id="{DCF2CB4C-E806-4EEF-AE3E-C5799BBF26A1}"/>
              </a:ext>
            </a:extLst>
          </p:cNvPr>
          <p:cNvSpPr/>
          <p:nvPr/>
        </p:nvSpPr>
        <p:spPr>
          <a:xfrm>
            <a:off x="8198321" y="4491186"/>
            <a:ext cx="158255" cy="116454"/>
          </a:xfrm>
          <a:prstGeom prst="rect">
            <a:avLst/>
          </a:prstGeom>
          <a:solidFill>
            <a:srgbClr val="B11A7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000"/>
          </a:p>
        </p:txBody>
      </p:sp>
      <p:sp>
        <p:nvSpPr>
          <p:cNvPr id="85" name="Rechthoek 84">
            <a:extLst>
              <a:ext uri="{FF2B5EF4-FFF2-40B4-BE49-F238E27FC236}">
                <a16:creationId xmlns:a16="http://schemas.microsoft.com/office/drawing/2014/main" id="{4D1A246F-2688-46A5-8826-397E0A76C43C}"/>
              </a:ext>
            </a:extLst>
          </p:cNvPr>
          <p:cNvSpPr/>
          <p:nvPr/>
        </p:nvSpPr>
        <p:spPr>
          <a:xfrm>
            <a:off x="8549086" y="3301767"/>
            <a:ext cx="158255" cy="116454"/>
          </a:xfrm>
          <a:prstGeom prst="rect">
            <a:avLst/>
          </a:prstGeom>
          <a:solidFill>
            <a:srgbClr val="009B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000"/>
          </a:p>
        </p:txBody>
      </p:sp>
      <p:sp>
        <p:nvSpPr>
          <p:cNvPr id="86" name="Rechthoek 85">
            <a:extLst>
              <a:ext uri="{FF2B5EF4-FFF2-40B4-BE49-F238E27FC236}">
                <a16:creationId xmlns:a16="http://schemas.microsoft.com/office/drawing/2014/main" id="{CA0207E7-DD55-44EB-8A24-33DF70CAD0F7}"/>
              </a:ext>
            </a:extLst>
          </p:cNvPr>
          <p:cNvSpPr/>
          <p:nvPr/>
        </p:nvSpPr>
        <p:spPr>
          <a:xfrm>
            <a:off x="8979917" y="3749480"/>
            <a:ext cx="93599" cy="102708"/>
          </a:xfrm>
          <a:prstGeom prst="rect">
            <a:avLst/>
          </a:prstGeom>
          <a:solidFill>
            <a:srgbClr val="009B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000"/>
          </a:p>
        </p:txBody>
      </p:sp>
      <p:sp>
        <p:nvSpPr>
          <p:cNvPr id="87" name="Rechthoek 86">
            <a:extLst>
              <a:ext uri="{FF2B5EF4-FFF2-40B4-BE49-F238E27FC236}">
                <a16:creationId xmlns:a16="http://schemas.microsoft.com/office/drawing/2014/main" id="{780A2196-1C3D-4FEA-86BF-B0BB8C3E9AC2}"/>
              </a:ext>
            </a:extLst>
          </p:cNvPr>
          <p:cNvSpPr/>
          <p:nvPr/>
        </p:nvSpPr>
        <p:spPr>
          <a:xfrm>
            <a:off x="8962787" y="3905568"/>
            <a:ext cx="110731" cy="107384"/>
          </a:xfrm>
          <a:prstGeom prst="rect">
            <a:avLst/>
          </a:prstGeom>
          <a:solidFill>
            <a:srgbClr val="009B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000"/>
          </a:p>
        </p:txBody>
      </p:sp>
      <p:sp>
        <p:nvSpPr>
          <p:cNvPr id="88" name="Rechthoek 87">
            <a:extLst>
              <a:ext uri="{FF2B5EF4-FFF2-40B4-BE49-F238E27FC236}">
                <a16:creationId xmlns:a16="http://schemas.microsoft.com/office/drawing/2014/main" id="{4754FD96-5584-4323-820E-1F94BD4CA5EE}"/>
              </a:ext>
            </a:extLst>
          </p:cNvPr>
          <p:cNvSpPr/>
          <p:nvPr/>
        </p:nvSpPr>
        <p:spPr>
          <a:xfrm>
            <a:off x="7479611" y="3013058"/>
            <a:ext cx="106794" cy="125423"/>
          </a:xfrm>
          <a:prstGeom prst="rect">
            <a:avLst/>
          </a:prstGeom>
          <a:solidFill>
            <a:srgbClr val="E38A5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000"/>
          </a:p>
        </p:txBody>
      </p:sp>
      <p:sp>
        <p:nvSpPr>
          <p:cNvPr id="89" name="Rechthoek 88">
            <a:extLst>
              <a:ext uri="{FF2B5EF4-FFF2-40B4-BE49-F238E27FC236}">
                <a16:creationId xmlns:a16="http://schemas.microsoft.com/office/drawing/2014/main" id="{123EAF3D-E38E-4B6E-AE6A-D10BDCEDAFF4}"/>
              </a:ext>
            </a:extLst>
          </p:cNvPr>
          <p:cNvSpPr/>
          <p:nvPr/>
        </p:nvSpPr>
        <p:spPr>
          <a:xfrm>
            <a:off x="6925193" y="1618176"/>
            <a:ext cx="106794" cy="125423"/>
          </a:xfrm>
          <a:prstGeom prst="rect">
            <a:avLst/>
          </a:prstGeom>
          <a:solidFill>
            <a:srgbClr val="E38A5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000"/>
          </a:p>
        </p:txBody>
      </p:sp>
      <p:sp>
        <p:nvSpPr>
          <p:cNvPr id="90" name="Rechthoek 89">
            <a:extLst>
              <a:ext uri="{FF2B5EF4-FFF2-40B4-BE49-F238E27FC236}">
                <a16:creationId xmlns:a16="http://schemas.microsoft.com/office/drawing/2014/main" id="{8E2A8242-D2ED-4947-B204-B65829FDC4BF}"/>
              </a:ext>
            </a:extLst>
          </p:cNvPr>
          <p:cNvSpPr/>
          <p:nvPr/>
        </p:nvSpPr>
        <p:spPr>
          <a:xfrm>
            <a:off x="7071917" y="1743301"/>
            <a:ext cx="106794" cy="125423"/>
          </a:xfrm>
          <a:prstGeom prst="rect">
            <a:avLst/>
          </a:prstGeom>
          <a:solidFill>
            <a:srgbClr val="E38A5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000"/>
          </a:p>
        </p:txBody>
      </p:sp>
      <p:sp>
        <p:nvSpPr>
          <p:cNvPr id="91" name="Rechthoek 90">
            <a:extLst>
              <a:ext uri="{FF2B5EF4-FFF2-40B4-BE49-F238E27FC236}">
                <a16:creationId xmlns:a16="http://schemas.microsoft.com/office/drawing/2014/main" id="{D3DFD272-927F-49C1-86A2-E143A2F51A94}"/>
              </a:ext>
            </a:extLst>
          </p:cNvPr>
          <p:cNvSpPr/>
          <p:nvPr/>
        </p:nvSpPr>
        <p:spPr>
          <a:xfrm>
            <a:off x="6558229" y="1632396"/>
            <a:ext cx="106794" cy="125423"/>
          </a:xfrm>
          <a:prstGeom prst="rect">
            <a:avLst/>
          </a:prstGeom>
          <a:solidFill>
            <a:srgbClr val="E38A5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000"/>
          </a:p>
        </p:txBody>
      </p:sp>
      <p:sp>
        <p:nvSpPr>
          <p:cNvPr id="92" name="Rechthoek 91">
            <a:extLst>
              <a:ext uri="{FF2B5EF4-FFF2-40B4-BE49-F238E27FC236}">
                <a16:creationId xmlns:a16="http://schemas.microsoft.com/office/drawing/2014/main" id="{955C78FE-5669-4190-B3B7-A5B5311CDEA7}"/>
              </a:ext>
            </a:extLst>
          </p:cNvPr>
          <p:cNvSpPr/>
          <p:nvPr/>
        </p:nvSpPr>
        <p:spPr>
          <a:xfrm>
            <a:off x="6131541" y="1636297"/>
            <a:ext cx="166518" cy="132245"/>
          </a:xfrm>
          <a:prstGeom prst="rect">
            <a:avLst/>
          </a:prstGeom>
          <a:solidFill>
            <a:srgbClr val="E38A5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000"/>
          </a:p>
        </p:txBody>
      </p:sp>
      <p:sp>
        <p:nvSpPr>
          <p:cNvPr id="93" name="Rechthoek 92">
            <a:extLst>
              <a:ext uri="{FF2B5EF4-FFF2-40B4-BE49-F238E27FC236}">
                <a16:creationId xmlns:a16="http://schemas.microsoft.com/office/drawing/2014/main" id="{35076DB5-8408-4DE2-AA95-2DC3CB338E1E}"/>
              </a:ext>
            </a:extLst>
          </p:cNvPr>
          <p:cNvSpPr/>
          <p:nvPr/>
        </p:nvSpPr>
        <p:spPr>
          <a:xfrm>
            <a:off x="5945844" y="1890340"/>
            <a:ext cx="185696" cy="87667"/>
          </a:xfrm>
          <a:prstGeom prst="rect">
            <a:avLst/>
          </a:prstGeom>
          <a:solidFill>
            <a:srgbClr val="E38A5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000"/>
          </a:p>
        </p:txBody>
      </p:sp>
      <p:sp>
        <p:nvSpPr>
          <p:cNvPr id="94" name="Rechthoek 93">
            <a:extLst>
              <a:ext uri="{FF2B5EF4-FFF2-40B4-BE49-F238E27FC236}">
                <a16:creationId xmlns:a16="http://schemas.microsoft.com/office/drawing/2014/main" id="{6BC78754-D7FA-4FAF-8CC4-92EFABAB5208}"/>
              </a:ext>
            </a:extLst>
          </p:cNvPr>
          <p:cNvSpPr/>
          <p:nvPr/>
        </p:nvSpPr>
        <p:spPr>
          <a:xfrm>
            <a:off x="5976591" y="2165285"/>
            <a:ext cx="185696" cy="87667"/>
          </a:xfrm>
          <a:prstGeom prst="rect">
            <a:avLst/>
          </a:prstGeom>
          <a:solidFill>
            <a:srgbClr val="E38A5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000"/>
          </a:p>
        </p:txBody>
      </p:sp>
      <p:sp>
        <p:nvSpPr>
          <p:cNvPr id="95" name="Rechthoek 94">
            <a:extLst>
              <a:ext uri="{FF2B5EF4-FFF2-40B4-BE49-F238E27FC236}">
                <a16:creationId xmlns:a16="http://schemas.microsoft.com/office/drawing/2014/main" id="{E029C890-1CF3-47FB-A54D-64AD85A3197C}"/>
              </a:ext>
            </a:extLst>
          </p:cNvPr>
          <p:cNvSpPr/>
          <p:nvPr/>
        </p:nvSpPr>
        <p:spPr>
          <a:xfrm>
            <a:off x="5976591" y="2013477"/>
            <a:ext cx="185696" cy="87667"/>
          </a:xfrm>
          <a:prstGeom prst="rect">
            <a:avLst/>
          </a:prstGeom>
          <a:solidFill>
            <a:srgbClr val="E38A5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000"/>
          </a:p>
        </p:txBody>
      </p:sp>
      <p:sp>
        <p:nvSpPr>
          <p:cNvPr id="96" name="Rechthoek 95">
            <a:extLst>
              <a:ext uri="{FF2B5EF4-FFF2-40B4-BE49-F238E27FC236}">
                <a16:creationId xmlns:a16="http://schemas.microsoft.com/office/drawing/2014/main" id="{E15355ED-AED9-4A3B-B92F-41ED01E2F811}"/>
              </a:ext>
            </a:extLst>
          </p:cNvPr>
          <p:cNvSpPr/>
          <p:nvPr/>
        </p:nvSpPr>
        <p:spPr>
          <a:xfrm>
            <a:off x="5984422" y="2582346"/>
            <a:ext cx="177864" cy="120725"/>
          </a:xfrm>
          <a:prstGeom prst="rect">
            <a:avLst/>
          </a:prstGeom>
          <a:solidFill>
            <a:srgbClr val="E38A5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000"/>
          </a:p>
        </p:txBody>
      </p:sp>
      <p:sp>
        <p:nvSpPr>
          <p:cNvPr id="97" name="Rechthoek 96">
            <a:extLst>
              <a:ext uri="{FF2B5EF4-FFF2-40B4-BE49-F238E27FC236}">
                <a16:creationId xmlns:a16="http://schemas.microsoft.com/office/drawing/2014/main" id="{67602634-2C2D-43AC-8AA1-F53F23A9C4BD}"/>
              </a:ext>
            </a:extLst>
          </p:cNvPr>
          <p:cNvSpPr/>
          <p:nvPr/>
        </p:nvSpPr>
        <p:spPr>
          <a:xfrm>
            <a:off x="5233896" y="3160625"/>
            <a:ext cx="177864" cy="120725"/>
          </a:xfrm>
          <a:prstGeom prst="rect">
            <a:avLst/>
          </a:prstGeom>
          <a:solidFill>
            <a:srgbClr val="FFE6A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000"/>
          </a:p>
        </p:txBody>
      </p:sp>
      <p:sp>
        <p:nvSpPr>
          <p:cNvPr id="98" name="Rechthoek 97">
            <a:extLst>
              <a:ext uri="{FF2B5EF4-FFF2-40B4-BE49-F238E27FC236}">
                <a16:creationId xmlns:a16="http://schemas.microsoft.com/office/drawing/2014/main" id="{D3E7780C-3EBA-4BF6-B2FB-BAF6CAB66EEC}"/>
              </a:ext>
            </a:extLst>
          </p:cNvPr>
          <p:cNvSpPr/>
          <p:nvPr/>
        </p:nvSpPr>
        <p:spPr>
          <a:xfrm>
            <a:off x="6076929" y="2985314"/>
            <a:ext cx="177864" cy="120725"/>
          </a:xfrm>
          <a:prstGeom prst="rect">
            <a:avLst/>
          </a:prstGeom>
          <a:solidFill>
            <a:srgbClr val="E38A5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000"/>
          </a:p>
        </p:txBody>
      </p:sp>
      <p:sp>
        <p:nvSpPr>
          <p:cNvPr id="99" name="Rechthoek 98">
            <a:extLst>
              <a:ext uri="{FF2B5EF4-FFF2-40B4-BE49-F238E27FC236}">
                <a16:creationId xmlns:a16="http://schemas.microsoft.com/office/drawing/2014/main" id="{440FC2FA-D019-432D-AA5C-C8A5FDB67EFD}"/>
              </a:ext>
            </a:extLst>
          </p:cNvPr>
          <p:cNvSpPr/>
          <p:nvPr/>
        </p:nvSpPr>
        <p:spPr>
          <a:xfrm>
            <a:off x="6203759" y="3152552"/>
            <a:ext cx="177864" cy="120725"/>
          </a:xfrm>
          <a:prstGeom prst="rect">
            <a:avLst/>
          </a:prstGeom>
          <a:solidFill>
            <a:srgbClr val="E38A5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000"/>
          </a:p>
        </p:txBody>
      </p:sp>
      <p:sp>
        <p:nvSpPr>
          <p:cNvPr id="100" name="Rechthoek 99">
            <a:extLst>
              <a:ext uri="{FF2B5EF4-FFF2-40B4-BE49-F238E27FC236}">
                <a16:creationId xmlns:a16="http://schemas.microsoft.com/office/drawing/2014/main" id="{665E487A-0CE0-4A4D-940E-320916B76B1A}"/>
              </a:ext>
            </a:extLst>
          </p:cNvPr>
          <p:cNvSpPr/>
          <p:nvPr/>
        </p:nvSpPr>
        <p:spPr>
          <a:xfrm>
            <a:off x="6446069" y="3216354"/>
            <a:ext cx="112161" cy="114050"/>
          </a:xfrm>
          <a:prstGeom prst="rect">
            <a:avLst/>
          </a:prstGeom>
          <a:solidFill>
            <a:srgbClr val="E38A5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000"/>
          </a:p>
        </p:txBody>
      </p:sp>
      <p:sp>
        <p:nvSpPr>
          <p:cNvPr id="101" name="Rechthoek 100">
            <a:extLst>
              <a:ext uri="{FF2B5EF4-FFF2-40B4-BE49-F238E27FC236}">
                <a16:creationId xmlns:a16="http://schemas.microsoft.com/office/drawing/2014/main" id="{842C2B75-F28F-4052-B6CF-CCB2030720E4}"/>
              </a:ext>
            </a:extLst>
          </p:cNvPr>
          <p:cNvSpPr/>
          <p:nvPr/>
        </p:nvSpPr>
        <p:spPr>
          <a:xfrm>
            <a:off x="6629069" y="3220379"/>
            <a:ext cx="112161" cy="114050"/>
          </a:xfrm>
          <a:prstGeom prst="rect">
            <a:avLst/>
          </a:prstGeom>
          <a:solidFill>
            <a:srgbClr val="E38A5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000"/>
          </a:p>
        </p:txBody>
      </p:sp>
      <p:sp>
        <p:nvSpPr>
          <p:cNvPr id="102" name="Rechthoek 101">
            <a:extLst>
              <a:ext uri="{FF2B5EF4-FFF2-40B4-BE49-F238E27FC236}">
                <a16:creationId xmlns:a16="http://schemas.microsoft.com/office/drawing/2014/main" id="{9EAD015D-2D0D-4DAB-AFED-AD38CA46C577}"/>
              </a:ext>
            </a:extLst>
          </p:cNvPr>
          <p:cNvSpPr/>
          <p:nvPr/>
        </p:nvSpPr>
        <p:spPr>
          <a:xfrm>
            <a:off x="6814637" y="3216354"/>
            <a:ext cx="112161" cy="114050"/>
          </a:xfrm>
          <a:prstGeom prst="rect">
            <a:avLst/>
          </a:prstGeom>
          <a:solidFill>
            <a:srgbClr val="E38A5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000"/>
          </a:p>
        </p:txBody>
      </p:sp>
      <p:sp>
        <p:nvSpPr>
          <p:cNvPr id="103" name="Rechthoek 102">
            <a:extLst>
              <a:ext uri="{FF2B5EF4-FFF2-40B4-BE49-F238E27FC236}">
                <a16:creationId xmlns:a16="http://schemas.microsoft.com/office/drawing/2014/main" id="{64BE5A55-DBBC-4525-AB6F-30D6AD30AB74}"/>
              </a:ext>
            </a:extLst>
          </p:cNvPr>
          <p:cNvSpPr/>
          <p:nvPr/>
        </p:nvSpPr>
        <p:spPr>
          <a:xfrm>
            <a:off x="6959659" y="3226323"/>
            <a:ext cx="100315" cy="122395"/>
          </a:xfrm>
          <a:prstGeom prst="rect">
            <a:avLst/>
          </a:prstGeom>
          <a:solidFill>
            <a:srgbClr val="E38A5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000"/>
          </a:p>
        </p:txBody>
      </p:sp>
      <p:sp>
        <p:nvSpPr>
          <p:cNvPr id="104" name="Rechthoek 103">
            <a:extLst>
              <a:ext uri="{FF2B5EF4-FFF2-40B4-BE49-F238E27FC236}">
                <a16:creationId xmlns:a16="http://schemas.microsoft.com/office/drawing/2014/main" id="{568B1180-E1BA-4D5C-8F03-10AF41CC52AE}"/>
              </a:ext>
            </a:extLst>
          </p:cNvPr>
          <p:cNvSpPr/>
          <p:nvPr/>
        </p:nvSpPr>
        <p:spPr>
          <a:xfrm>
            <a:off x="7121381" y="3244313"/>
            <a:ext cx="100315" cy="122395"/>
          </a:xfrm>
          <a:prstGeom prst="rect">
            <a:avLst/>
          </a:prstGeom>
          <a:solidFill>
            <a:srgbClr val="E38A5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000"/>
          </a:p>
        </p:txBody>
      </p:sp>
      <p:sp>
        <p:nvSpPr>
          <p:cNvPr id="105" name="Rechthoek 104">
            <a:extLst>
              <a:ext uri="{FF2B5EF4-FFF2-40B4-BE49-F238E27FC236}">
                <a16:creationId xmlns:a16="http://schemas.microsoft.com/office/drawing/2014/main" id="{9A981E66-4E05-4D9C-B3D3-1BF49E363B5A}"/>
              </a:ext>
            </a:extLst>
          </p:cNvPr>
          <p:cNvSpPr/>
          <p:nvPr/>
        </p:nvSpPr>
        <p:spPr>
          <a:xfrm>
            <a:off x="5377863" y="2509308"/>
            <a:ext cx="177864" cy="120725"/>
          </a:xfrm>
          <a:prstGeom prst="rect">
            <a:avLst/>
          </a:prstGeom>
          <a:solidFill>
            <a:srgbClr val="FFE6A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000"/>
          </a:p>
        </p:txBody>
      </p:sp>
      <p:sp>
        <p:nvSpPr>
          <p:cNvPr id="106" name="Rechthoek 105">
            <a:extLst>
              <a:ext uri="{FF2B5EF4-FFF2-40B4-BE49-F238E27FC236}">
                <a16:creationId xmlns:a16="http://schemas.microsoft.com/office/drawing/2014/main" id="{A3D57987-26D0-4407-85DA-FBF144B3EB52}"/>
              </a:ext>
            </a:extLst>
          </p:cNvPr>
          <p:cNvSpPr/>
          <p:nvPr/>
        </p:nvSpPr>
        <p:spPr>
          <a:xfrm>
            <a:off x="5044012" y="3163816"/>
            <a:ext cx="100555" cy="120725"/>
          </a:xfrm>
          <a:prstGeom prst="rect">
            <a:avLst/>
          </a:prstGeom>
          <a:solidFill>
            <a:srgbClr val="FFE6A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000"/>
          </a:p>
        </p:txBody>
      </p:sp>
      <p:sp>
        <p:nvSpPr>
          <p:cNvPr id="107" name="Rechthoek 106">
            <a:extLst>
              <a:ext uri="{FF2B5EF4-FFF2-40B4-BE49-F238E27FC236}">
                <a16:creationId xmlns:a16="http://schemas.microsoft.com/office/drawing/2014/main" id="{122D2E12-C103-475F-BC1D-BE7A849E76F2}"/>
              </a:ext>
            </a:extLst>
          </p:cNvPr>
          <p:cNvSpPr/>
          <p:nvPr/>
        </p:nvSpPr>
        <p:spPr>
          <a:xfrm>
            <a:off x="5245860" y="3153080"/>
            <a:ext cx="100555" cy="120725"/>
          </a:xfrm>
          <a:prstGeom prst="rect">
            <a:avLst/>
          </a:prstGeom>
          <a:solidFill>
            <a:srgbClr val="FFE6A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000"/>
          </a:p>
        </p:txBody>
      </p:sp>
      <p:sp>
        <p:nvSpPr>
          <p:cNvPr id="108" name="Rechthoek 107">
            <a:extLst>
              <a:ext uri="{FF2B5EF4-FFF2-40B4-BE49-F238E27FC236}">
                <a16:creationId xmlns:a16="http://schemas.microsoft.com/office/drawing/2014/main" id="{C86C4974-BA7A-47D4-BB93-958747E70602}"/>
              </a:ext>
            </a:extLst>
          </p:cNvPr>
          <p:cNvSpPr/>
          <p:nvPr/>
        </p:nvSpPr>
        <p:spPr>
          <a:xfrm>
            <a:off x="4796399" y="3130230"/>
            <a:ext cx="100555" cy="120725"/>
          </a:xfrm>
          <a:prstGeom prst="rect">
            <a:avLst/>
          </a:prstGeom>
          <a:solidFill>
            <a:srgbClr val="FFE6A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000"/>
          </a:p>
        </p:txBody>
      </p:sp>
      <p:sp>
        <p:nvSpPr>
          <p:cNvPr id="109" name="Rechthoek 108">
            <a:extLst>
              <a:ext uri="{FF2B5EF4-FFF2-40B4-BE49-F238E27FC236}">
                <a16:creationId xmlns:a16="http://schemas.microsoft.com/office/drawing/2014/main" id="{A014D36C-378C-48CB-828D-1430B5C2ABE9}"/>
              </a:ext>
            </a:extLst>
          </p:cNvPr>
          <p:cNvSpPr/>
          <p:nvPr/>
        </p:nvSpPr>
        <p:spPr>
          <a:xfrm>
            <a:off x="4520179" y="3160625"/>
            <a:ext cx="100555" cy="120725"/>
          </a:xfrm>
          <a:prstGeom prst="rect">
            <a:avLst/>
          </a:prstGeom>
          <a:solidFill>
            <a:srgbClr val="FFE6A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000"/>
          </a:p>
        </p:txBody>
      </p:sp>
      <p:sp>
        <p:nvSpPr>
          <p:cNvPr id="110" name="Rechthoek 109">
            <a:extLst>
              <a:ext uri="{FF2B5EF4-FFF2-40B4-BE49-F238E27FC236}">
                <a16:creationId xmlns:a16="http://schemas.microsoft.com/office/drawing/2014/main" id="{6D9B79EC-46AD-4AB6-93C7-B1F5EDEE8406}"/>
              </a:ext>
            </a:extLst>
          </p:cNvPr>
          <p:cNvSpPr/>
          <p:nvPr/>
        </p:nvSpPr>
        <p:spPr>
          <a:xfrm>
            <a:off x="4295817" y="3167134"/>
            <a:ext cx="100555" cy="120725"/>
          </a:xfrm>
          <a:prstGeom prst="rect">
            <a:avLst/>
          </a:prstGeom>
          <a:solidFill>
            <a:srgbClr val="FFE6A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000"/>
          </a:p>
        </p:txBody>
      </p:sp>
      <p:sp>
        <p:nvSpPr>
          <p:cNvPr id="111" name="Rechthoek 110">
            <a:extLst>
              <a:ext uri="{FF2B5EF4-FFF2-40B4-BE49-F238E27FC236}">
                <a16:creationId xmlns:a16="http://schemas.microsoft.com/office/drawing/2014/main" id="{C679D0A6-6685-474A-91E0-C83DFF041FD4}"/>
              </a:ext>
            </a:extLst>
          </p:cNvPr>
          <p:cNvSpPr/>
          <p:nvPr/>
        </p:nvSpPr>
        <p:spPr>
          <a:xfrm>
            <a:off x="4270759" y="3159726"/>
            <a:ext cx="100555" cy="120725"/>
          </a:xfrm>
          <a:prstGeom prst="rect">
            <a:avLst/>
          </a:prstGeom>
          <a:solidFill>
            <a:srgbClr val="FFE6A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000"/>
          </a:p>
        </p:txBody>
      </p:sp>
      <p:sp>
        <p:nvSpPr>
          <p:cNvPr id="112" name="Rechthoek 111">
            <a:extLst>
              <a:ext uri="{FF2B5EF4-FFF2-40B4-BE49-F238E27FC236}">
                <a16:creationId xmlns:a16="http://schemas.microsoft.com/office/drawing/2014/main" id="{98E2B1FB-FE8D-4BDF-A487-2877C4DCFB7D}"/>
              </a:ext>
            </a:extLst>
          </p:cNvPr>
          <p:cNvSpPr/>
          <p:nvPr/>
        </p:nvSpPr>
        <p:spPr>
          <a:xfrm>
            <a:off x="3731780" y="3164572"/>
            <a:ext cx="100555" cy="120725"/>
          </a:xfrm>
          <a:prstGeom prst="rect">
            <a:avLst/>
          </a:prstGeom>
          <a:solidFill>
            <a:srgbClr val="FFE6A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000"/>
          </a:p>
        </p:txBody>
      </p:sp>
      <p:sp>
        <p:nvSpPr>
          <p:cNvPr id="113" name="Rechthoek 112">
            <a:extLst>
              <a:ext uri="{FF2B5EF4-FFF2-40B4-BE49-F238E27FC236}">
                <a16:creationId xmlns:a16="http://schemas.microsoft.com/office/drawing/2014/main" id="{5BB5EA2E-23A8-4954-BFE0-71E47A77A22E}"/>
              </a:ext>
            </a:extLst>
          </p:cNvPr>
          <p:cNvSpPr/>
          <p:nvPr/>
        </p:nvSpPr>
        <p:spPr>
          <a:xfrm>
            <a:off x="3567978" y="2794109"/>
            <a:ext cx="163802" cy="120725"/>
          </a:xfrm>
          <a:prstGeom prst="rect">
            <a:avLst/>
          </a:prstGeom>
          <a:solidFill>
            <a:srgbClr val="FFE6A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000"/>
          </a:p>
        </p:txBody>
      </p:sp>
      <p:sp>
        <p:nvSpPr>
          <p:cNvPr id="114" name="Rechthoek 113">
            <a:extLst>
              <a:ext uri="{FF2B5EF4-FFF2-40B4-BE49-F238E27FC236}">
                <a16:creationId xmlns:a16="http://schemas.microsoft.com/office/drawing/2014/main" id="{C4877CA9-F388-4D73-8596-4D3C239317B4}"/>
              </a:ext>
            </a:extLst>
          </p:cNvPr>
          <p:cNvSpPr/>
          <p:nvPr/>
        </p:nvSpPr>
        <p:spPr>
          <a:xfrm>
            <a:off x="3555716" y="2493614"/>
            <a:ext cx="163802" cy="120725"/>
          </a:xfrm>
          <a:prstGeom prst="rect">
            <a:avLst/>
          </a:prstGeom>
          <a:solidFill>
            <a:srgbClr val="FFE6A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000"/>
          </a:p>
        </p:txBody>
      </p:sp>
      <p:sp>
        <p:nvSpPr>
          <p:cNvPr id="115" name="Rechthoek 114">
            <a:extLst>
              <a:ext uri="{FF2B5EF4-FFF2-40B4-BE49-F238E27FC236}">
                <a16:creationId xmlns:a16="http://schemas.microsoft.com/office/drawing/2014/main" id="{6085C796-0F63-4188-9543-68DD9375D818}"/>
              </a:ext>
            </a:extLst>
          </p:cNvPr>
          <p:cNvSpPr/>
          <p:nvPr/>
        </p:nvSpPr>
        <p:spPr>
          <a:xfrm>
            <a:off x="3523925" y="2268639"/>
            <a:ext cx="163802" cy="120725"/>
          </a:xfrm>
          <a:prstGeom prst="rect">
            <a:avLst/>
          </a:prstGeom>
          <a:solidFill>
            <a:srgbClr val="FFE6A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000"/>
          </a:p>
        </p:txBody>
      </p:sp>
      <p:sp>
        <p:nvSpPr>
          <p:cNvPr id="116" name="Rechthoek 115">
            <a:extLst>
              <a:ext uri="{FF2B5EF4-FFF2-40B4-BE49-F238E27FC236}">
                <a16:creationId xmlns:a16="http://schemas.microsoft.com/office/drawing/2014/main" id="{8762E38E-7C8C-4365-AE5C-C27ED9B8C743}"/>
              </a:ext>
            </a:extLst>
          </p:cNvPr>
          <p:cNvSpPr/>
          <p:nvPr/>
        </p:nvSpPr>
        <p:spPr>
          <a:xfrm>
            <a:off x="3530780" y="2029492"/>
            <a:ext cx="163802" cy="120725"/>
          </a:xfrm>
          <a:prstGeom prst="rect">
            <a:avLst/>
          </a:prstGeom>
          <a:solidFill>
            <a:srgbClr val="FFE6A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000"/>
          </a:p>
        </p:txBody>
      </p:sp>
      <p:sp>
        <p:nvSpPr>
          <p:cNvPr id="117" name="Rechthoek 116">
            <a:extLst>
              <a:ext uri="{FF2B5EF4-FFF2-40B4-BE49-F238E27FC236}">
                <a16:creationId xmlns:a16="http://schemas.microsoft.com/office/drawing/2014/main" id="{A400512A-A136-430A-AFD3-C94DC761341A}"/>
              </a:ext>
            </a:extLst>
          </p:cNvPr>
          <p:cNvSpPr/>
          <p:nvPr/>
        </p:nvSpPr>
        <p:spPr>
          <a:xfrm>
            <a:off x="3550669" y="1790535"/>
            <a:ext cx="163802" cy="120725"/>
          </a:xfrm>
          <a:prstGeom prst="rect">
            <a:avLst/>
          </a:prstGeom>
          <a:solidFill>
            <a:srgbClr val="FFE6A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000"/>
          </a:p>
        </p:txBody>
      </p:sp>
      <p:sp>
        <p:nvSpPr>
          <p:cNvPr id="118" name="Rechthoek 117">
            <a:extLst>
              <a:ext uri="{FF2B5EF4-FFF2-40B4-BE49-F238E27FC236}">
                <a16:creationId xmlns:a16="http://schemas.microsoft.com/office/drawing/2014/main" id="{94C0301D-1D5D-464F-A85F-DFEA55DE6FA0}"/>
              </a:ext>
            </a:extLst>
          </p:cNvPr>
          <p:cNvSpPr/>
          <p:nvPr/>
        </p:nvSpPr>
        <p:spPr>
          <a:xfrm>
            <a:off x="3508620" y="1549687"/>
            <a:ext cx="163802" cy="120725"/>
          </a:xfrm>
          <a:prstGeom prst="rect">
            <a:avLst/>
          </a:prstGeom>
          <a:solidFill>
            <a:srgbClr val="FFE6A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000"/>
          </a:p>
        </p:txBody>
      </p:sp>
      <p:sp>
        <p:nvSpPr>
          <p:cNvPr id="119" name="Rechthoek 118">
            <a:extLst>
              <a:ext uri="{FF2B5EF4-FFF2-40B4-BE49-F238E27FC236}">
                <a16:creationId xmlns:a16="http://schemas.microsoft.com/office/drawing/2014/main" id="{7D8FE53A-AE59-4649-B578-5667727AAE0A}"/>
              </a:ext>
            </a:extLst>
          </p:cNvPr>
          <p:cNvSpPr/>
          <p:nvPr/>
        </p:nvSpPr>
        <p:spPr>
          <a:xfrm>
            <a:off x="3840942" y="1546575"/>
            <a:ext cx="163802" cy="120725"/>
          </a:xfrm>
          <a:prstGeom prst="rect">
            <a:avLst/>
          </a:prstGeom>
          <a:solidFill>
            <a:srgbClr val="FFE6A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000"/>
          </a:p>
        </p:txBody>
      </p:sp>
      <p:sp>
        <p:nvSpPr>
          <p:cNvPr id="120" name="Rechthoek 119">
            <a:extLst>
              <a:ext uri="{FF2B5EF4-FFF2-40B4-BE49-F238E27FC236}">
                <a16:creationId xmlns:a16="http://schemas.microsoft.com/office/drawing/2014/main" id="{2BC20663-C3CF-4B98-8700-D1C98D6D6DDA}"/>
              </a:ext>
            </a:extLst>
          </p:cNvPr>
          <p:cNvSpPr/>
          <p:nvPr/>
        </p:nvSpPr>
        <p:spPr>
          <a:xfrm>
            <a:off x="4048964" y="1545792"/>
            <a:ext cx="163802" cy="120725"/>
          </a:xfrm>
          <a:prstGeom prst="rect">
            <a:avLst/>
          </a:prstGeom>
          <a:solidFill>
            <a:srgbClr val="FFE6A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000"/>
          </a:p>
        </p:txBody>
      </p:sp>
      <p:sp>
        <p:nvSpPr>
          <p:cNvPr id="121" name="Rechthoek 120">
            <a:extLst>
              <a:ext uri="{FF2B5EF4-FFF2-40B4-BE49-F238E27FC236}">
                <a16:creationId xmlns:a16="http://schemas.microsoft.com/office/drawing/2014/main" id="{DCB684D5-C472-4F68-BCD0-3B7FB2D616C1}"/>
              </a:ext>
            </a:extLst>
          </p:cNvPr>
          <p:cNvSpPr/>
          <p:nvPr/>
        </p:nvSpPr>
        <p:spPr>
          <a:xfrm>
            <a:off x="4273930" y="1557599"/>
            <a:ext cx="163802" cy="120725"/>
          </a:xfrm>
          <a:prstGeom prst="rect">
            <a:avLst/>
          </a:prstGeom>
          <a:solidFill>
            <a:srgbClr val="FFE6A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000"/>
          </a:p>
        </p:txBody>
      </p:sp>
      <p:sp>
        <p:nvSpPr>
          <p:cNvPr id="122" name="Rechthoek 121">
            <a:extLst>
              <a:ext uri="{FF2B5EF4-FFF2-40B4-BE49-F238E27FC236}">
                <a16:creationId xmlns:a16="http://schemas.microsoft.com/office/drawing/2014/main" id="{D5D33901-77D8-416E-9643-FC1BEEDAF1E0}"/>
              </a:ext>
            </a:extLst>
          </p:cNvPr>
          <p:cNvSpPr/>
          <p:nvPr/>
        </p:nvSpPr>
        <p:spPr>
          <a:xfrm>
            <a:off x="5082058" y="1590220"/>
            <a:ext cx="163802" cy="120725"/>
          </a:xfrm>
          <a:prstGeom prst="rect">
            <a:avLst/>
          </a:prstGeom>
          <a:solidFill>
            <a:srgbClr val="FFE6A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000"/>
          </a:p>
        </p:txBody>
      </p:sp>
      <p:sp>
        <p:nvSpPr>
          <p:cNvPr id="123" name="Rechthoek 122">
            <a:extLst>
              <a:ext uri="{FF2B5EF4-FFF2-40B4-BE49-F238E27FC236}">
                <a16:creationId xmlns:a16="http://schemas.microsoft.com/office/drawing/2014/main" id="{0448E1D6-7448-4EB8-BBA5-C9744ADA7D02}"/>
              </a:ext>
            </a:extLst>
          </p:cNvPr>
          <p:cNvSpPr/>
          <p:nvPr/>
        </p:nvSpPr>
        <p:spPr>
          <a:xfrm>
            <a:off x="5477542" y="1747304"/>
            <a:ext cx="125670" cy="108908"/>
          </a:xfrm>
          <a:prstGeom prst="rect">
            <a:avLst/>
          </a:prstGeom>
          <a:solidFill>
            <a:srgbClr val="FFE6A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000"/>
          </a:p>
        </p:txBody>
      </p:sp>
      <p:sp>
        <p:nvSpPr>
          <p:cNvPr id="124" name="Rechthoek 123">
            <a:extLst>
              <a:ext uri="{FF2B5EF4-FFF2-40B4-BE49-F238E27FC236}">
                <a16:creationId xmlns:a16="http://schemas.microsoft.com/office/drawing/2014/main" id="{CBA8D9AC-E79C-4F8A-8024-867CF90B770F}"/>
              </a:ext>
            </a:extLst>
          </p:cNvPr>
          <p:cNvSpPr/>
          <p:nvPr/>
        </p:nvSpPr>
        <p:spPr>
          <a:xfrm>
            <a:off x="5406745" y="1961324"/>
            <a:ext cx="125670" cy="108908"/>
          </a:xfrm>
          <a:prstGeom prst="rect">
            <a:avLst/>
          </a:prstGeom>
          <a:solidFill>
            <a:srgbClr val="FFE6A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000"/>
          </a:p>
        </p:txBody>
      </p:sp>
      <p:sp>
        <p:nvSpPr>
          <p:cNvPr id="125" name="Rechthoek 124">
            <a:extLst>
              <a:ext uri="{FF2B5EF4-FFF2-40B4-BE49-F238E27FC236}">
                <a16:creationId xmlns:a16="http://schemas.microsoft.com/office/drawing/2014/main" id="{13A5F297-8FCC-47C3-A8DB-A0C5FF71B630}"/>
              </a:ext>
            </a:extLst>
          </p:cNvPr>
          <p:cNvSpPr/>
          <p:nvPr/>
        </p:nvSpPr>
        <p:spPr>
          <a:xfrm>
            <a:off x="5402615" y="2137981"/>
            <a:ext cx="125670" cy="108908"/>
          </a:xfrm>
          <a:prstGeom prst="rect">
            <a:avLst/>
          </a:prstGeom>
          <a:solidFill>
            <a:srgbClr val="FFE6A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000"/>
          </a:p>
        </p:txBody>
      </p:sp>
      <p:sp>
        <p:nvSpPr>
          <p:cNvPr id="126" name="Rechthoek 125">
            <a:extLst>
              <a:ext uri="{FF2B5EF4-FFF2-40B4-BE49-F238E27FC236}">
                <a16:creationId xmlns:a16="http://schemas.microsoft.com/office/drawing/2014/main" id="{1F1B3B26-C092-4D55-9E7E-960CB2D66213}"/>
              </a:ext>
            </a:extLst>
          </p:cNvPr>
          <p:cNvSpPr/>
          <p:nvPr/>
        </p:nvSpPr>
        <p:spPr>
          <a:xfrm>
            <a:off x="4184189" y="5522933"/>
            <a:ext cx="253544" cy="224067"/>
          </a:xfrm>
          <a:prstGeom prst="rect">
            <a:avLst/>
          </a:prstGeom>
          <a:solidFill>
            <a:srgbClr val="26979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000"/>
          </a:p>
        </p:txBody>
      </p:sp>
      <p:sp>
        <p:nvSpPr>
          <p:cNvPr id="127" name="Rechthoek 126">
            <a:extLst>
              <a:ext uri="{FF2B5EF4-FFF2-40B4-BE49-F238E27FC236}">
                <a16:creationId xmlns:a16="http://schemas.microsoft.com/office/drawing/2014/main" id="{4E8FF33D-C485-448D-BFF0-5384E180255F}"/>
              </a:ext>
            </a:extLst>
          </p:cNvPr>
          <p:cNvSpPr/>
          <p:nvPr/>
        </p:nvSpPr>
        <p:spPr>
          <a:xfrm>
            <a:off x="3612681" y="5440200"/>
            <a:ext cx="177137" cy="216457"/>
          </a:xfrm>
          <a:prstGeom prst="rect">
            <a:avLst/>
          </a:prstGeom>
          <a:solidFill>
            <a:srgbClr val="26979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000"/>
          </a:p>
        </p:txBody>
      </p:sp>
      <p:sp>
        <p:nvSpPr>
          <p:cNvPr id="128" name="Rechthoek 127">
            <a:extLst>
              <a:ext uri="{FF2B5EF4-FFF2-40B4-BE49-F238E27FC236}">
                <a16:creationId xmlns:a16="http://schemas.microsoft.com/office/drawing/2014/main" id="{05D0E883-4A8C-4BDE-98C0-A95A84378CD6}"/>
              </a:ext>
            </a:extLst>
          </p:cNvPr>
          <p:cNvSpPr/>
          <p:nvPr/>
        </p:nvSpPr>
        <p:spPr>
          <a:xfrm>
            <a:off x="7326625" y="5505678"/>
            <a:ext cx="177137" cy="216457"/>
          </a:xfrm>
          <a:prstGeom prst="rect">
            <a:avLst/>
          </a:prstGeom>
          <a:solidFill>
            <a:srgbClr val="EE47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000"/>
          </a:p>
        </p:txBody>
      </p:sp>
      <p:sp>
        <p:nvSpPr>
          <p:cNvPr id="133" name="Rechthoek 132">
            <a:extLst>
              <a:ext uri="{FF2B5EF4-FFF2-40B4-BE49-F238E27FC236}">
                <a16:creationId xmlns:a16="http://schemas.microsoft.com/office/drawing/2014/main" id="{B7AB13F5-CCDC-41DB-9D50-6722FCA25BF7}"/>
              </a:ext>
            </a:extLst>
          </p:cNvPr>
          <p:cNvSpPr/>
          <p:nvPr/>
        </p:nvSpPr>
        <p:spPr>
          <a:xfrm>
            <a:off x="3749674" y="3174847"/>
            <a:ext cx="4278009" cy="531529"/>
          </a:xfrm>
          <a:prstGeom prst="rect">
            <a:avLst/>
          </a:prstGeom>
          <a:solidFill>
            <a:schemeClr val="accent3">
              <a:lumMod val="40000"/>
              <a:lumOff val="60000"/>
              <a:alpha val="80000"/>
            </a:schemeClr>
          </a:solidFill>
          <a:ln w="28575">
            <a:solidFill>
              <a:schemeClr val="accent3">
                <a:lumMod val="50000"/>
              </a:schemeClr>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2800" b="1">
                <a:solidFill>
                  <a:schemeClr val="accent3">
                    <a:lumMod val="50000"/>
                  </a:schemeClr>
                </a:solidFill>
                <a:highlight>
                  <a:srgbClr val="90D5AC"/>
                </a:highlight>
                <a:latin typeface="+mj-lt"/>
              </a:rPr>
              <a:t>7,7</a:t>
            </a:r>
          </a:p>
        </p:txBody>
      </p:sp>
      <p:sp>
        <p:nvSpPr>
          <p:cNvPr id="137" name="Rechthoek 136">
            <a:extLst>
              <a:ext uri="{FF2B5EF4-FFF2-40B4-BE49-F238E27FC236}">
                <a16:creationId xmlns:a16="http://schemas.microsoft.com/office/drawing/2014/main" id="{C7747582-FF56-443E-8453-8B02B0AF367B}"/>
              </a:ext>
            </a:extLst>
          </p:cNvPr>
          <p:cNvSpPr/>
          <p:nvPr/>
        </p:nvSpPr>
        <p:spPr>
          <a:xfrm>
            <a:off x="3157766" y="1151047"/>
            <a:ext cx="4168859" cy="491301"/>
          </a:xfrm>
          <a:prstGeom prst="rect">
            <a:avLst/>
          </a:prstGeom>
          <a:solidFill>
            <a:schemeClr val="accent4">
              <a:lumMod val="40000"/>
              <a:lumOff val="60000"/>
              <a:alpha val="80000"/>
            </a:schemeClr>
          </a:solidFill>
          <a:ln w="28575">
            <a:solidFill>
              <a:schemeClr val="accent6">
                <a:lumMod val="50000"/>
              </a:schemeClr>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2800" b="1">
                <a:solidFill>
                  <a:schemeClr val="accent4">
                    <a:lumMod val="75000"/>
                  </a:schemeClr>
                </a:solidFill>
                <a:highlight>
                  <a:srgbClr val="E06F69"/>
                </a:highlight>
                <a:latin typeface="+mj-lt"/>
              </a:rPr>
              <a:t>4,3</a:t>
            </a:r>
          </a:p>
        </p:txBody>
      </p:sp>
      <p:sp>
        <p:nvSpPr>
          <p:cNvPr id="138" name="Rechthoek 137">
            <a:extLst>
              <a:ext uri="{FF2B5EF4-FFF2-40B4-BE49-F238E27FC236}">
                <a16:creationId xmlns:a16="http://schemas.microsoft.com/office/drawing/2014/main" id="{5B62469F-F54D-4F87-B35C-BEFD8C9543B4}"/>
              </a:ext>
            </a:extLst>
          </p:cNvPr>
          <p:cNvSpPr/>
          <p:nvPr/>
        </p:nvSpPr>
        <p:spPr>
          <a:xfrm>
            <a:off x="5396437" y="1700172"/>
            <a:ext cx="742250" cy="1368906"/>
          </a:xfrm>
          <a:prstGeom prst="rect">
            <a:avLst/>
          </a:prstGeom>
          <a:solidFill>
            <a:schemeClr val="accent4">
              <a:lumMod val="40000"/>
              <a:lumOff val="60000"/>
            </a:schemeClr>
          </a:solidFill>
          <a:ln w="28575">
            <a:solidFill>
              <a:schemeClr val="accent6">
                <a:lumMod val="50000"/>
              </a:schemeClr>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2800" b="1">
                <a:solidFill>
                  <a:schemeClr val="accent4">
                    <a:lumMod val="75000"/>
                  </a:schemeClr>
                </a:solidFill>
                <a:highlight>
                  <a:srgbClr val="E06F69"/>
                </a:highlight>
                <a:latin typeface="+mj-lt"/>
              </a:rPr>
              <a:t>5,2</a:t>
            </a:r>
          </a:p>
        </p:txBody>
      </p:sp>
      <p:sp>
        <p:nvSpPr>
          <p:cNvPr id="140" name="Rechthoek 139">
            <a:extLst>
              <a:ext uri="{FF2B5EF4-FFF2-40B4-BE49-F238E27FC236}">
                <a16:creationId xmlns:a16="http://schemas.microsoft.com/office/drawing/2014/main" id="{312DBA5A-7145-45FB-AFFB-DDDE6CF8C3F5}"/>
              </a:ext>
            </a:extLst>
          </p:cNvPr>
          <p:cNvSpPr/>
          <p:nvPr/>
        </p:nvSpPr>
        <p:spPr>
          <a:xfrm>
            <a:off x="1151044" y="6358579"/>
            <a:ext cx="1280458" cy="51426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000"/>
          </a:p>
        </p:txBody>
      </p:sp>
      <p:sp>
        <p:nvSpPr>
          <p:cNvPr id="151" name="Rechthoek 150">
            <a:extLst>
              <a:ext uri="{FF2B5EF4-FFF2-40B4-BE49-F238E27FC236}">
                <a16:creationId xmlns:a16="http://schemas.microsoft.com/office/drawing/2014/main" id="{5F93BE51-79C2-4616-8712-EF223E2DE7CF}"/>
              </a:ext>
            </a:extLst>
          </p:cNvPr>
          <p:cNvSpPr/>
          <p:nvPr/>
        </p:nvSpPr>
        <p:spPr>
          <a:xfrm>
            <a:off x="5540377" y="3719651"/>
            <a:ext cx="338398" cy="139838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000" b="1">
              <a:solidFill>
                <a:schemeClr val="accent3">
                  <a:lumMod val="50000"/>
                </a:schemeClr>
              </a:solidFill>
              <a:latin typeface="+mj-lt"/>
            </a:endParaRPr>
          </a:p>
        </p:txBody>
      </p:sp>
      <p:sp>
        <p:nvSpPr>
          <p:cNvPr id="152" name="Rechthoek 151">
            <a:extLst>
              <a:ext uri="{FF2B5EF4-FFF2-40B4-BE49-F238E27FC236}">
                <a16:creationId xmlns:a16="http://schemas.microsoft.com/office/drawing/2014/main" id="{DF5D6C11-84DD-4034-BDF8-5C4018463E81}"/>
              </a:ext>
            </a:extLst>
          </p:cNvPr>
          <p:cNvSpPr/>
          <p:nvPr/>
        </p:nvSpPr>
        <p:spPr>
          <a:xfrm>
            <a:off x="6790460" y="5161125"/>
            <a:ext cx="795945" cy="2595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000" b="1">
              <a:solidFill>
                <a:schemeClr val="accent3">
                  <a:lumMod val="50000"/>
                </a:schemeClr>
              </a:solidFill>
              <a:latin typeface="+mj-lt"/>
            </a:endParaRPr>
          </a:p>
        </p:txBody>
      </p:sp>
      <p:sp>
        <p:nvSpPr>
          <p:cNvPr id="153" name="Rechthoek 152">
            <a:extLst>
              <a:ext uri="{FF2B5EF4-FFF2-40B4-BE49-F238E27FC236}">
                <a16:creationId xmlns:a16="http://schemas.microsoft.com/office/drawing/2014/main" id="{ACC482B2-6475-4F8B-813A-0CFD7BB0271E}"/>
              </a:ext>
            </a:extLst>
          </p:cNvPr>
          <p:cNvSpPr/>
          <p:nvPr/>
        </p:nvSpPr>
        <p:spPr>
          <a:xfrm>
            <a:off x="7716304" y="4905217"/>
            <a:ext cx="1153914" cy="30388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000" b="1">
              <a:solidFill>
                <a:schemeClr val="accent3">
                  <a:lumMod val="50000"/>
                </a:schemeClr>
              </a:solidFill>
              <a:latin typeface="+mj-lt"/>
            </a:endParaRPr>
          </a:p>
        </p:txBody>
      </p:sp>
      <p:sp>
        <p:nvSpPr>
          <p:cNvPr id="154" name="Rechthoek 153">
            <a:extLst>
              <a:ext uri="{FF2B5EF4-FFF2-40B4-BE49-F238E27FC236}">
                <a16:creationId xmlns:a16="http://schemas.microsoft.com/office/drawing/2014/main" id="{63CB879A-14AF-4222-9FF0-D86C01B4BBFF}"/>
              </a:ext>
            </a:extLst>
          </p:cNvPr>
          <p:cNvSpPr/>
          <p:nvPr/>
        </p:nvSpPr>
        <p:spPr>
          <a:xfrm rot="19919368">
            <a:off x="8704828" y="4913018"/>
            <a:ext cx="298352" cy="4191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000" b="1">
              <a:solidFill>
                <a:schemeClr val="accent3">
                  <a:lumMod val="50000"/>
                </a:schemeClr>
              </a:solidFill>
              <a:latin typeface="+mj-lt"/>
            </a:endParaRPr>
          </a:p>
        </p:txBody>
      </p:sp>
      <p:sp>
        <p:nvSpPr>
          <p:cNvPr id="155" name="Rechthoek 154">
            <a:extLst>
              <a:ext uri="{FF2B5EF4-FFF2-40B4-BE49-F238E27FC236}">
                <a16:creationId xmlns:a16="http://schemas.microsoft.com/office/drawing/2014/main" id="{C8FC1C77-2783-46A8-99AC-1048F9ADB174}"/>
              </a:ext>
            </a:extLst>
          </p:cNvPr>
          <p:cNvSpPr/>
          <p:nvPr/>
        </p:nvSpPr>
        <p:spPr>
          <a:xfrm rot="20768558">
            <a:off x="8846030" y="5201366"/>
            <a:ext cx="298352" cy="4191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000" b="1">
              <a:solidFill>
                <a:schemeClr val="accent3">
                  <a:lumMod val="50000"/>
                </a:schemeClr>
              </a:solidFill>
              <a:latin typeface="+mj-lt"/>
            </a:endParaRPr>
          </a:p>
        </p:txBody>
      </p:sp>
      <p:sp>
        <p:nvSpPr>
          <p:cNvPr id="156" name="Rechthoek 155">
            <a:extLst>
              <a:ext uri="{FF2B5EF4-FFF2-40B4-BE49-F238E27FC236}">
                <a16:creationId xmlns:a16="http://schemas.microsoft.com/office/drawing/2014/main" id="{359EA4BD-D957-4E4E-9249-7CC25B1590F2}"/>
              </a:ext>
            </a:extLst>
          </p:cNvPr>
          <p:cNvSpPr/>
          <p:nvPr/>
        </p:nvSpPr>
        <p:spPr>
          <a:xfrm>
            <a:off x="7178711" y="5152872"/>
            <a:ext cx="848972" cy="20096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000" b="1">
              <a:solidFill>
                <a:schemeClr val="accent3">
                  <a:lumMod val="50000"/>
                </a:schemeClr>
              </a:solidFill>
              <a:latin typeface="+mj-lt"/>
            </a:endParaRPr>
          </a:p>
        </p:txBody>
      </p:sp>
      <p:sp>
        <p:nvSpPr>
          <p:cNvPr id="157" name="Rechthoek 156">
            <a:extLst>
              <a:ext uri="{FF2B5EF4-FFF2-40B4-BE49-F238E27FC236}">
                <a16:creationId xmlns:a16="http://schemas.microsoft.com/office/drawing/2014/main" id="{3B1A04B0-858A-4311-9F8C-01018D51B8C5}"/>
              </a:ext>
            </a:extLst>
          </p:cNvPr>
          <p:cNvSpPr/>
          <p:nvPr/>
        </p:nvSpPr>
        <p:spPr>
          <a:xfrm>
            <a:off x="7479611" y="5246574"/>
            <a:ext cx="494209" cy="12767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000" b="1">
              <a:solidFill>
                <a:schemeClr val="accent3">
                  <a:lumMod val="50000"/>
                </a:schemeClr>
              </a:solidFill>
              <a:latin typeface="+mj-lt"/>
            </a:endParaRPr>
          </a:p>
        </p:txBody>
      </p:sp>
      <p:sp>
        <p:nvSpPr>
          <p:cNvPr id="158" name="Rechthoek 157">
            <a:extLst>
              <a:ext uri="{FF2B5EF4-FFF2-40B4-BE49-F238E27FC236}">
                <a16:creationId xmlns:a16="http://schemas.microsoft.com/office/drawing/2014/main" id="{E3A3AD81-CC20-4E04-9A85-ED375941657C}"/>
              </a:ext>
            </a:extLst>
          </p:cNvPr>
          <p:cNvSpPr/>
          <p:nvPr/>
        </p:nvSpPr>
        <p:spPr>
          <a:xfrm rot="20618024">
            <a:off x="7968594" y="5141894"/>
            <a:ext cx="615383" cy="13572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000" b="1">
              <a:solidFill>
                <a:schemeClr val="accent3">
                  <a:lumMod val="50000"/>
                </a:schemeClr>
              </a:solidFill>
              <a:latin typeface="+mj-lt"/>
            </a:endParaRPr>
          </a:p>
        </p:txBody>
      </p:sp>
      <p:sp>
        <p:nvSpPr>
          <p:cNvPr id="135" name="Rechthoek 134">
            <a:extLst>
              <a:ext uri="{FF2B5EF4-FFF2-40B4-BE49-F238E27FC236}">
                <a16:creationId xmlns:a16="http://schemas.microsoft.com/office/drawing/2014/main" id="{C10BAD22-E529-4445-A526-3425AF30633F}"/>
              </a:ext>
            </a:extLst>
          </p:cNvPr>
          <p:cNvSpPr/>
          <p:nvPr/>
        </p:nvSpPr>
        <p:spPr>
          <a:xfrm>
            <a:off x="3423963" y="4938950"/>
            <a:ext cx="4194554" cy="491301"/>
          </a:xfrm>
          <a:prstGeom prst="rect">
            <a:avLst/>
          </a:prstGeom>
          <a:solidFill>
            <a:schemeClr val="accent4">
              <a:lumMod val="40000"/>
              <a:lumOff val="60000"/>
            </a:schemeClr>
          </a:solidFill>
          <a:ln w="28575">
            <a:solidFill>
              <a:schemeClr val="accent6">
                <a:lumMod val="50000"/>
              </a:schemeClr>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2800" b="1">
                <a:solidFill>
                  <a:schemeClr val="accent4">
                    <a:lumMod val="75000"/>
                  </a:schemeClr>
                </a:solidFill>
                <a:highlight>
                  <a:srgbClr val="E06F69"/>
                </a:highlight>
                <a:latin typeface="+mj-lt"/>
              </a:rPr>
              <a:t>4,9</a:t>
            </a:r>
          </a:p>
        </p:txBody>
      </p:sp>
      <p:sp>
        <p:nvSpPr>
          <p:cNvPr id="132" name="Rechthoek 131">
            <a:extLst>
              <a:ext uri="{FF2B5EF4-FFF2-40B4-BE49-F238E27FC236}">
                <a16:creationId xmlns:a16="http://schemas.microsoft.com/office/drawing/2014/main" id="{7A048950-089E-4A00-9D91-107FB86F70E4}"/>
              </a:ext>
            </a:extLst>
          </p:cNvPr>
          <p:cNvSpPr/>
          <p:nvPr/>
        </p:nvSpPr>
        <p:spPr>
          <a:xfrm>
            <a:off x="7699859" y="3764224"/>
            <a:ext cx="1693595" cy="1615539"/>
          </a:xfrm>
          <a:prstGeom prst="rect">
            <a:avLst/>
          </a:prstGeom>
          <a:solidFill>
            <a:schemeClr val="accent3">
              <a:lumMod val="40000"/>
              <a:lumOff val="60000"/>
              <a:alpha val="80000"/>
            </a:schemeClr>
          </a:solidFill>
          <a:ln w="28575">
            <a:solidFill>
              <a:schemeClr val="accent3">
                <a:lumMod val="50000"/>
              </a:schemeClr>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2800" b="1">
                <a:solidFill>
                  <a:schemeClr val="accent3">
                    <a:lumMod val="50000"/>
                  </a:schemeClr>
                </a:solidFill>
                <a:highlight>
                  <a:srgbClr val="90D5AC"/>
                </a:highlight>
                <a:latin typeface="+mj-lt"/>
              </a:rPr>
              <a:t>7,7</a:t>
            </a:r>
          </a:p>
        </p:txBody>
      </p:sp>
      <p:sp>
        <p:nvSpPr>
          <p:cNvPr id="131" name="Rechthoek 130">
            <a:extLst>
              <a:ext uri="{FF2B5EF4-FFF2-40B4-BE49-F238E27FC236}">
                <a16:creationId xmlns:a16="http://schemas.microsoft.com/office/drawing/2014/main" id="{F66F73D0-8CEB-43C2-8931-EC4A8CF3E2B8}"/>
              </a:ext>
            </a:extLst>
          </p:cNvPr>
          <p:cNvSpPr/>
          <p:nvPr/>
        </p:nvSpPr>
        <p:spPr>
          <a:xfrm>
            <a:off x="5185881" y="3760254"/>
            <a:ext cx="1021430" cy="1134083"/>
          </a:xfrm>
          <a:prstGeom prst="rect">
            <a:avLst/>
          </a:prstGeom>
          <a:solidFill>
            <a:schemeClr val="accent3">
              <a:lumMod val="40000"/>
              <a:lumOff val="60000"/>
              <a:alpha val="80000"/>
            </a:schemeClr>
          </a:solidFill>
          <a:ln w="28575">
            <a:solidFill>
              <a:schemeClr val="accent3">
                <a:lumMod val="50000"/>
              </a:schemeClr>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2800" b="1">
                <a:solidFill>
                  <a:schemeClr val="accent3">
                    <a:lumMod val="50000"/>
                  </a:schemeClr>
                </a:solidFill>
                <a:highlight>
                  <a:srgbClr val="90D5AC"/>
                </a:highlight>
                <a:latin typeface="+mj-lt"/>
              </a:rPr>
              <a:t>7,5</a:t>
            </a:r>
          </a:p>
        </p:txBody>
      </p:sp>
      <p:sp>
        <p:nvSpPr>
          <p:cNvPr id="2" name="Rechthoek 1">
            <a:extLst>
              <a:ext uri="{FF2B5EF4-FFF2-40B4-BE49-F238E27FC236}">
                <a16:creationId xmlns:a16="http://schemas.microsoft.com/office/drawing/2014/main" id="{07560EE1-9A6D-44A6-93B9-08D29BF39660}"/>
              </a:ext>
            </a:extLst>
          </p:cNvPr>
          <p:cNvSpPr/>
          <p:nvPr/>
        </p:nvSpPr>
        <p:spPr>
          <a:xfrm>
            <a:off x="933450" y="500620"/>
            <a:ext cx="10401300" cy="32152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30" name="Tekstvak 129">
            <a:extLst>
              <a:ext uri="{FF2B5EF4-FFF2-40B4-BE49-F238E27FC236}">
                <a16:creationId xmlns:a16="http://schemas.microsoft.com/office/drawing/2014/main" id="{6C5D1D61-4CEA-47C5-8147-B58F9DCE9A8F}"/>
              </a:ext>
            </a:extLst>
          </p:cNvPr>
          <p:cNvSpPr txBox="1"/>
          <p:nvPr/>
        </p:nvSpPr>
        <p:spPr>
          <a:xfrm>
            <a:off x="660603" y="271464"/>
            <a:ext cx="11340897" cy="502702"/>
          </a:xfrm>
          <a:prstGeom prst="rect">
            <a:avLst/>
          </a:prstGeom>
          <a:noFill/>
        </p:spPr>
        <p:txBody>
          <a:bodyPr wrap="square">
            <a:spAutoFit/>
          </a:bodyPr>
          <a:lstStyle/>
          <a:p>
            <a:pPr algn="ctr">
              <a:lnSpc>
                <a:spcPts val="3200"/>
              </a:lnSpc>
            </a:pPr>
            <a:r>
              <a:rPr lang="nl-NL" sz="3000" b="1" dirty="0">
                <a:solidFill>
                  <a:srgbClr val="62366E"/>
                </a:solidFill>
                <a:latin typeface="Open Sans"/>
              </a:rPr>
              <a:t>Oordeel op kwaliteit, uitstraling per deelgebied </a:t>
            </a:r>
            <a:endParaRPr lang="nl-NL" sz="2000" b="1" dirty="0">
              <a:solidFill>
                <a:schemeClr val="accent3"/>
              </a:solidFill>
              <a:latin typeface="Open Sans"/>
            </a:endParaRPr>
          </a:p>
        </p:txBody>
      </p:sp>
      <p:sp>
        <p:nvSpPr>
          <p:cNvPr id="174" name="Rechthoek 173">
            <a:extLst>
              <a:ext uri="{FF2B5EF4-FFF2-40B4-BE49-F238E27FC236}">
                <a16:creationId xmlns:a16="http://schemas.microsoft.com/office/drawing/2014/main" id="{1218611D-7F78-4942-BA0F-D62791A81DA2}"/>
              </a:ext>
            </a:extLst>
          </p:cNvPr>
          <p:cNvSpPr/>
          <p:nvPr/>
        </p:nvSpPr>
        <p:spPr>
          <a:xfrm>
            <a:off x="1316678" y="663431"/>
            <a:ext cx="9799219" cy="1719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6" name="Rechthoek 25">
            <a:extLst>
              <a:ext uri="{FF2B5EF4-FFF2-40B4-BE49-F238E27FC236}">
                <a16:creationId xmlns:a16="http://schemas.microsoft.com/office/drawing/2014/main" id="{3FB1E9D9-5A7C-4027-A395-515775A3E4F3}"/>
              </a:ext>
            </a:extLst>
          </p:cNvPr>
          <p:cNvSpPr/>
          <p:nvPr/>
        </p:nvSpPr>
        <p:spPr>
          <a:xfrm>
            <a:off x="1662902" y="2694791"/>
            <a:ext cx="202250" cy="132712"/>
          </a:xfrm>
          <a:prstGeom prst="rect">
            <a:avLst/>
          </a:prstGeom>
          <a:solidFill>
            <a:srgbClr val="F9B19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000"/>
          </a:p>
        </p:txBody>
      </p:sp>
      <p:sp>
        <p:nvSpPr>
          <p:cNvPr id="27" name="Rechthoek 26">
            <a:extLst>
              <a:ext uri="{FF2B5EF4-FFF2-40B4-BE49-F238E27FC236}">
                <a16:creationId xmlns:a16="http://schemas.microsoft.com/office/drawing/2014/main" id="{F49A673F-6347-4C0E-A79C-A6C4A4E8EDDF}"/>
              </a:ext>
            </a:extLst>
          </p:cNvPr>
          <p:cNvSpPr/>
          <p:nvPr/>
        </p:nvSpPr>
        <p:spPr>
          <a:xfrm>
            <a:off x="2630470" y="2530340"/>
            <a:ext cx="202250" cy="132712"/>
          </a:xfrm>
          <a:prstGeom prst="rect">
            <a:avLst/>
          </a:prstGeom>
          <a:solidFill>
            <a:srgbClr val="F9B19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000"/>
          </a:p>
        </p:txBody>
      </p:sp>
      <p:sp>
        <p:nvSpPr>
          <p:cNvPr id="28" name="Rechthoek 27">
            <a:extLst>
              <a:ext uri="{FF2B5EF4-FFF2-40B4-BE49-F238E27FC236}">
                <a16:creationId xmlns:a16="http://schemas.microsoft.com/office/drawing/2014/main" id="{1F4ED6C6-9FE9-4398-9176-E1B540F80A29}"/>
              </a:ext>
            </a:extLst>
          </p:cNvPr>
          <p:cNvSpPr/>
          <p:nvPr/>
        </p:nvSpPr>
        <p:spPr>
          <a:xfrm>
            <a:off x="3036557" y="2521445"/>
            <a:ext cx="202250" cy="132712"/>
          </a:xfrm>
          <a:prstGeom prst="rect">
            <a:avLst/>
          </a:prstGeom>
          <a:solidFill>
            <a:srgbClr val="F9B19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000"/>
          </a:p>
        </p:txBody>
      </p:sp>
      <p:sp>
        <p:nvSpPr>
          <p:cNvPr id="29" name="Rechthoek 28">
            <a:extLst>
              <a:ext uri="{FF2B5EF4-FFF2-40B4-BE49-F238E27FC236}">
                <a16:creationId xmlns:a16="http://schemas.microsoft.com/office/drawing/2014/main" id="{FAD24F97-8175-40BE-8EF8-BBE2000452DA}"/>
              </a:ext>
            </a:extLst>
          </p:cNvPr>
          <p:cNvSpPr/>
          <p:nvPr/>
        </p:nvSpPr>
        <p:spPr>
          <a:xfrm>
            <a:off x="3013252" y="2933889"/>
            <a:ext cx="153257" cy="124164"/>
          </a:xfrm>
          <a:prstGeom prst="rect">
            <a:avLst/>
          </a:prstGeom>
          <a:solidFill>
            <a:srgbClr val="F9B19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000"/>
          </a:p>
        </p:txBody>
      </p:sp>
      <p:sp>
        <p:nvSpPr>
          <p:cNvPr id="30" name="Rechthoek 29">
            <a:extLst>
              <a:ext uri="{FF2B5EF4-FFF2-40B4-BE49-F238E27FC236}">
                <a16:creationId xmlns:a16="http://schemas.microsoft.com/office/drawing/2014/main" id="{41C547E9-8BC8-4505-A975-45E6B8C042F4}"/>
              </a:ext>
            </a:extLst>
          </p:cNvPr>
          <p:cNvSpPr/>
          <p:nvPr/>
        </p:nvSpPr>
        <p:spPr>
          <a:xfrm rot="2197501">
            <a:off x="2842379" y="3151212"/>
            <a:ext cx="165230" cy="65571"/>
          </a:xfrm>
          <a:prstGeom prst="rect">
            <a:avLst/>
          </a:prstGeom>
          <a:solidFill>
            <a:srgbClr val="F9B19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000"/>
          </a:p>
        </p:txBody>
      </p:sp>
      <p:sp>
        <p:nvSpPr>
          <p:cNvPr id="31" name="Rechthoek 30">
            <a:extLst>
              <a:ext uri="{FF2B5EF4-FFF2-40B4-BE49-F238E27FC236}">
                <a16:creationId xmlns:a16="http://schemas.microsoft.com/office/drawing/2014/main" id="{E566C1DC-23B5-4FB0-ABF1-D1636F8300DB}"/>
              </a:ext>
            </a:extLst>
          </p:cNvPr>
          <p:cNvSpPr/>
          <p:nvPr/>
        </p:nvSpPr>
        <p:spPr>
          <a:xfrm>
            <a:off x="1662902" y="2885105"/>
            <a:ext cx="202250" cy="115142"/>
          </a:xfrm>
          <a:prstGeom prst="rect">
            <a:avLst/>
          </a:prstGeom>
          <a:solidFill>
            <a:srgbClr val="F9B19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000"/>
          </a:p>
        </p:txBody>
      </p:sp>
      <p:sp>
        <p:nvSpPr>
          <p:cNvPr id="32" name="Rechthoek 31">
            <a:extLst>
              <a:ext uri="{FF2B5EF4-FFF2-40B4-BE49-F238E27FC236}">
                <a16:creationId xmlns:a16="http://schemas.microsoft.com/office/drawing/2014/main" id="{6D7A197A-9B04-47CF-A2E6-B675FE2CBD84}"/>
              </a:ext>
            </a:extLst>
          </p:cNvPr>
          <p:cNvSpPr/>
          <p:nvPr/>
        </p:nvSpPr>
        <p:spPr>
          <a:xfrm>
            <a:off x="1662902" y="3330403"/>
            <a:ext cx="202250" cy="115142"/>
          </a:xfrm>
          <a:prstGeom prst="rect">
            <a:avLst/>
          </a:prstGeom>
          <a:solidFill>
            <a:srgbClr val="F9B19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000"/>
          </a:p>
        </p:txBody>
      </p:sp>
      <p:sp>
        <p:nvSpPr>
          <p:cNvPr id="34" name="Rechthoek 33">
            <a:extLst>
              <a:ext uri="{FF2B5EF4-FFF2-40B4-BE49-F238E27FC236}">
                <a16:creationId xmlns:a16="http://schemas.microsoft.com/office/drawing/2014/main" id="{94F95304-8962-46FD-B379-4B3422024455}"/>
              </a:ext>
            </a:extLst>
          </p:cNvPr>
          <p:cNvSpPr/>
          <p:nvPr/>
        </p:nvSpPr>
        <p:spPr>
          <a:xfrm>
            <a:off x="1957823" y="3330403"/>
            <a:ext cx="86487" cy="90477"/>
          </a:xfrm>
          <a:prstGeom prst="rect">
            <a:avLst/>
          </a:prstGeom>
          <a:solidFill>
            <a:srgbClr val="F9B19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000"/>
          </a:p>
        </p:txBody>
      </p:sp>
      <p:sp>
        <p:nvSpPr>
          <p:cNvPr id="35" name="Rechthoek 34">
            <a:extLst>
              <a:ext uri="{FF2B5EF4-FFF2-40B4-BE49-F238E27FC236}">
                <a16:creationId xmlns:a16="http://schemas.microsoft.com/office/drawing/2014/main" id="{34C55881-DDF9-4341-93A9-4AF21D7E966B}"/>
              </a:ext>
            </a:extLst>
          </p:cNvPr>
          <p:cNvSpPr/>
          <p:nvPr/>
        </p:nvSpPr>
        <p:spPr>
          <a:xfrm>
            <a:off x="2158225" y="3299110"/>
            <a:ext cx="103196" cy="121769"/>
          </a:xfrm>
          <a:prstGeom prst="rect">
            <a:avLst/>
          </a:prstGeom>
          <a:solidFill>
            <a:srgbClr val="F9B19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000"/>
          </a:p>
        </p:txBody>
      </p:sp>
      <p:sp>
        <p:nvSpPr>
          <p:cNvPr id="136" name="Rechthoek 135">
            <a:extLst>
              <a:ext uri="{FF2B5EF4-FFF2-40B4-BE49-F238E27FC236}">
                <a16:creationId xmlns:a16="http://schemas.microsoft.com/office/drawing/2014/main" id="{19EAE9FE-8AF3-4D68-9705-2A93F465603C}"/>
              </a:ext>
            </a:extLst>
          </p:cNvPr>
          <p:cNvSpPr/>
          <p:nvPr/>
        </p:nvSpPr>
        <p:spPr>
          <a:xfrm>
            <a:off x="1599350" y="2462680"/>
            <a:ext cx="679526" cy="2106726"/>
          </a:xfrm>
          <a:prstGeom prst="rect">
            <a:avLst/>
          </a:prstGeom>
          <a:solidFill>
            <a:schemeClr val="accent3">
              <a:lumMod val="40000"/>
              <a:lumOff val="60000"/>
              <a:alpha val="80000"/>
            </a:schemeClr>
          </a:solidFill>
          <a:ln w="28575">
            <a:solidFill>
              <a:schemeClr val="accent3">
                <a:lumMod val="50000"/>
              </a:schemeClr>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2800" b="1">
                <a:solidFill>
                  <a:schemeClr val="accent3">
                    <a:lumMod val="50000"/>
                  </a:schemeClr>
                </a:solidFill>
                <a:highlight>
                  <a:srgbClr val="90D5AC"/>
                </a:highlight>
                <a:latin typeface="+mj-lt"/>
              </a:rPr>
              <a:t>6</a:t>
            </a:r>
          </a:p>
        </p:txBody>
      </p:sp>
      <p:sp>
        <p:nvSpPr>
          <p:cNvPr id="161" name="Rechthoek 160">
            <a:extLst>
              <a:ext uri="{FF2B5EF4-FFF2-40B4-BE49-F238E27FC236}">
                <a16:creationId xmlns:a16="http://schemas.microsoft.com/office/drawing/2014/main" id="{40037342-FD7E-4BCF-A90E-C0740E861761}"/>
              </a:ext>
            </a:extLst>
          </p:cNvPr>
          <p:cNvSpPr/>
          <p:nvPr/>
        </p:nvSpPr>
        <p:spPr>
          <a:xfrm>
            <a:off x="2391058" y="2964677"/>
            <a:ext cx="1307049" cy="1857942"/>
          </a:xfrm>
          <a:prstGeom prst="rect">
            <a:avLst/>
          </a:prstGeom>
          <a:solidFill>
            <a:schemeClr val="accent3">
              <a:lumMod val="40000"/>
              <a:lumOff val="60000"/>
              <a:alpha val="80000"/>
            </a:schemeClr>
          </a:solidFill>
          <a:ln w="28575">
            <a:solidFill>
              <a:schemeClr val="accent3">
                <a:lumMod val="50000"/>
              </a:schemeClr>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2800" b="1">
                <a:solidFill>
                  <a:schemeClr val="accent3">
                    <a:lumMod val="50000"/>
                  </a:schemeClr>
                </a:solidFill>
                <a:highlight>
                  <a:srgbClr val="90D5AC"/>
                </a:highlight>
                <a:latin typeface="+mj-lt"/>
              </a:rPr>
              <a:t>8</a:t>
            </a:r>
          </a:p>
        </p:txBody>
      </p:sp>
      <p:sp>
        <p:nvSpPr>
          <p:cNvPr id="134" name="Rechthoek 133">
            <a:extLst>
              <a:ext uri="{FF2B5EF4-FFF2-40B4-BE49-F238E27FC236}">
                <a16:creationId xmlns:a16="http://schemas.microsoft.com/office/drawing/2014/main" id="{97F4A41F-5C32-46BE-BE57-FFD70005892D}"/>
              </a:ext>
            </a:extLst>
          </p:cNvPr>
          <p:cNvSpPr/>
          <p:nvPr/>
        </p:nvSpPr>
        <p:spPr>
          <a:xfrm>
            <a:off x="3052837" y="1685982"/>
            <a:ext cx="742250" cy="1252572"/>
          </a:xfrm>
          <a:prstGeom prst="rect">
            <a:avLst/>
          </a:prstGeom>
          <a:solidFill>
            <a:schemeClr val="accent3">
              <a:lumMod val="40000"/>
              <a:lumOff val="60000"/>
              <a:alpha val="80000"/>
            </a:schemeClr>
          </a:solidFill>
          <a:ln w="28575">
            <a:solidFill>
              <a:schemeClr val="accent3">
                <a:lumMod val="50000"/>
              </a:schemeClr>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2800" b="1">
                <a:solidFill>
                  <a:schemeClr val="accent3">
                    <a:lumMod val="50000"/>
                  </a:schemeClr>
                </a:solidFill>
                <a:highlight>
                  <a:srgbClr val="90D5AC"/>
                </a:highlight>
                <a:latin typeface="+mj-lt"/>
              </a:rPr>
              <a:t>6,6</a:t>
            </a:r>
          </a:p>
        </p:txBody>
      </p:sp>
      <p:sp>
        <p:nvSpPr>
          <p:cNvPr id="8" name="Paginanummer Seinpost">
            <a:extLst>
              <a:ext uri="{FF2B5EF4-FFF2-40B4-BE49-F238E27FC236}">
                <a16:creationId xmlns:a16="http://schemas.microsoft.com/office/drawing/2014/main" id="{F169DC0D-60BD-42FC-AF89-BE8F4B5006AA}"/>
              </a:ext>
            </a:extLst>
          </p:cNvPr>
          <p:cNvSpPr txBox="1">
            <a:spLocks/>
          </p:cNvSpPr>
          <p:nvPr>
            <p:custDataLst>
              <p:tags r:id="rId2"/>
            </p:custDataLst>
          </p:nvPr>
        </p:nvSpPr>
        <p:spPr>
          <a:xfrm>
            <a:off x="11628018" y="252000"/>
            <a:ext cx="381601" cy="244800"/>
          </a:xfrm>
          <a:prstGeom prst="rect">
            <a:avLst/>
          </a:prstGeom>
          <a:noFill/>
        </p:spPr>
        <p:txBody>
          <a:bodyPr vert="horz" lIns="0" tIns="0" rIns="0" bIns="0" rtlCol="0" anchor="t">
            <a:noAutofit/>
          </a:bodyPr>
          <a:lstStyle/>
          <a:p>
            <a:pPr algn="ctr"/>
            <a:r>
              <a:rPr lang="nl-NL" sz="1000" b="1">
                <a:solidFill>
                  <a:srgbClr val="62366E"/>
                </a:solidFill>
                <a:latin typeface="Open Sans" panose="020B0606030504020204" pitchFamily="34" charset="0"/>
              </a:rPr>
              <a:t>10</a:t>
            </a:r>
          </a:p>
        </p:txBody>
      </p:sp>
      <p:pic>
        <p:nvPicPr>
          <p:cNvPr id="10" name="Paginanummer Seinpost">
            <a:extLst>
              <a:ext uri="{FF2B5EF4-FFF2-40B4-BE49-F238E27FC236}">
                <a16:creationId xmlns:a16="http://schemas.microsoft.com/office/drawing/2014/main" id="{A14C6EBD-F12E-4848-B7DA-091D20D2D46E}"/>
              </a:ext>
            </a:extLst>
          </p:cNvPr>
          <p:cNvPicPr>
            <a:picLocks noChangeAspect="1"/>
          </p:cNvPicPr>
          <p:nvPr>
            <p:custDataLst>
              <p:tags r:id="rId3"/>
            </p:custDataLst>
          </p:nvPr>
        </p:nvPicPr>
        <p:blipFill>
          <a:blip r:embed="rId7">
            <a:extLst>
              <a:ext uri="{28A0092B-C50C-407E-A947-70E740481C1C}">
                <a14:useLocalDpi xmlns:a14="http://schemas.microsoft.com/office/drawing/2010/main" val="0"/>
              </a:ext>
            </a:extLst>
          </a:blip>
          <a:stretch>
            <a:fillRect/>
          </a:stretch>
        </p:blipFill>
        <p:spPr>
          <a:xfrm>
            <a:off x="11674818" y="172800"/>
            <a:ext cx="298705" cy="289561"/>
          </a:xfrm>
          <a:prstGeom prst="rect">
            <a:avLst/>
          </a:prstGeom>
        </p:spPr>
      </p:pic>
      <p:sp>
        <p:nvSpPr>
          <p:cNvPr id="11" name="Paginanummer Seinpost">
            <a:extLst>
              <a:ext uri="{FF2B5EF4-FFF2-40B4-BE49-F238E27FC236}">
                <a16:creationId xmlns:a16="http://schemas.microsoft.com/office/drawing/2014/main" id="{7437186D-2E35-45A1-9D65-F3CEE91D43AF}"/>
              </a:ext>
            </a:extLst>
          </p:cNvPr>
          <p:cNvSpPr txBox="1">
            <a:spLocks/>
          </p:cNvSpPr>
          <p:nvPr>
            <p:custDataLst>
              <p:tags r:id="rId4"/>
            </p:custDataLst>
          </p:nvPr>
        </p:nvSpPr>
        <p:spPr>
          <a:xfrm>
            <a:off x="11628018" y="252000"/>
            <a:ext cx="381601" cy="244800"/>
          </a:xfrm>
          <a:prstGeom prst="rect">
            <a:avLst/>
          </a:prstGeom>
          <a:noFill/>
        </p:spPr>
        <p:txBody>
          <a:bodyPr vert="horz" lIns="0" tIns="0" rIns="0" bIns="0" rtlCol="0" anchor="t">
            <a:noAutofit/>
          </a:bodyPr>
          <a:lstStyle/>
          <a:p>
            <a:pPr algn="ctr"/>
            <a:r>
              <a:rPr lang="nl-NL" sz="1000" b="1">
                <a:solidFill>
                  <a:srgbClr val="62366E"/>
                </a:solidFill>
                <a:latin typeface="Open Sans" panose="020B0606030504020204" pitchFamily="34" charset="0"/>
              </a:rPr>
              <a:t>9</a:t>
            </a:r>
          </a:p>
        </p:txBody>
      </p:sp>
    </p:spTree>
    <p:extLst>
      <p:ext uri="{BB962C8B-B14F-4D97-AF65-F5344CB8AC3E}">
        <p14:creationId xmlns:p14="http://schemas.microsoft.com/office/powerpoint/2010/main" val="51509476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LEVEL" val="2"/>
  <p:tag name="LEFT" val=" 0"/>
  <p:tag name="TOP" val=" 0"/>
  <p:tag name="WIDTH" val=" 960"/>
  <p:tag name="HEIGHT" val=" 540"/>
</p:tagLst>
</file>

<file path=ppt/tags/tag10.xml><?xml version="1.0" encoding="utf-8"?>
<p:tagLst xmlns:a="http://schemas.openxmlformats.org/drawingml/2006/main" xmlns:r="http://schemas.openxmlformats.org/officeDocument/2006/relationships" xmlns:p="http://schemas.openxmlformats.org/presentationml/2006/main">
  <p:tag name="LEVEL" val="5"/>
  <p:tag name="LEFT" val=" 119.0553"/>
  <p:tag name="TOP" val=" 41.10244"/>
  <p:tag name="WIDTH" val=" 425.1975"/>
  <p:tag name="HEIGHT" val=" 34.01583"/>
</p:tagLst>
</file>

<file path=ppt/tags/tag100.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101.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102.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103.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104.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105.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106.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107.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108.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109.xml><?xml version="1.0" encoding="utf-8"?>
<p:tagLst xmlns:a="http://schemas.openxmlformats.org/drawingml/2006/main" xmlns:r="http://schemas.openxmlformats.org/officeDocument/2006/relationships" xmlns:p="http://schemas.openxmlformats.org/presentationml/2006/main">
  <p:tag name="LEVEL" val="5"/>
  <p:tag name="LEFT" val=" 915.592"/>
  <p:tag name="TOP" val=" 19.84252"/>
  <p:tag name="WIDTH" val=" 30.04732"/>
  <p:tag name="HEIGHT" val=" 29.08126"/>
</p:tagLst>
</file>

<file path=ppt/tags/tag11.xml><?xml version="1.0" encoding="utf-8"?>
<p:tagLst xmlns:a="http://schemas.openxmlformats.org/drawingml/2006/main" xmlns:r="http://schemas.openxmlformats.org/officeDocument/2006/relationships" xmlns:p="http://schemas.openxmlformats.org/presentationml/2006/main">
  <p:tag name="LEVEL" val="5"/>
  <p:tag name="LEFT" val=" 85.03953"/>
  <p:tag name="TOP" val=" 110.5513"/>
  <p:tag name="WIDTH" val=" 466.2999"/>
  <p:tag name="HEIGHT" val=" 396.851"/>
</p:tagLst>
</file>

<file path=ppt/tags/tag110.xml><?xml version="1.0" encoding="utf-8"?>
<p:tagLst xmlns:a="http://schemas.openxmlformats.org/drawingml/2006/main" xmlns:r="http://schemas.openxmlformats.org/officeDocument/2006/relationships" xmlns:p="http://schemas.openxmlformats.org/presentationml/2006/main">
  <p:tag name="LEVEL" val="4"/>
  <p:tag name="LEFT" val=" 919.277"/>
  <p:tag name="TOP" val=" 13.6063"/>
  <p:tag name="WIDTH" val=" 23.52008"/>
  <p:tag name="HEIGHT" val=" 22.80008"/>
</p:tagLst>
</file>

<file path=ppt/tags/tag111.xml><?xml version="1.0" encoding="utf-8"?>
<p:tagLst xmlns:a="http://schemas.openxmlformats.org/drawingml/2006/main" xmlns:r="http://schemas.openxmlformats.org/officeDocument/2006/relationships" xmlns:p="http://schemas.openxmlformats.org/presentationml/2006/main">
  <p:tag name="LEVEL" val="5"/>
  <p:tag name="LEFT" val=" 915.592"/>
  <p:tag name="TOP" val=" 19.84252"/>
  <p:tag name="WIDTH" val=" 30.04732"/>
  <p:tag name="HEIGHT" val=" 29.08126"/>
</p:tagLst>
</file>

<file path=ppt/tags/tag112.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113.xml><?xml version="1.0" encoding="utf-8"?>
<p:tagLst xmlns:a="http://schemas.openxmlformats.org/drawingml/2006/main" xmlns:r="http://schemas.openxmlformats.org/officeDocument/2006/relationships" xmlns:p="http://schemas.openxmlformats.org/presentationml/2006/main">
  <p:tag name="POWER_USER_TAGS_ICONS" val="problem-based-learning_POWER_USER_SEPARATOR_ICONS_think_POWER_USER_SEPARATOR_ICONS_smart_POWER_USER_SEPARATOR_ICONS_recreation_POWER_USER_SEPARATOR_ICONS_puzzle_POWER_USER_SEPARATOR_ICONS_play_POWER_USER_SEPARATOR_ICONS_head_POWER_USER_SEPARATOR_ICONS_game_POWER_USER_SEPARATOR_ICONS_fun_POWER_USER_SEPARATOR_ICONS_challenge_POWER_USER_SEPARATOR_ICONS_thinking"/>
</p:tagLst>
</file>

<file path=ppt/tags/tag114.xml><?xml version="1.0" encoding="utf-8"?>
<p:tagLst xmlns:a="http://schemas.openxmlformats.org/drawingml/2006/main" xmlns:r="http://schemas.openxmlformats.org/officeDocument/2006/relationships" xmlns:p="http://schemas.openxmlformats.org/presentationml/2006/main">
  <p:tag name="POWER_USER_TAGS_ICONS" val="problem-based-learning_POWER_USER_SEPARATOR_ICONS_think_POWER_USER_SEPARATOR_ICONS_smart_POWER_USER_SEPARATOR_ICONS_recreation_POWER_USER_SEPARATOR_ICONS_puzzle_POWER_USER_SEPARATOR_ICONS_play_POWER_USER_SEPARATOR_ICONS_head_POWER_USER_SEPARATOR_ICONS_game_POWER_USER_SEPARATOR_ICONS_fun_POWER_USER_SEPARATOR_ICONS_challenge_POWER_USER_SEPARATOR_ICONS_thinking"/>
</p:tagLst>
</file>

<file path=ppt/tags/tag115.xml><?xml version="1.0" encoding="utf-8"?>
<p:tagLst xmlns:a="http://schemas.openxmlformats.org/drawingml/2006/main" xmlns:r="http://schemas.openxmlformats.org/officeDocument/2006/relationships" xmlns:p="http://schemas.openxmlformats.org/presentationml/2006/main">
  <p:tag name="POWER_USER_TAGS_ICONS" val="problem-based-learning_POWER_USER_SEPARATOR_ICONS_think_POWER_USER_SEPARATOR_ICONS_smart_POWER_USER_SEPARATOR_ICONS_recreation_POWER_USER_SEPARATOR_ICONS_puzzle_POWER_USER_SEPARATOR_ICONS_play_POWER_USER_SEPARATOR_ICONS_head_POWER_USER_SEPARATOR_ICONS_game_POWER_USER_SEPARATOR_ICONS_fun_POWER_USER_SEPARATOR_ICONS_challenge_POWER_USER_SEPARATOR_ICONS_thinking"/>
</p:tagLst>
</file>

<file path=ppt/tags/tag116.xml><?xml version="1.0" encoding="utf-8"?>
<p:tagLst xmlns:a="http://schemas.openxmlformats.org/drawingml/2006/main" xmlns:r="http://schemas.openxmlformats.org/officeDocument/2006/relationships" xmlns:p="http://schemas.openxmlformats.org/presentationml/2006/main">
  <p:tag name="POWER_USER_TAGS_ICONS" val="problem-based-learning_POWER_USER_SEPARATOR_ICONS_think_POWER_USER_SEPARATOR_ICONS_smart_POWER_USER_SEPARATOR_ICONS_recreation_POWER_USER_SEPARATOR_ICONS_puzzle_POWER_USER_SEPARATOR_ICONS_play_POWER_USER_SEPARATOR_ICONS_head_POWER_USER_SEPARATOR_ICONS_game_POWER_USER_SEPARATOR_ICONS_fun_POWER_USER_SEPARATOR_ICONS_challenge_POWER_USER_SEPARATOR_ICONS_thinking"/>
</p:tagLst>
</file>

<file path=ppt/tags/tag117.xml><?xml version="1.0" encoding="utf-8"?>
<p:tagLst xmlns:a="http://schemas.openxmlformats.org/drawingml/2006/main" xmlns:r="http://schemas.openxmlformats.org/officeDocument/2006/relationships" xmlns:p="http://schemas.openxmlformats.org/presentationml/2006/main">
  <p:tag name="POWER_USER_TAGS_ICONS" val="problem-based-learning_POWER_USER_SEPARATOR_ICONS_think_POWER_USER_SEPARATOR_ICONS_smart_POWER_USER_SEPARATOR_ICONS_recreation_POWER_USER_SEPARATOR_ICONS_puzzle_POWER_USER_SEPARATOR_ICONS_play_POWER_USER_SEPARATOR_ICONS_head_POWER_USER_SEPARATOR_ICONS_game_POWER_USER_SEPARATOR_ICONS_fun_POWER_USER_SEPARATOR_ICONS_challenge_POWER_USER_SEPARATOR_ICONS_thinking"/>
</p:tagLst>
</file>

<file path=ppt/tags/tag118.xml><?xml version="1.0" encoding="utf-8"?>
<p:tagLst xmlns:a="http://schemas.openxmlformats.org/drawingml/2006/main" xmlns:r="http://schemas.openxmlformats.org/officeDocument/2006/relationships" xmlns:p="http://schemas.openxmlformats.org/presentationml/2006/main">
  <p:tag name="POWER_USER_TAGS_ICONS" val="problem-based-learning_POWER_USER_SEPARATOR_ICONS_think_POWER_USER_SEPARATOR_ICONS_smart_POWER_USER_SEPARATOR_ICONS_recreation_POWER_USER_SEPARATOR_ICONS_puzzle_POWER_USER_SEPARATOR_ICONS_play_POWER_USER_SEPARATOR_ICONS_head_POWER_USER_SEPARATOR_ICONS_game_POWER_USER_SEPARATOR_ICONS_fun_POWER_USER_SEPARATOR_ICONS_challenge_POWER_USER_SEPARATOR_ICONS_thinking"/>
</p:tagLst>
</file>

<file path=ppt/tags/tag119.xml><?xml version="1.0" encoding="utf-8"?>
<p:tagLst xmlns:a="http://schemas.openxmlformats.org/drawingml/2006/main" xmlns:r="http://schemas.openxmlformats.org/officeDocument/2006/relationships" xmlns:p="http://schemas.openxmlformats.org/presentationml/2006/main">
  <p:tag name="POWER_USER_TAGS_ICONS" val="problem-based-learning_POWER_USER_SEPARATOR_ICONS_think_POWER_USER_SEPARATOR_ICONS_smart_POWER_USER_SEPARATOR_ICONS_recreation_POWER_USER_SEPARATOR_ICONS_puzzle_POWER_USER_SEPARATOR_ICONS_play_POWER_USER_SEPARATOR_ICONS_head_POWER_USER_SEPARATOR_ICONS_game_POWER_USER_SEPARATOR_ICONS_fun_POWER_USER_SEPARATOR_ICONS_challenge_POWER_USER_SEPARATOR_ICONS_thinking"/>
</p:tagLst>
</file>

<file path=ppt/tags/tag12.xml><?xml version="1.0" encoding="utf-8"?>
<p:tagLst xmlns:a="http://schemas.openxmlformats.org/drawingml/2006/main" xmlns:r="http://schemas.openxmlformats.org/officeDocument/2006/relationships" xmlns:p="http://schemas.openxmlformats.org/presentationml/2006/main">
  <p:tag name="LEVEL" val="4"/>
  <p:tag name="LEFT" val=" 919.277"/>
  <p:tag name="TOP" val=" 13.6063"/>
  <p:tag name="WIDTH" val=" 23.52008"/>
  <p:tag name="HEIGHT" val=" 22.80008"/>
</p:tagLst>
</file>

<file path=ppt/tags/tag120.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121.xml><?xml version="1.0" encoding="utf-8"?>
<p:tagLst xmlns:a="http://schemas.openxmlformats.org/drawingml/2006/main" xmlns:r="http://schemas.openxmlformats.org/officeDocument/2006/relationships" xmlns:p="http://schemas.openxmlformats.org/presentationml/2006/main">
  <p:tag name="POWER_USER_TAGS_ICONS" val="problem-based-learning_POWER_USER_SEPARATOR_ICONS_think_POWER_USER_SEPARATOR_ICONS_smart_POWER_USER_SEPARATOR_ICONS_recreation_POWER_USER_SEPARATOR_ICONS_puzzle_POWER_USER_SEPARATOR_ICONS_play_POWER_USER_SEPARATOR_ICONS_head_POWER_USER_SEPARATOR_ICONS_game_POWER_USER_SEPARATOR_ICONS_fun_POWER_USER_SEPARATOR_ICONS_challenge_POWER_USER_SEPARATOR_ICONS_thinking"/>
</p:tagLst>
</file>

<file path=ppt/tags/tag122.xml><?xml version="1.0" encoding="utf-8"?>
<p:tagLst xmlns:a="http://schemas.openxmlformats.org/drawingml/2006/main" xmlns:r="http://schemas.openxmlformats.org/officeDocument/2006/relationships" xmlns:p="http://schemas.openxmlformats.org/presentationml/2006/main">
  <p:tag name="POWER_USER_TAGS_ICONS" val="problem-based-learning_POWER_USER_SEPARATOR_ICONS_think_POWER_USER_SEPARATOR_ICONS_smart_POWER_USER_SEPARATOR_ICONS_recreation_POWER_USER_SEPARATOR_ICONS_puzzle_POWER_USER_SEPARATOR_ICONS_play_POWER_USER_SEPARATOR_ICONS_head_POWER_USER_SEPARATOR_ICONS_game_POWER_USER_SEPARATOR_ICONS_fun_POWER_USER_SEPARATOR_ICONS_challenge_POWER_USER_SEPARATOR_ICONS_thinking"/>
</p:tagLst>
</file>

<file path=ppt/tags/tag123.xml><?xml version="1.0" encoding="utf-8"?>
<p:tagLst xmlns:a="http://schemas.openxmlformats.org/drawingml/2006/main" xmlns:r="http://schemas.openxmlformats.org/officeDocument/2006/relationships" xmlns:p="http://schemas.openxmlformats.org/presentationml/2006/main">
  <p:tag name="POWER_USER_TAGS_ICONS" val="problem-based-learning_POWER_USER_SEPARATOR_ICONS_think_POWER_USER_SEPARATOR_ICONS_smart_POWER_USER_SEPARATOR_ICONS_recreation_POWER_USER_SEPARATOR_ICONS_puzzle_POWER_USER_SEPARATOR_ICONS_play_POWER_USER_SEPARATOR_ICONS_head_POWER_USER_SEPARATOR_ICONS_game_POWER_USER_SEPARATOR_ICONS_fun_POWER_USER_SEPARATOR_ICONS_challenge_POWER_USER_SEPARATOR_ICONS_thinking"/>
</p:tagLst>
</file>

<file path=ppt/tags/tag124.xml><?xml version="1.0" encoding="utf-8"?>
<p:tagLst xmlns:a="http://schemas.openxmlformats.org/drawingml/2006/main" xmlns:r="http://schemas.openxmlformats.org/officeDocument/2006/relationships" xmlns:p="http://schemas.openxmlformats.org/presentationml/2006/main">
  <p:tag name="POWER_USER_TAGS_ICONS" val="problem-based-learning_POWER_USER_SEPARATOR_ICONS_think_POWER_USER_SEPARATOR_ICONS_smart_POWER_USER_SEPARATOR_ICONS_recreation_POWER_USER_SEPARATOR_ICONS_puzzle_POWER_USER_SEPARATOR_ICONS_play_POWER_USER_SEPARATOR_ICONS_head_POWER_USER_SEPARATOR_ICONS_game_POWER_USER_SEPARATOR_ICONS_fun_POWER_USER_SEPARATOR_ICONS_challenge_POWER_USER_SEPARATOR_ICONS_thinking"/>
</p:tagLst>
</file>

<file path=ppt/tags/tag125.xml><?xml version="1.0" encoding="utf-8"?>
<p:tagLst xmlns:a="http://schemas.openxmlformats.org/drawingml/2006/main" xmlns:r="http://schemas.openxmlformats.org/officeDocument/2006/relationships" xmlns:p="http://schemas.openxmlformats.org/presentationml/2006/main">
  <p:tag name="POWER_USER_TAGS_ICONS" val="problem-based-learning_POWER_USER_SEPARATOR_ICONS_think_POWER_USER_SEPARATOR_ICONS_smart_POWER_USER_SEPARATOR_ICONS_recreation_POWER_USER_SEPARATOR_ICONS_puzzle_POWER_USER_SEPARATOR_ICONS_play_POWER_USER_SEPARATOR_ICONS_head_POWER_USER_SEPARATOR_ICONS_game_POWER_USER_SEPARATOR_ICONS_fun_POWER_USER_SEPARATOR_ICONS_challenge_POWER_USER_SEPARATOR_ICONS_thinking"/>
</p:tagLst>
</file>

<file path=ppt/tags/tag126.xml><?xml version="1.0" encoding="utf-8"?>
<p:tagLst xmlns:a="http://schemas.openxmlformats.org/drawingml/2006/main" xmlns:r="http://schemas.openxmlformats.org/officeDocument/2006/relationships" xmlns:p="http://schemas.openxmlformats.org/presentationml/2006/main">
  <p:tag name="POWER_USER_TAGS_ICONS" val="problem-based-learning_POWER_USER_SEPARATOR_ICONS_think_POWER_USER_SEPARATOR_ICONS_smart_POWER_USER_SEPARATOR_ICONS_recreation_POWER_USER_SEPARATOR_ICONS_puzzle_POWER_USER_SEPARATOR_ICONS_play_POWER_USER_SEPARATOR_ICONS_head_POWER_USER_SEPARATOR_ICONS_game_POWER_USER_SEPARATOR_ICONS_fun_POWER_USER_SEPARATOR_ICONS_challenge_POWER_USER_SEPARATOR_ICONS_thinking"/>
</p:tagLst>
</file>

<file path=ppt/tags/tag127.xml><?xml version="1.0" encoding="utf-8"?>
<p:tagLst xmlns:a="http://schemas.openxmlformats.org/drawingml/2006/main" xmlns:r="http://schemas.openxmlformats.org/officeDocument/2006/relationships" xmlns:p="http://schemas.openxmlformats.org/presentationml/2006/main">
  <p:tag name="POWER_USER_TAGS_ICONS" val="problem-based-learning_POWER_USER_SEPARATOR_ICONS_think_POWER_USER_SEPARATOR_ICONS_smart_POWER_USER_SEPARATOR_ICONS_recreation_POWER_USER_SEPARATOR_ICONS_puzzle_POWER_USER_SEPARATOR_ICONS_play_POWER_USER_SEPARATOR_ICONS_head_POWER_USER_SEPARATOR_ICONS_game_POWER_USER_SEPARATOR_ICONS_fun_POWER_USER_SEPARATOR_ICONS_challenge_POWER_USER_SEPARATOR_ICONS_thinking"/>
</p:tagLst>
</file>

<file path=ppt/tags/tag128.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129.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13.xml><?xml version="1.0" encoding="utf-8"?>
<p:tagLst xmlns:a="http://schemas.openxmlformats.org/drawingml/2006/main" xmlns:r="http://schemas.openxmlformats.org/officeDocument/2006/relationships" xmlns:p="http://schemas.openxmlformats.org/presentationml/2006/main">
  <p:tag name="LEVEL" val="3"/>
  <p:tag name="LEFT" val=" 0"/>
  <p:tag name="TOP" val=" 0"/>
  <p:tag name="WIDTH" val=" 595.2764"/>
  <p:tag name="HEIGHT" val=" 540.0009"/>
</p:tagLst>
</file>

<file path=ppt/tags/tag130.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131.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132.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133.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134.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135.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136.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137.xml><?xml version="1.0" encoding="utf-8"?>
<p:tagLst xmlns:a="http://schemas.openxmlformats.org/drawingml/2006/main" xmlns:r="http://schemas.openxmlformats.org/officeDocument/2006/relationships" xmlns:p="http://schemas.openxmlformats.org/presentationml/2006/main">
  <p:tag name="POWER_USER_TAGS_ICONS" val="problem-based-learning_POWER_USER_SEPARATOR_ICONS_think_POWER_USER_SEPARATOR_ICONS_smart_POWER_USER_SEPARATOR_ICONS_recreation_POWER_USER_SEPARATOR_ICONS_puzzle_POWER_USER_SEPARATOR_ICONS_play_POWER_USER_SEPARATOR_ICONS_head_POWER_USER_SEPARATOR_ICONS_game_POWER_USER_SEPARATOR_ICONS_fun_POWER_USER_SEPARATOR_ICONS_challenge_POWER_USER_SEPARATOR_ICONS_thinking"/>
</p:tagLst>
</file>

<file path=ppt/tags/tag138.xml><?xml version="1.0" encoding="utf-8"?>
<p:tagLst xmlns:a="http://schemas.openxmlformats.org/drawingml/2006/main" xmlns:r="http://schemas.openxmlformats.org/officeDocument/2006/relationships" xmlns:p="http://schemas.openxmlformats.org/presentationml/2006/main">
  <p:tag name="POWER_USER_TAGS_ICONS" val="problem-based-learning_POWER_USER_SEPARATOR_ICONS_think_POWER_USER_SEPARATOR_ICONS_smart_POWER_USER_SEPARATOR_ICONS_recreation_POWER_USER_SEPARATOR_ICONS_puzzle_POWER_USER_SEPARATOR_ICONS_play_POWER_USER_SEPARATOR_ICONS_head_POWER_USER_SEPARATOR_ICONS_game_POWER_USER_SEPARATOR_ICONS_fun_POWER_USER_SEPARATOR_ICONS_challenge_POWER_USER_SEPARATOR_ICONS_thinking"/>
</p:tagLst>
</file>

<file path=ppt/tags/tag139.xml><?xml version="1.0" encoding="utf-8"?>
<p:tagLst xmlns:a="http://schemas.openxmlformats.org/drawingml/2006/main" xmlns:r="http://schemas.openxmlformats.org/officeDocument/2006/relationships" xmlns:p="http://schemas.openxmlformats.org/presentationml/2006/main">
  <p:tag name="POWER_USER_TAGS_ICONS" val="problem-based-learning_POWER_USER_SEPARATOR_ICONS_think_POWER_USER_SEPARATOR_ICONS_smart_POWER_USER_SEPARATOR_ICONS_recreation_POWER_USER_SEPARATOR_ICONS_puzzle_POWER_USER_SEPARATOR_ICONS_play_POWER_USER_SEPARATOR_ICONS_head_POWER_USER_SEPARATOR_ICONS_game_POWER_USER_SEPARATOR_ICONS_fun_POWER_USER_SEPARATOR_ICONS_challenge_POWER_USER_SEPARATOR_ICONS_thinking"/>
</p:tagLst>
</file>

<file path=ppt/tags/tag14.xml><?xml version="1.0" encoding="utf-8"?>
<p:tagLst xmlns:a="http://schemas.openxmlformats.org/drawingml/2006/main" xmlns:r="http://schemas.openxmlformats.org/officeDocument/2006/relationships" xmlns:p="http://schemas.openxmlformats.org/presentationml/2006/main">
  <p:tag name="LEVEL" val="4"/>
  <p:tag name="LEFT" val=" 654.5207"/>
  <p:tag name="TOP" val=" 183.6853"/>
  <p:tag name="WIDTH" val=" 242.9295"/>
  <p:tag name="HEIGHT" val=" 172.9302"/>
</p:tagLst>
</file>

<file path=ppt/tags/tag140.xml><?xml version="1.0" encoding="utf-8"?>
<p:tagLst xmlns:a="http://schemas.openxmlformats.org/drawingml/2006/main" xmlns:r="http://schemas.openxmlformats.org/officeDocument/2006/relationships" xmlns:p="http://schemas.openxmlformats.org/presentationml/2006/main">
  <p:tag name="POWER_USER_TAGS_ICONS" val="problem-based-learning_POWER_USER_SEPARATOR_ICONS_think_POWER_USER_SEPARATOR_ICONS_smart_POWER_USER_SEPARATOR_ICONS_recreation_POWER_USER_SEPARATOR_ICONS_puzzle_POWER_USER_SEPARATOR_ICONS_play_POWER_USER_SEPARATOR_ICONS_head_POWER_USER_SEPARATOR_ICONS_game_POWER_USER_SEPARATOR_ICONS_fun_POWER_USER_SEPARATOR_ICONS_challenge_POWER_USER_SEPARATOR_ICONS_thinking"/>
</p:tagLst>
</file>

<file path=ppt/tags/tag141.xml><?xml version="1.0" encoding="utf-8"?>
<p:tagLst xmlns:a="http://schemas.openxmlformats.org/drawingml/2006/main" xmlns:r="http://schemas.openxmlformats.org/officeDocument/2006/relationships" xmlns:p="http://schemas.openxmlformats.org/presentationml/2006/main">
  <p:tag name="POWER_USER_TAGS_ICONS" val="problem-based-learning_POWER_USER_SEPARATOR_ICONS_think_POWER_USER_SEPARATOR_ICONS_smart_POWER_USER_SEPARATOR_ICONS_recreation_POWER_USER_SEPARATOR_ICONS_puzzle_POWER_USER_SEPARATOR_ICONS_play_POWER_USER_SEPARATOR_ICONS_head_POWER_USER_SEPARATOR_ICONS_game_POWER_USER_SEPARATOR_ICONS_fun_POWER_USER_SEPARATOR_ICONS_challenge_POWER_USER_SEPARATOR_ICONS_thinking"/>
</p:tagLst>
</file>

<file path=ppt/tags/tag142.xml><?xml version="1.0" encoding="utf-8"?>
<p:tagLst xmlns:a="http://schemas.openxmlformats.org/drawingml/2006/main" xmlns:r="http://schemas.openxmlformats.org/officeDocument/2006/relationships" xmlns:p="http://schemas.openxmlformats.org/presentationml/2006/main">
  <p:tag name="POWER_USER_TAGS_ICONS" val="problem-based-learning_POWER_USER_SEPARATOR_ICONS_think_POWER_USER_SEPARATOR_ICONS_smart_POWER_USER_SEPARATOR_ICONS_recreation_POWER_USER_SEPARATOR_ICONS_puzzle_POWER_USER_SEPARATOR_ICONS_play_POWER_USER_SEPARATOR_ICONS_head_POWER_USER_SEPARATOR_ICONS_game_POWER_USER_SEPARATOR_ICONS_fun_POWER_USER_SEPARATOR_ICONS_challenge_POWER_USER_SEPARATOR_ICONS_thinking"/>
</p:tagLst>
</file>

<file path=ppt/tags/tag143.xml><?xml version="1.0" encoding="utf-8"?>
<p:tagLst xmlns:a="http://schemas.openxmlformats.org/drawingml/2006/main" xmlns:r="http://schemas.openxmlformats.org/officeDocument/2006/relationships" xmlns:p="http://schemas.openxmlformats.org/presentationml/2006/main">
  <p:tag name="POWER_USER_TAGS_ICONS" val="problem-based-learning_POWER_USER_SEPARATOR_ICONS_think_POWER_USER_SEPARATOR_ICONS_smart_POWER_USER_SEPARATOR_ICONS_recreation_POWER_USER_SEPARATOR_ICONS_puzzle_POWER_USER_SEPARATOR_ICONS_play_POWER_USER_SEPARATOR_ICONS_head_POWER_USER_SEPARATOR_ICONS_game_POWER_USER_SEPARATOR_ICONS_fun_POWER_USER_SEPARATOR_ICONS_challenge_POWER_USER_SEPARATOR_ICONS_thinking"/>
</p:tagLst>
</file>

<file path=ppt/tags/tag144.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145.xml><?xml version="1.0" encoding="utf-8"?>
<p:tagLst xmlns:a="http://schemas.openxmlformats.org/drawingml/2006/main" xmlns:r="http://schemas.openxmlformats.org/officeDocument/2006/relationships" xmlns:p="http://schemas.openxmlformats.org/presentationml/2006/main">
  <p:tag name="POWER_USER_TAGS_ICONS" val="problem-based-learning_POWER_USER_SEPARATOR_ICONS_think_POWER_USER_SEPARATOR_ICONS_smart_POWER_USER_SEPARATOR_ICONS_recreation_POWER_USER_SEPARATOR_ICONS_puzzle_POWER_USER_SEPARATOR_ICONS_play_POWER_USER_SEPARATOR_ICONS_head_POWER_USER_SEPARATOR_ICONS_game_POWER_USER_SEPARATOR_ICONS_fun_POWER_USER_SEPARATOR_ICONS_challenge_POWER_USER_SEPARATOR_ICONS_thinking"/>
</p:tagLst>
</file>

<file path=ppt/tags/tag146.xml><?xml version="1.0" encoding="utf-8"?>
<p:tagLst xmlns:a="http://schemas.openxmlformats.org/drawingml/2006/main" xmlns:r="http://schemas.openxmlformats.org/officeDocument/2006/relationships" xmlns:p="http://schemas.openxmlformats.org/presentationml/2006/main">
  <p:tag name="POWER_USER_TAGS_ICONS" val="problem-based-learning_POWER_USER_SEPARATOR_ICONS_think_POWER_USER_SEPARATOR_ICONS_smart_POWER_USER_SEPARATOR_ICONS_recreation_POWER_USER_SEPARATOR_ICONS_puzzle_POWER_USER_SEPARATOR_ICONS_play_POWER_USER_SEPARATOR_ICONS_head_POWER_USER_SEPARATOR_ICONS_game_POWER_USER_SEPARATOR_ICONS_fun_POWER_USER_SEPARATOR_ICONS_challenge_POWER_USER_SEPARATOR_ICONS_thinking"/>
</p:tagLst>
</file>

<file path=ppt/tags/tag147.xml><?xml version="1.0" encoding="utf-8"?>
<p:tagLst xmlns:a="http://schemas.openxmlformats.org/drawingml/2006/main" xmlns:r="http://schemas.openxmlformats.org/officeDocument/2006/relationships" xmlns:p="http://schemas.openxmlformats.org/presentationml/2006/main">
  <p:tag name="POWER_USER_TAGS_ICONS" val="problem-based-learning_POWER_USER_SEPARATOR_ICONS_think_POWER_USER_SEPARATOR_ICONS_smart_POWER_USER_SEPARATOR_ICONS_recreation_POWER_USER_SEPARATOR_ICONS_puzzle_POWER_USER_SEPARATOR_ICONS_play_POWER_USER_SEPARATOR_ICONS_head_POWER_USER_SEPARATOR_ICONS_game_POWER_USER_SEPARATOR_ICONS_fun_POWER_USER_SEPARATOR_ICONS_challenge_POWER_USER_SEPARATOR_ICONS_thinking"/>
</p:tagLst>
</file>

<file path=ppt/tags/tag148.xml><?xml version="1.0" encoding="utf-8"?>
<p:tagLst xmlns:a="http://schemas.openxmlformats.org/drawingml/2006/main" xmlns:r="http://schemas.openxmlformats.org/officeDocument/2006/relationships" xmlns:p="http://schemas.openxmlformats.org/presentationml/2006/main">
  <p:tag name="POWER_USER_TAGS_ICONS" val="problem-based-learning_POWER_USER_SEPARATOR_ICONS_think_POWER_USER_SEPARATOR_ICONS_smart_POWER_USER_SEPARATOR_ICONS_recreation_POWER_USER_SEPARATOR_ICONS_puzzle_POWER_USER_SEPARATOR_ICONS_play_POWER_USER_SEPARATOR_ICONS_head_POWER_USER_SEPARATOR_ICONS_game_POWER_USER_SEPARATOR_ICONS_fun_POWER_USER_SEPARATOR_ICONS_challenge_POWER_USER_SEPARATOR_ICONS_thinking"/>
</p:tagLst>
</file>

<file path=ppt/tags/tag149.xml><?xml version="1.0" encoding="utf-8"?>
<p:tagLst xmlns:a="http://schemas.openxmlformats.org/drawingml/2006/main" xmlns:r="http://schemas.openxmlformats.org/officeDocument/2006/relationships" xmlns:p="http://schemas.openxmlformats.org/presentationml/2006/main">
  <p:tag name="POWER_USER_TAGS_ICONS" val="problem-based-learning_POWER_USER_SEPARATOR_ICONS_think_POWER_USER_SEPARATOR_ICONS_smart_POWER_USER_SEPARATOR_ICONS_recreation_POWER_USER_SEPARATOR_ICONS_puzzle_POWER_USER_SEPARATOR_ICONS_play_POWER_USER_SEPARATOR_ICONS_head_POWER_USER_SEPARATOR_ICONS_game_POWER_USER_SEPARATOR_ICONS_fun_POWER_USER_SEPARATOR_ICONS_challenge_POWER_USER_SEPARATOR_ICONS_thinking"/>
</p:tagLst>
</file>

<file path=ppt/tags/tag15.xml><?xml version="1.0" encoding="utf-8"?>
<p:tagLst xmlns:a="http://schemas.openxmlformats.org/drawingml/2006/main" xmlns:r="http://schemas.openxmlformats.org/officeDocument/2006/relationships" xmlns:p="http://schemas.openxmlformats.org/presentationml/2006/main">
  <p:tag name="LEVEL" val="5"/>
  <p:tag name="LEFT" val=" 674.6467"/>
  <p:tag name="TOP" val=" 212.5987"/>
  <p:tag name="WIDTH" val=" 226.772"/>
  <p:tag name="HEIGHT" val=" 141.7325"/>
</p:tagLst>
</file>

<file path=ppt/tags/tag150.xml><?xml version="1.0" encoding="utf-8"?>
<p:tagLst xmlns:a="http://schemas.openxmlformats.org/drawingml/2006/main" xmlns:r="http://schemas.openxmlformats.org/officeDocument/2006/relationships" xmlns:p="http://schemas.openxmlformats.org/presentationml/2006/main">
  <p:tag name="POWER_USER_TAGS_ICONS" val="problem-based-learning_POWER_USER_SEPARATOR_ICONS_think_POWER_USER_SEPARATOR_ICONS_smart_POWER_USER_SEPARATOR_ICONS_recreation_POWER_USER_SEPARATOR_ICONS_puzzle_POWER_USER_SEPARATOR_ICONS_play_POWER_USER_SEPARATOR_ICONS_head_POWER_USER_SEPARATOR_ICONS_game_POWER_USER_SEPARATOR_ICONS_fun_POWER_USER_SEPARATOR_ICONS_challenge_POWER_USER_SEPARATOR_ICONS_thinking"/>
</p:tagLst>
</file>

<file path=ppt/tags/tag151.xml><?xml version="1.0" encoding="utf-8"?>
<p:tagLst xmlns:a="http://schemas.openxmlformats.org/drawingml/2006/main" xmlns:r="http://schemas.openxmlformats.org/officeDocument/2006/relationships" xmlns:p="http://schemas.openxmlformats.org/presentationml/2006/main">
  <p:tag name="POWER_USER_TAGS_ICONS" val="problem-based-learning_POWER_USER_SEPARATOR_ICONS_think_POWER_USER_SEPARATOR_ICONS_smart_POWER_USER_SEPARATOR_ICONS_recreation_POWER_USER_SEPARATOR_ICONS_puzzle_POWER_USER_SEPARATOR_ICONS_play_POWER_USER_SEPARATOR_ICONS_head_POWER_USER_SEPARATOR_ICONS_game_POWER_USER_SEPARATOR_ICONS_fun_POWER_USER_SEPARATOR_ICONS_challenge_POWER_USER_SEPARATOR_ICONS_thinking"/>
</p:tagLst>
</file>

<file path=ppt/tags/tag152.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153.xml><?xml version="1.0" encoding="utf-8"?>
<p:tagLst xmlns:a="http://schemas.openxmlformats.org/drawingml/2006/main" xmlns:r="http://schemas.openxmlformats.org/officeDocument/2006/relationships" xmlns:p="http://schemas.openxmlformats.org/presentationml/2006/main">
  <p:tag name="POWER_USER_TAGS_ICONS" val="problem-based-learning_POWER_USER_SEPARATOR_ICONS_think_POWER_USER_SEPARATOR_ICONS_smart_POWER_USER_SEPARATOR_ICONS_recreation_POWER_USER_SEPARATOR_ICONS_puzzle_POWER_USER_SEPARATOR_ICONS_play_POWER_USER_SEPARATOR_ICONS_head_POWER_USER_SEPARATOR_ICONS_game_POWER_USER_SEPARATOR_ICONS_fun_POWER_USER_SEPARATOR_ICONS_challenge_POWER_USER_SEPARATOR_ICONS_thinking"/>
</p:tagLst>
</file>

<file path=ppt/tags/tag154.xml><?xml version="1.0" encoding="utf-8"?>
<p:tagLst xmlns:a="http://schemas.openxmlformats.org/drawingml/2006/main" xmlns:r="http://schemas.openxmlformats.org/officeDocument/2006/relationships" xmlns:p="http://schemas.openxmlformats.org/presentationml/2006/main">
  <p:tag name="POWER_USER_TAGS_ICONS" val="problem-based-learning_POWER_USER_SEPARATOR_ICONS_think_POWER_USER_SEPARATOR_ICONS_smart_POWER_USER_SEPARATOR_ICONS_recreation_POWER_USER_SEPARATOR_ICONS_puzzle_POWER_USER_SEPARATOR_ICONS_play_POWER_USER_SEPARATOR_ICONS_head_POWER_USER_SEPARATOR_ICONS_game_POWER_USER_SEPARATOR_ICONS_fun_POWER_USER_SEPARATOR_ICONS_challenge_POWER_USER_SEPARATOR_ICONS_thinking"/>
</p:tagLst>
</file>

<file path=ppt/tags/tag155.xml><?xml version="1.0" encoding="utf-8"?>
<p:tagLst xmlns:a="http://schemas.openxmlformats.org/drawingml/2006/main" xmlns:r="http://schemas.openxmlformats.org/officeDocument/2006/relationships" xmlns:p="http://schemas.openxmlformats.org/presentationml/2006/main">
  <p:tag name="POWER_USER_TAGS_ICONS" val="problem-based-learning_POWER_USER_SEPARATOR_ICONS_think_POWER_USER_SEPARATOR_ICONS_smart_POWER_USER_SEPARATOR_ICONS_recreation_POWER_USER_SEPARATOR_ICONS_puzzle_POWER_USER_SEPARATOR_ICONS_play_POWER_USER_SEPARATOR_ICONS_head_POWER_USER_SEPARATOR_ICONS_game_POWER_USER_SEPARATOR_ICONS_fun_POWER_USER_SEPARATOR_ICONS_challenge_POWER_USER_SEPARATOR_ICONS_thinking"/>
</p:tagLst>
</file>

<file path=ppt/tags/tag156.xml><?xml version="1.0" encoding="utf-8"?>
<p:tagLst xmlns:a="http://schemas.openxmlformats.org/drawingml/2006/main" xmlns:r="http://schemas.openxmlformats.org/officeDocument/2006/relationships" xmlns:p="http://schemas.openxmlformats.org/presentationml/2006/main">
  <p:tag name="POWER_USER_TAGS_ICONS" val="problem-based-learning_POWER_USER_SEPARATOR_ICONS_think_POWER_USER_SEPARATOR_ICONS_smart_POWER_USER_SEPARATOR_ICONS_recreation_POWER_USER_SEPARATOR_ICONS_puzzle_POWER_USER_SEPARATOR_ICONS_play_POWER_USER_SEPARATOR_ICONS_head_POWER_USER_SEPARATOR_ICONS_game_POWER_USER_SEPARATOR_ICONS_fun_POWER_USER_SEPARATOR_ICONS_challenge_POWER_USER_SEPARATOR_ICONS_thinking"/>
</p:tagLst>
</file>

<file path=ppt/tags/tag157.xml><?xml version="1.0" encoding="utf-8"?>
<p:tagLst xmlns:a="http://schemas.openxmlformats.org/drawingml/2006/main" xmlns:r="http://schemas.openxmlformats.org/officeDocument/2006/relationships" xmlns:p="http://schemas.openxmlformats.org/presentationml/2006/main">
  <p:tag name="POWER_USER_TAGS_ICONS" val="problem-based-learning_POWER_USER_SEPARATOR_ICONS_think_POWER_USER_SEPARATOR_ICONS_smart_POWER_USER_SEPARATOR_ICONS_recreation_POWER_USER_SEPARATOR_ICONS_puzzle_POWER_USER_SEPARATOR_ICONS_play_POWER_USER_SEPARATOR_ICONS_head_POWER_USER_SEPARATOR_ICONS_game_POWER_USER_SEPARATOR_ICONS_fun_POWER_USER_SEPARATOR_ICONS_challenge_POWER_USER_SEPARATOR_ICONS_thinking"/>
</p:tagLst>
</file>

<file path=ppt/tags/tag158.xml><?xml version="1.0" encoding="utf-8"?>
<p:tagLst xmlns:a="http://schemas.openxmlformats.org/drawingml/2006/main" xmlns:r="http://schemas.openxmlformats.org/officeDocument/2006/relationships" xmlns:p="http://schemas.openxmlformats.org/presentationml/2006/main">
  <p:tag name="POWER_USER_TAGS_ICONS" val="problem-based-learning_POWER_USER_SEPARATOR_ICONS_think_POWER_USER_SEPARATOR_ICONS_smart_POWER_USER_SEPARATOR_ICONS_recreation_POWER_USER_SEPARATOR_ICONS_puzzle_POWER_USER_SEPARATOR_ICONS_play_POWER_USER_SEPARATOR_ICONS_head_POWER_USER_SEPARATOR_ICONS_game_POWER_USER_SEPARATOR_ICONS_fun_POWER_USER_SEPARATOR_ICONS_challenge_POWER_USER_SEPARATOR_ICONS_thinking"/>
</p:tagLst>
</file>

<file path=ppt/tags/tag159.xml><?xml version="1.0" encoding="utf-8"?>
<p:tagLst xmlns:a="http://schemas.openxmlformats.org/drawingml/2006/main" xmlns:r="http://schemas.openxmlformats.org/officeDocument/2006/relationships" xmlns:p="http://schemas.openxmlformats.org/presentationml/2006/main">
  <p:tag name="POWER_USER_TAGS_ICONS" val="problem-based-learning_POWER_USER_SEPARATOR_ICONS_think_POWER_USER_SEPARATOR_ICONS_smart_POWER_USER_SEPARATOR_ICONS_recreation_POWER_USER_SEPARATOR_ICONS_puzzle_POWER_USER_SEPARATOR_ICONS_play_POWER_USER_SEPARATOR_ICONS_head_POWER_USER_SEPARATOR_ICONS_game_POWER_USER_SEPARATOR_ICONS_fun_POWER_USER_SEPARATOR_ICONS_challenge_POWER_USER_SEPARATOR_ICONS_thinking"/>
</p:tagLst>
</file>

<file path=ppt/tags/tag16.xml><?xml version="1.0" encoding="utf-8"?>
<p:tagLst xmlns:a="http://schemas.openxmlformats.org/drawingml/2006/main" xmlns:r="http://schemas.openxmlformats.org/officeDocument/2006/relationships" xmlns:p="http://schemas.openxmlformats.org/presentationml/2006/main">
  <p:tag name="LEVEL" val="4"/>
  <p:tag name="LEFT" val=" 919.277"/>
  <p:tag name="TOP" val=" 13.6063"/>
  <p:tag name="WIDTH" val=" 23.52008"/>
  <p:tag name="HEIGHT" val=" 22.80008"/>
</p:tagLst>
</file>

<file path=ppt/tags/tag160.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161.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162.xml><?xml version="1.0" encoding="utf-8"?>
<p:tagLst xmlns:a="http://schemas.openxmlformats.org/drawingml/2006/main" xmlns:r="http://schemas.openxmlformats.org/officeDocument/2006/relationships" xmlns:p="http://schemas.openxmlformats.org/presentationml/2006/main">
  <p:tag name="LEVEL" val="4"/>
  <p:tag name="LEFT" val=" 919.277"/>
  <p:tag name="TOP" val=" 13.6063"/>
  <p:tag name="WIDTH" val=" 23.52008"/>
  <p:tag name="HEIGHT" val=" 22.80008"/>
</p:tagLst>
</file>

<file path=ppt/tags/tag163.xml><?xml version="1.0" encoding="utf-8"?>
<p:tagLst xmlns:a="http://schemas.openxmlformats.org/drawingml/2006/main" xmlns:r="http://schemas.openxmlformats.org/officeDocument/2006/relationships" xmlns:p="http://schemas.openxmlformats.org/presentationml/2006/main">
  <p:tag name="LEVEL" val="5"/>
  <p:tag name="LEFT" val=" 915.592"/>
  <p:tag name="TOP" val=" 19.84252"/>
  <p:tag name="WIDTH" val=" 30.04732"/>
  <p:tag name="HEIGHT" val=" 29.08126"/>
</p:tagLst>
</file>

<file path=ppt/tags/tag164.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165.xml><?xml version="1.0" encoding="utf-8"?>
<p:tagLst xmlns:a="http://schemas.openxmlformats.org/drawingml/2006/main" xmlns:r="http://schemas.openxmlformats.org/officeDocument/2006/relationships" xmlns:p="http://schemas.openxmlformats.org/presentationml/2006/main">
  <p:tag name="POWER_USER_TAGS_ICONS" val="problem-based-learning_POWER_USER_SEPARATOR_ICONS_think_POWER_USER_SEPARATOR_ICONS_smart_POWER_USER_SEPARATOR_ICONS_recreation_POWER_USER_SEPARATOR_ICONS_puzzle_POWER_USER_SEPARATOR_ICONS_play_POWER_USER_SEPARATOR_ICONS_head_POWER_USER_SEPARATOR_ICONS_game_POWER_USER_SEPARATOR_ICONS_fun_POWER_USER_SEPARATOR_ICONS_challenge_POWER_USER_SEPARATOR_ICONS_thinking"/>
</p:tagLst>
</file>

<file path=ppt/tags/tag166.xml><?xml version="1.0" encoding="utf-8"?>
<p:tagLst xmlns:a="http://schemas.openxmlformats.org/drawingml/2006/main" xmlns:r="http://schemas.openxmlformats.org/officeDocument/2006/relationships" xmlns:p="http://schemas.openxmlformats.org/presentationml/2006/main">
  <p:tag name="POWER_USER_TAGS_ICONS" val="problem-based-learning_POWER_USER_SEPARATOR_ICONS_think_POWER_USER_SEPARATOR_ICONS_smart_POWER_USER_SEPARATOR_ICONS_recreation_POWER_USER_SEPARATOR_ICONS_puzzle_POWER_USER_SEPARATOR_ICONS_play_POWER_USER_SEPARATOR_ICONS_head_POWER_USER_SEPARATOR_ICONS_game_POWER_USER_SEPARATOR_ICONS_fun_POWER_USER_SEPARATOR_ICONS_challenge_POWER_USER_SEPARATOR_ICONS_thinking"/>
</p:tagLst>
</file>

<file path=ppt/tags/tag167.xml><?xml version="1.0" encoding="utf-8"?>
<p:tagLst xmlns:a="http://schemas.openxmlformats.org/drawingml/2006/main" xmlns:r="http://schemas.openxmlformats.org/officeDocument/2006/relationships" xmlns:p="http://schemas.openxmlformats.org/presentationml/2006/main">
  <p:tag name="POWER_USER_TAGS_ICONS" val="problem-based-learning_POWER_USER_SEPARATOR_ICONS_think_POWER_USER_SEPARATOR_ICONS_smart_POWER_USER_SEPARATOR_ICONS_recreation_POWER_USER_SEPARATOR_ICONS_puzzle_POWER_USER_SEPARATOR_ICONS_play_POWER_USER_SEPARATOR_ICONS_head_POWER_USER_SEPARATOR_ICONS_game_POWER_USER_SEPARATOR_ICONS_fun_POWER_USER_SEPARATOR_ICONS_challenge_POWER_USER_SEPARATOR_ICONS_thinking"/>
</p:tagLst>
</file>

<file path=ppt/tags/tag168.xml><?xml version="1.0" encoding="utf-8"?>
<p:tagLst xmlns:a="http://schemas.openxmlformats.org/drawingml/2006/main" xmlns:r="http://schemas.openxmlformats.org/officeDocument/2006/relationships" xmlns:p="http://schemas.openxmlformats.org/presentationml/2006/main">
  <p:tag name="POWER_USER_TAGS_ICONS" val="problem-based-learning_POWER_USER_SEPARATOR_ICONS_think_POWER_USER_SEPARATOR_ICONS_smart_POWER_USER_SEPARATOR_ICONS_recreation_POWER_USER_SEPARATOR_ICONS_puzzle_POWER_USER_SEPARATOR_ICONS_play_POWER_USER_SEPARATOR_ICONS_head_POWER_USER_SEPARATOR_ICONS_game_POWER_USER_SEPARATOR_ICONS_fun_POWER_USER_SEPARATOR_ICONS_challenge_POWER_USER_SEPARATOR_ICONS_thinking"/>
</p:tagLst>
</file>

<file path=ppt/tags/tag169.xml><?xml version="1.0" encoding="utf-8"?>
<p:tagLst xmlns:a="http://schemas.openxmlformats.org/drawingml/2006/main" xmlns:r="http://schemas.openxmlformats.org/officeDocument/2006/relationships" xmlns:p="http://schemas.openxmlformats.org/presentationml/2006/main">
  <p:tag name="POWER_USER_TAGS_ICONS" val="problem-based-learning_POWER_USER_SEPARATOR_ICONS_think_POWER_USER_SEPARATOR_ICONS_smart_POWER_USER_SEPARATOR_ICONS_recreation_POWER_USER_SEPARATOR_ICONS_puzzle_POWER_USER_SEPARATOR_ICONS_play_POWER_USER_SEPARATOR_ICONS_head_POWER_USER_SEPARATOR_ICONS_game_POWER_USER_SEPARATOR_ICONS_fun_POWER_USER_SEPARATOR_ICONS_challenge_POWER_USER_SEPARATOR_ICONS_thinking"/>
</p:tagLst>
</file>

<file path=ppt/tags/tag17.xml><?xml version="1.0" encoding="utf-8"?>
<p:tagLst xmlns:a="http://schemas.openxmlformats.org/drawingml/2006/main" xmlns:r="http://schemas.openxmlformats.org/officeDocument/2006/relationships" xmlns:p="http://schemas.openxmlformats.org/presentationml/2006/main">
  <p:tag name="LEVEL" val="5"/>
  <p:tag name="LEFT" val=" 915.592"/>
  <p:tag name="TOP" val=" 19.84252"/>
  <p:tag name="WIDTH" val=" 30.04732"/>
  <p:tag name="HEIGHT" val=" 29.08126"/>
</p:tagLst>
</file>

<file path=ppt/tags/tag170.xml><?xml version="1.0" encoding="utf-8"?>
<p:tagLst xmlns:a="http://schemas.openxmlformats.org/drawingml/2006/main" xmlns:r="http://schemas.openxmlformats.org/officeDocument/2006/relationships" xmlns:p="http://schemas.openxmlformats.org/presentationml/2006/main">
  <p:tag name="POWER_USER_TAGS_ICONS" val="problem-based-learning_POWER_USER_SEPARATOR_ICONS_think_POWER_USER_SEPARATOR_ICONS_smart_POWER_USER_SEPARATOR_ICONS_recreation_POWER_USER_SEPARATOR_ICONS_puzzle_POWER_USER_SEPARATOR_ICONS_play_POWER_USER_SEPARATOR_ICONS_head_POWER_USER_SEPARATOR_ICONS_game_POWER_USER_SEPARATOR_ICONS_fun_POWER_USER_SEPARATOR_ICONS_challenge_POWER_USER_SEPARATOR_ICONS_thinking"/>
</p:tagLst>
</file>

<file path=ppt/tags/tag171.xml><?xml version="1.0" encoding="utf-8"?>
<p:tagLst xmlns:a="http://schemas.openxmlformats.org/drawingml/2006/main" xmlns:r="http://schemas.openxmlformats.org/officeDocument/2006/relationships" xmlns:p="http://schemas.openxmlformats.org/presentationml/2006/main">
  <p:tag name="POWER_USER_TAGS_ICONS" val="problem-based-learning_POWER_USER_SEPARATOR_ICONS_think_POWER_USER_SEPARATOR_ICONS_smart_POWER_USER_SEPARATOR_ICONS_recreation_POWER_USER_SEPARATOR_ICONS_puzzle_POWER_USER_SEPARATOR_ICONS_play_POWER_USER_SEPARATOR_ICONS_head_POWER_USER_SEPARATOR_ICONS_game_POWER_USER_SEPARATOR_ICONS_fun_POWER_USER_SEPARATOR_ICONS_challenge_POWER_USER_SEPARATOR_ICONS_thinking"/>
</p:tagLst>
</file>

<file path=ppt/tags/tag172.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173.xml><?xml version="1.0" encoding="utf-8"?>
<p:tagLst xmlns:a="http://schemas.openxmlformats.org/drawingml/2006/main" xmlns:r="http://schemas.openxmlformats.org/officeDocument/2006/relationships" xmlns:p="http://schemas.openxmlformats.org/presentationml/2006/main">
  <p:tag name="POWER_USER_TAGS_ICONS" val="problem-based-learning_POWER_USER_SEPARATOR_ICONS_think_POWER_USER_SEPARATOR_ICONS_smart_POWER_USER_SEPARATOR_ICONS_recreation_POWER_USER_SEPARATOR_ICONS_puzzle_POWER_USER_SEPARATOR_ICONS_play_POWER_USER_SEPARATOR_ICONS_head_POWER_USER_SEPARATOR_ICONS_game_POWER_USER_SEPARATOR_ICONS_fun_POWER_USER_SEPARATOR_ICONS_challenge_POWER_USER_SEPARATOR_ICONS_thinking"/>
</p:tagLst>
</file>

<file path=ppt/tags/tag174.xml><?xml version="1.0" encoding="utf-8"?>
<p:tagLst xmlns:a="http://schemas.openxmlformats.org/drawingml/2006/main" xmlns:r="http://schemas.openxmlformats.org/officeDocument/2006/relationships" xmlns:p="http://schemas.openxmlformats.org/presentationml/2006/main">
  <p:tag name="POWER_USER_TAGS_ICONS" val="problem-based-learning_POWER_USER_SEPARATOR_ICONS_think_POWER_USER_SEPARATOR_ICONS_smart_POWER_USER_SEPARATOR_ICONS_recreation_POWER_USER_SEPARATOR_ICONS_puzzle_POWER_USER_SEPARATOR_ICONS_play_POWER_USER_SEPARATOR_ICONS_head_POWER_USER_SEPARATOR_ICONS_game_POWER_USER_SEPARATOR_ICONS_fun_POWER_USER_SEPARATOR_ICONS_challenge_POWER_USER_SEPARATOR_ICONS_thinking"/>
</p:tagLst>
</file>

<file path=ppt/tags/tag175.xml><?xml version="1.0" encoding="utf-8"?>
<p:tagLst xmlns:a="http://schemas.openxmlformats.org/drawingml/2006/main" xmlns:r="http://schemas.openxmlformats.org/officeDocument/2006/relationships" xmlns:p="http://schemas.openxmlformats.org/presentationml/2006/main">
  <p:tag name="POWER_USER_TAGS_ICONS" val="problem-based-learning_POWER_USER_SEPARATOR_ICONS_think_POWER_USER_SEPARATOR_ICONS_smart_POWER_USER_SEPARATOR_ICONS_recreation_POWER_USER_SEPARATOR_ICONS_puzzle_POWER_USER_SEPARATOR_ICONS_play_POWER_USER_SEPARATOR_ICONS_head_POWER_USER_SEPARATOR_ICONS_game_POWER_USER_SEPARATOR_ICONS_fun_POWER_USER_SEPARATOR_ICONS_challenge_POWER_USER_SEPARATOR_ICONS_thinking"/>
</p:tagLst>
</file>

<file path=ppt/tags/tag176.xml><?xml version="1.0" encoding="utf-8"?>
<p:tagLst xmlns:a="http://schemas.openxmlformats.org/drawingml/2006/main" xmlns:r="http://schemas.openxmlformats.org/officeDocument/2006/relationships" xmlns:p="http://schemas.openxmlformats.org/presentationml/2006/main">
  <p:tag name="POWER_USER_TAGS_ICONS" val="problem-based-learning_POWER_USER_SEPARATOR_ICONS_think_POWER_USER_SEPARATOR_ICONS_smart_POWER_USER_SEPARATOR_ICONS_recreation_POWER_USER_SEPARATOR_ICONS_puzzle_POWER_USER_SEPARATOR_ICONS_play_POWER_USER_SEPARATOR_ICONS_head_POWER_USER_SEPARATOR_ICONS_game_POWER_USER_SEPARATOR_ICONS_fun_POWER_USER_SEPARATOR_ICONS_challenge_POWER_USER_SEPARATOR_ICONS_thinking"/>
</p:tagLst>
</file>

<file path=ppt/tags/tag177.xml><?xml version="1.0" encoding="utf-8"?>
<p:tagLst xmlns:a="http://schemas.openxmlformats.org/drawingml/2006/main" xmlns:r="http://schemas.openxmlformats.org/officeDocument/2006/relationships" xmlns:p="http://schemas.openxmlformats.org/presentationml/2006/main">
  <p:tag name="POWER_USER_TAGS_ICONS" val="problem-based-learning_POWER_USER_SEPARATOR_ICONS_think_POWER_USER_SEPARATOR_ICONS_smart_POWER_USER_SEPARATOR_ICONS_recreation_POWER_USER_SEPARATOR_ICONS_puzzle_POWER_USER_SEPARATOR_ICONS_play_POWER_USER_SEPARATOR_ICONS_head_POWER_USER_SEPARATOR_ICONS_game_POWER_USER_SEPARATOR_ICONS_fun_POWER_USER_SEPARATOR_ICONS_challenge_POWER_USER_SEPARATOR_ICONS_thinking"/>
</p:tagLst>
</file>

<file path=ppt/tags/tag178.xml><?xml version="1.0" encoding="utf-8"?>
<p:tagLst xmlns:a="http://schemas.openxmlformats.org/drawingml/2006/main" xmlns:r="http://schemas.openxmlformats.org/officeDocument/2006/relationships" xmlns:p="http://schemas.openxmlformats.org/presentationml/2006/main">
  <p:tag name="POWER_USER_TAGS_ICONS" val="problem-based-learning_POWER_USER_SEPARATOR_ICONS_think_POWER_USER_SEPARATOR_ICONS_smart_POWER_USER_SEPARATOR_ICONS_recreation_POWER_USER_SEPARATOR_ICONS_puzzle_POWER_USER_SEPARATOR_ICONS_play_POWER_USER_SEPARATOR_ICONS_head_POWER_USER_SEPARATOR_ICONS_game_POWER_USER_SEPARATOR_ICONS_fun_POWER_USER_SEPARATOR_ICONS_challenge_POWER_USER_SEPARATOR_ICONS_thinking"/>
</p:tagLst>
</file>

<file path=ppt/tags/tag179.xml><?xml version="1.0" encoding="utf-8"?>
<p:tagLst xmlns:a="http://schemas.openxmlformats.org/drawingml/2006/main" xmlns:r="http://schemas.openxmlformats.org/officeDocument/2006/relationships" xmlns:p="http://schemas.openxmlformats.org/presentationml/2006/main">
  <p:tag name="POWER_USER_TAGS_ICONS" val="problem-based-learning_POWER_USER_SEPARATOR_ICONS_think_POWER_USER_SEPARATOR_ICONS_smart_POWER_USER_SEPARATOR_ICONS_recreation_POWER_USER_SEPARATOR_ICONS_puzzle_POWER_USER_SEPARATOR_ICONS_play_POWER_USER_SEPARATOR_ICONS_head_POWER_USER_SEPARATOR_ICONS_game_POWER_USER_SEPARATOR_ICONS_fun_POWER_USER_SEPARATOR_ICONS_challenge_POWER_USER_SEPARATOR_ICONS_thinking"/>
</p:tagLst>
</file>

<file path=ppt/tags/tag18.xml><?xml version="1.0" encoding="utf-8"?>
<p:tagLst xmlns:a="http://schemas.openxmlformats.org/drawingml/2006/main" xmlns:r="http://schemas.openxmlformats.org/officeDocument/2006/relationships" xmlns:p="http://schemas.openxmlformats.org/presentationml/2006/main">
  <p:tag name="LEVEL" val="5"/>
  <p:tag name="LEFT" val=" 119.0553"/>
  <p:tag name="TOP" val=" 41.10244"/>
  <p:tag name="WIDTH" val=" 425.1975"/>
  <p:tag name="HEIGHT" val=" 34.01583"/>
</p:tagLst>
</file>

<file path=ppt/tags/tag180.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181.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182.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183.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184.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185.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186.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187.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188.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189.xml><?xml version="1.0" encoding="utf-8"?>
<p:tagLst xmlns:a="http://schemas.openxmlformats.org/drawingml/2006/main" xmlns:r="http://schemas.openxmlformats.org/officeDocument/2006/relationships" xmlns:p="http://schemas.openxmlformats.org/presentationml/2006/main">
  <p:tag name="POWER_USER_TAGS_ICONS" val="problem-based-learning_POWER_USER_SEPARATOR_ICONS_think_POWER_USER_SEPARATOR_ICONS_smart_POWER_USER_SEPARATOR_ICONS_recreation_POWER_USER_SEPARATOR_ICONS_puzzle_POWER_USER_SEPARATOR_ICONS_play_POWER_USER_SEPARATOR_ICONS_head_POWER_USER_SEPARATOR_ICONS_game_POWER_USER_SEPARATOR_ICONS_fun_POWER_USER_SEPARATOR_ICONS_challenge_POWER_USER_SEPARATOR_ICONS_thinking"/>
</p:tagLst>
</file>

<file path=ppt/tags/tag19.xml><?xml version="1.0" encoding="utf-8"?>
<p:tagLst xmlns:a="http://schemas.openxmlformats.org/drawingml/2006/main" xmlns:r="http://schemas.openxmlformats.org/officeDocument/2006/relationships" xmlns:p="http://schemas.openxmlformats.org/presentationml/2006/main">
  <p:tag name="LEVEL" val="5"/>
  <p:tag name="LEFT" val=" 85.03953"/>
  <p:tag name="TOP" val=" 110.5513"/>
  <p:tag name="WIDTH" val=" 466.2999"/>
  <p:tag name="HEIGHT" val=" 396.851"/>
</p:tagLst>
</file>

<file path=ppt/tags/tag190.xml><?xml version="1.0" encoding="utf-8"?>
<p:tagLst xmlns:a="http://schemas.openxmlformats.org/drawingml/2006/main" xmlns:r="http://schemas.openxmlformats.org/officeDocument/2006/relationships" xmlns:p="http://schemas.openxmlformats.org/presentationml/2006/main">
  <p:tag name="POWER_USER_TAGS_ICONS" val="problem-based-learning_POWER_USER_SEPARATOR_ICONS_think_POWER_USER_SEPARATOR_ICONS_smart_POWER_USER_SEPARATOR_ICONS_recreation_POWER_USER_SEPARATOR_ICONS_puzzle_POWER_USER_SEPARATOR_ICONS_play_POWER_USER_SEPARATOR_ICONS_head_POWER_USER_SEPARATOR_ICONS_game_POWER_USER_SEPARATOR_ICONS_fun_POWER_USER_SEPARATOR_ICONS_challenge_POWER_USER_SEPARATOR_ICONS_thinking"/>
</p:tagLst>
</file>

<file path=ppt/tags/tag191.xml><?xml version="1.0" encoding="utf-8"?>
<p:tagLst xmlns:a="http://schemas.openxmlformats.org/drawingml/2006/main" xmlns:r="http://schemas.openxmlformats.org/officeDocument/2006/relationships" xmlns:p="http://schemas.openxmlformats.org/presentationml/2006/main">
  <p:tag name="POWER_USER_TAGS_ICONS" val="problem-based-learning_POWER_USER_SEPARATOR_ICONS_think_POWER_USER_SEPARATOR_ICONS_smart_POWER_USER_SEPARATOR_ICONS_recreation_POWER_USER_SEPARATOR_ICONS_puzzle_POWER_USER_SEPARATOR_ICONS_play_POWER_USER_SEPARATOR_ICONS_head_POWER_USER_SEPARATOR_ICONS_game_POWER_USER_SEPARATOR_ICONS_fun_POWER_USER_SEPARATOR_ICONS_challenge_POWER_USER_SEPARATOR_ICONS_thinking"/>
</p:tagLst>
</file>

<file path=ppt/tags/tag192.xml><?xml version="1.0" encoding="utf-8"?>
<p:tagLst xmlns:a="http://schemas.openxmlformats.org/drawingml/2006/main" xmlns:r="http://schemas.openxmlformats.org/officeDocument/2006/relationships" xmlns:p="http://schemas.openxmlformats.org/presentationml/2006/main">
  <p:tag name="POWER_USER_TAGS_ICONS" val="problem-based-learning_POWER_USER_SEPARATOR_ICONS_think_POWER_USER_SEPARATOR_ICONS_smart_POWER_USER_SEPARATOR_ICONS_recreation_POWER_USER_SEPARATOR_ICONS_puzzle_POWER_USER_SEPARATOR_ICONS_play_POWER_USER_SEPARATOR_ICONS_head_POWER_USER_SEPARATOR_ICONS_game_POWER_USER_SEPARATOR_ICONS_fun_POWER_USER_SEPARATOR_ICONS_challenge_POWER_USER_SEPARATOR_ICONS_thinking"/>
</p:tagLst>
</file>

<file path=ppt/tags/tag193.xml><?xml version="1.0" encoding="utf-8"?>
<p:tagLst xmlns:a="http://schemas.openxmlformats.org/drawingml/2006/main" xmlns:r="http://schemas.openxmlformats.org/officeDocument/2006/relationships" xmlns:p="http://schemas.openxmlformats.org/presentationml/2006/main">
  <p:tag name="POWER_USER_TAGS_ICONS" val="problem-based-learning_POWER_USER_SEPARATOR_ICONS_think_POWER_USER_SEPARATOR_ICONS_smart_POWER_USER_SEPARATOR_ICONS_recreation_POWER_USER_SEPARATOR_ICONS_puzzle_POWER_USER_SEPARATOR_ICONS_play_POWER_USER_SEPARATOR_ICONS_head_POWER_USER_SEPARATOR_ICONS_game_POWER_USER_SEPARATOR_ICONS_fun_POWER_USER_SEPARATOR_ICONS_challenge_POWER_USER_SEPARATOR_ICONS_thinking"/>
</p:tagLst>
</file>

<file path=ppt/tags/tag194.xml><?xml version="1.0" encoding="utf-8"?>
<p:tagLst xmlns:a="http://schemas.openxmlformats.org/drawingml/2006/main" xmlns:r="http://schemas.openxmlformats.org/officeDocument/2006/relationships" xmlns:p="http://schemas.openxmlformats.org/presentationml/2006/main">
  <p:tag name="POWER_USER_TAGS_ICONS" val="problem-based-learning_POWER_USER_SEPARATOR_ICONS_think_POWER_USER_SEPARATOR_ICONS_smart_POWER_USER_SEPARATOR_ICONS_recreation_POWER_USER_SEPARATOR_ICONS_puzzle_POWER_USER_SEPARATOR_ICONS_play_POWER_USER_SEPARATOR_ICONS_head_POWER_USER_SEPARATOR_ICONS_game_POWER_USER_SEPARATOR_ICONS_fun_POWER_USER_SEPARATOR_ICONS_challenge_POWER_USER_SEPARATOR_ICONS_thinking"/>
</p:tagLst>
</file>

<file path=ppt/tags/tag195.xml><?xml version="1.0" encoding="utf-8"?>
<p:tagLst xmlns:a="http://schemas.openxmlformats.org/drawingml/2006/main" xmlns:r="http://schemas.openxmlformats.org/officeDocument/2006/relationships" xmlns:p="http://schemas.openxmlformats.org/presentationml/2006/main">
  <p:tag name="POWER_USER_TAGS_ICONS" val="problem-based-learning_POWER_USER_SEPARATOR_ICONS_think_POWER_USER_SEPARATOR_ICONS_smart_POWER_USER_SEPARATOR_ICONS_recreation_POWER_USER_SEPARATOR_ICONS_puzzle_POWER_USER_SEPARATOR_ICONS_play_POWER_USER_SEPARATOR_ICONS_head_POWER_USER_SEPARATOR_ICONS_game_POWER_USER_SEPARATOR_ICONS_fun_POWER_USER_SEPARATOR_ICONS_challenge_POWER_USER_SEPARATOR_ICONS_thinking"/>
</p:tagLst>
</file>

<file path=ppt/tags/tag196.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197.xml><?xml version="1.0" encoding="utf-8"?>
<p:tagLst xmlns:a="http://schemas.openxmlformats.org/drawingml/2006/main" xmlns:r="http://schemas.openxmlformats.org/officeDocument/2006/relationships" xmlns:p="http://schemas.openxmlformats.org/presentationml/2006/main">
  <p:tag name="POWER_USER_TAGS_ICONS" val="problem-based-learning_POWER_USER_SEPARATOR_ICONS_think_POWER_USER_SEPARATOR_ICONS_smart_POWER_USER_SEPARATOR_ICONS_recreation_POWER_USER_SEPARATOR_ICONS_puzzle_POWER_USER_SEPARATOR_ICONS_play_POWER_USER_SEPARATOR_ICONS_head_POWER_USER_SEPARATOR_ICONS_game_POWER_USER_SEPARATOR_ICONS_fun_POWER_USER_SEPARATOR_ICONS_challenge_POWER_USER_SEPARATOR_ICONS_thinking"/>
</p:tagLst>
</file>

<file path=ppt/tags/tag198.xml><?xml version="1.0" encoding="utf-8"?>
<p:tagLst xmlns:a="http://schemas.openxmlformats.org/drawingml/2006/main" xmlns:r="http://schemas.openxmlformats.org/officeDocument/2006/relationships" xmlns:p="http://schemas.openxmlformats.org/presentationml/2006/main">
  <p:tag name="POWER_USER_TAGS_ICONS" val="problem-based-learning_POWER_USER_SEPARATOR_ICONS_think_POWER_USER_SEPARATOR_ICONS_smart_POWER_USER_SEPARATOR_ICONS_recreation_POWER_USER_SEPARATOR_ICONS_puzzle_POWER_USER_SEPARATOR_ICONS_play_POWER_USER_SEPARATOR_ICONS_head_POWER_USER_SEPARATOR_ICONS_game_POWER_USER_SEPARATOR_ICONS_fun_POWER_USER_SEPARATOR_ICONS_challenge_POWER_USER_SEPARATOR_ICONS_thinking"/>
</p:tagLst>
</file>

<file path=ppt/tags/tag199.xml><?xml version="1.0" encoding="utf-8"?>
<p:tagLst xmlns:a="http://schemas.openxmlformats.org/drawingml/2006/main" xmlns:r="http://schemas.openxmlformats.org/officeDocument/2006/relationships" xmlns:p="http://schemas.openxmlformats.org/presentationml/2006/main">
  <p:tag name="POWER_USER_TAGS_ICONS" val="problem-based-learning_POWER_USER_SEPARATOR_ICONS_think_POWER_USER_SEPARATOR_ICONS_smart_POWER_USER_SEPARATOR_ICONS_recreation_POWER_USER_SEPARATOR_ICONS_puzzle_POWER_USER_SEPARATOR_ICONS_play_POWER_USER_SEPARATOR_ICONS_head_POWER_USER_SEPARATOR_ICONS_game_POWER_USER_SEPARATOR_ICONS_fun_POWER_USER_SEPARATOR_ICONS_challenge_POWER_USER_SEPARATOR_ICONS_thinking"/>
</p:tagLst>
</file>

<file path=ppt/tags/tag2.xml><?xml version="1.0" encoding="utf-8"?>
<p:tagLst xmlns:a="http://schemas.openxmlformats.org/drawingml/2006/main" xmlns:r="http://schemas.openxmlformats.org/officeDocument/2006/relationships" xmlns:p="http://schemas.openxmlformats.org/presentationml/2006/main">
  <p:tag name="LEVEL" val="4"/>
  <p:tag name="LEFT" val=" 756.8516"/>
  <p:tag name="TOP" val=" 413.0085"/>
  <p:tag name="WIDTH" val=" 167.5278"/>
  <p:tag name="HEIGHT" val=" 92.40425"/>
</p:tagLst>
</file>

<file path=ppt/tags/tag20.xml><?xml version="1.0" encoding="utf-8"?>
<p:tagLst xmlns:a="http://schemas.openxmlformats.org/drawingml/2006/main" xmlns:r="http://schemas.openxmlformats.org/officeDocument/2006/relationships" xmlns:p="http://schemas.openxmlformats.org/presentationml/2006/main">
  <p:tag name="LEVEL" val="5"/>
  <p:tag name="LEFT" val=" 915.592"/>
  <p:tag name="TOP" val=" 19.84252"/>
  <p:tag name="WIDTH" val=" 30.04732"/>
  <p:tag name="HEIGHT" val=" 29.08126"/>
</p:tagLst>
</file>

<file path=ppt/tags/tag200.xml><?xml version="1.0" encoding="utf-8"?>
<p:tagLst xmlns:a="http://schemas.openxmlformats.org/drawingml/2006/main" xmlns:r="http://schemas.openxmlformats.org/officeDocument/2006/relationships" xmlns:p="http://schemas.openxmlformats.org/presentationml/2006/main">
  <p:tag name="POWER_USER_TAGS_ICONS" val="problem-based-learning_POWER_USER_SEPARATOR_ICONS_think_POWER_USER_SEPARATOR_ICONS_smart_POWER_USER_SEPARATOR_ICONS_recreation_POWER_USER_SEPARATOR_ICONS_puzzle_POWER_USER_SEPARATOR_ICONS_play_POWER_USER_SEPARATOR_ICONS_head_POWER_USER_SEPARATOR_ICONS_game_POWER_USER_SEPARATOR_ICONS_fun_POWER_USER_SEPARATOR_ICONS_challenge_POWER_USER_SEPARATOR_ICONS_thinking"/>
</p:tagLst>
</file>

<file path=ppt/tags/tag201.xml><?xml version="1.0" encoding="utf-8"?>
<p:tagLst xmlns:a="http://schemas.openxmlformats.org/drawingml/2006/main" xmlns:r="http://schemas.openxmlformats.org/officeDocument/2006/relationships" xmlns:p="http://schemas.openxmlformats.org/presentationml/2006/main">
  <p:tag name="POWER_USER_TAGS_ICONS" val="problem-based-learning_POWER_USER_SEPARATOR_ICONS_think_POWER_USER_SEPARATOR_ICONS_smart_POWER_USER_SEPARATOR_ICONS_recreation_POWER_USER_SEPARATOR_ICONS_puzzle_POWER_USER_SEPARATOR_ICONS_play_POWER_USER_SEPARATOR_ICONS_head_POWER_USER_SEPARATOR_ICONS_game_POWER_USER_SEPARATOR_ICONS_fun_POWER_USER_SEPARATOR_ICONS_challenge_POWER_USER_SEPARATOR_ICONS_thinking"/>
</p:tagLst>
</file>

<file path=ppt/tags/tag202.xml><?xml version="1.0" encoding="utf-8"?>
<p:tagLst xmlns:a="http://schemas.openxmlformats.org/drawingml/2006/main" xmlns:r="http://schemas.openxmlformats.org/officeDocument/2006/relationships" xmlns:p="http://schemas.openxmlformats.org/presentationml/2006/main">
  <p:tag name="POWER_USER_TAGS_ICONS" val="problem-based-learning_POWER_USER_SEPARATOR_ICONS_think_POWER_USER_SEPARATOR_ICONS_smart_POWER_USER_SEPARATOR_ICONS_recreation_POWER_USER_SEPARATOR_ICONS_puzzle_POWER_USER_SEPARATOR_ICONS_play_POWER_USER_SEPARATOR_ICONS_head_POWER_USER_SEPARATOR_ICONS_game_POWER_USER_SEPARATOR_ICONS_fun_POWER_USER_SEPARATOR_ICONS_challenge_POWER_USER_SEPARATOR_ICONS_thinking"/>
</p:tagLst>
</file>

<file path=ppt/tags/tag203.xml><?xml version="1.0" encoding="utf-8"?>
<p:tagLst xmlns:a="http://schemas.openxmlformats.org/drawingml/2006/main" xmlns:r="http://schemas.openxmlformats.org/officeDocument/2006/relationships" xmlns:p="http://schemas.openxmlformats.org/presentationml/2006/main">
  <p:tag name="POWER_USER_TAGS_ICONS" val="problem-based-learning_POWER_USER_SEPARATOR_ICONS_think_POWER_USER_SEPARATOR_ICONS_smart_POWER_USER_SEPARATOR_ICONS_recreation_POWER_USER_SEPARATOR_ICONS_puzzle_POWER_USER_SEPARATOR_ICONS_play_POWER_USER_SEPARATOR_ICONS_head_POWER_USER_SEPARATOR_ICONS_game_POWER_USER_SEPARATOR_ICONS_fun_POWER_USER_SEPARATOR_ICONS_challenge_POWER_USER_SEPARATOR_ICONS_thinking"/>
</p:tagLst>
</file>

<file path=ppt/tags/tag204.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205.xml><?xml version="1.0" encoding="utf-8"?>
<p:tagLst xmlns:a="http://schemas.openxmlformats.org/drawingml/2006/main" xmlns:r="http://schemas.openxmlformats.org/officeDocument/2006/relationships" xmlns:p="http://schemas.openxmlformats.org/presentationml/2006/main">
  <p:tag name="POWER_USER_TAGS_ICONS" val="problem-based-learning_POWER_USER_SEPARATOR_ICONS_think_POWER_USER_SEPARATOR_ICONS_smart_POWER_USER_SEPARATOR_ICONS_recreation_POWER_USER_SEPARATOR_ICONS_puzzle_POWER_USER_SEPARATOR_ICONS_play_POWER_USER_SEPARATOR_ICONS_head_POWER_USER_SEPARATOR_ICONS_game_POWER_USER_SEPARATOR_ICONS_fun_POWER_USER_SEPARATOR_ICONS_challenge_POWER_USER_SEPARATOR_ICONS_thinking"/>
</p:tagLst>
</file>

<file path=ppt/tags/tag206.xml><?xml version="1.0" encoding="utf-8"?>
<p:tagLst xmlns:a="http://schemas.openxmlformats.org/drawingml/2006/main" xmlns:r="http://schemas.openxmlformats.org/officeDocument/2006/relationships" xmlns:p="http://schemas.openxmlformats.org/presentationml/2006/main">
  <p:tag name="POWER_USER_TAGS_ICONS" val="problem-based-learning_POWER_USER_SEPARATOR_ICONS_think_POWER_USER_SEPARATOR_ICONS_smart_POWER_USER_SEPARATOR_ICONS_recreation_POWER_USER_SEPARATOR_ICONS_puzzle_POWER_USER_SEPARATOR_ICONS_play_POWER_USER_SEPARATOR_ICONS_head_POWER_USER_SEPARATOR_ICONS_game_POWER_USER_SEPARATOR_ICONS_fun_POWER_USER_SEPARATOR_ICONS_challenge_POWER_USER_SEPARATOR_ICONS_thinking"/>
</p:tagLst>
</file>

<file path=ppt/tags/tag207.xml><?xml version="1.0" encoding="utf-8"?>
<p:tagLst xmlns:a="http://schemas.openxmlformats.org/drawingml/2006/main" xmlns:r="http://schemas.openxmlformats.org/officeDocument/2006/relationships" xmlns:p="http://schemas.openxmlformats.org/presentationml/2006/main">
  <p:tag name="POWER_USER_TAGS_ICONS" val="problem-based-learning_POWER_USER_SEPARATOR_ICONS_think_POWER_USER_SEPARATOR_ICONS_smart_POWER_USER_SEPARATOR_ICONS_recreation_POWER_USER_SEPARATOR_ICONS_puzzle_POWER_USER_SEPARATOR_ICONS_play_POWER_USER_SEPARATOR_ICONS_head_POWER_USER_SEPARATOR_ICONS_game_POWER_USER_SEPARATOR_ICONS_fun_POWER_USER_SEPARATOR_ICONS_challenge_POWER_USER_SEPARATOR_ICONS_thinking"/>
</p:tagLst>
</file>

<file path=ppt/tags/tag208.xml><?xml version="1.0" encoding="utf-8"?>
<p:tagLst xmlns:a="http://schemas.openxmlformats.org/drawingml/2006/main" xmlns:r="http://schemas.openxmlformats.org/officeDocument/2006/relationships" xmlns:p="http://schemas.openxmlformats.org/presentationml/2006/main">
  <p:tag name="POWER_USER_TAGS_ICONS" val="problem-based-learning_POWER_USER_SEPARATOR_ICONS_think_POWER_USER_SEPARATOR_ICONS_smart_POWER_USER_SEPARATOR_ICONS_recreation_POWER_USER_SEPARATOR_ICONS_puzzle_POWER_USER_SEPARATOR_ICONS_play_POWER_USER_SEPARATOR_ICONS_head_POWER_USER_SEPARATOR_ICONS_game_POWER_USER_SEPARATOR_ICONS_fun_POWER_USER_SEPARATOR_ICONS_challenge_POWER_USER_SEPARATOR_ICONS_thinking"/>
</p:tagLst>
</file>

<file path=ppt/tags/tag209.xml><?xml version="1.0" encoding="utf-8"?>
<p:tagLst xmlns:a="http://schemas.openxmlformats.org/drawingml/2006/main" xmlns:r="http://schemas.openxmlformats.org/officeDocument/2006/relationships" xmlns:p="http://schemas.openxmlformats.org/presentationml/2006/main">
  <p:tag name="POWER_USER_TAGS_ICONS" val="problem-based-learning_POWER_USER_SEPARATOR_ICONS_think_POWER_USER_SEPARATOR_ICONS_smart_POWER_USER_SEPARATOR_ICONS_recreation_POWER_USER_SEPARATOR_ICONS_puzzle_POWER_USER_SEPARATOR_ICONS_play_POWER_USER_SEPARATOR_ICONS_head_POWER_USER_SEPARATOR_ICONS_game_POWER_USER_SEPARATOR_ICONS_fun_POWER_USER_SEPARATOR_ICONS_challenge_POWER_USER_SEPARATOR_ICONS_thinking"/>
</p:tagLst>
</file>

<file path=ppt/tags/tag21.xml><?xml version="1.0" encoding="utf-8"?>
<p:tagLst xmlns:a="http://schemas.openxmlformats.org/drawingml/2006/main" xmlns:r="http://schemas.openxmlformats.org/officeDocument/2006/relationships" xmlns:p="http://schemas.openxmlformats.org/presentationml/2006/main">
  <p:tag name="LEVEL" val="4"/>
  <p:tag name="LEFT" val=" 919.277"/>
  <p:tag name="TOP" val=" 13.6063"/>
  <p:tag name="WIDTH" val=" 23.52008"/>
  <p:tag name="HEIGHT" val=" 22.80008"/>
</p:tagLst>
</file>

<file path=ppt/tags/tag210.xml><?xml version="1.0" encoding="utf-8"?>
<p:tagLst xmlns:a="http://schemas.openxmlformats.org/drawingml/2006/main" xmlns:r="http://schemas.openxmlformats.org/officeDocument/2006/relationships" xmlns:p="http://schemas.openxmlformats.org/presentationml/2006/main">
  <p:tag name="POWER_USER_TAGS_ICONS" val="problem-based-learning_POWER_USER_SEPARATOR_ICONS_think_POWER_USER_SEPARATOR_ICONS_smart_POWER_USER_SEPARATOR_ICONS_recreation_POWER_USER_SEPARATOR_ICONS_puzzle_POWER_USER_SEPARATOR_ICONS_play_POWER_USER_SEPARATOR_ICONS_head_POWER_USER_SEPARATOR_ICONS_game_POWER_USER_SEPARATOR_ICONS_fun_POWER_USER_SEPARATOR_ICONS_challenge_POWER_USER_SEPARATOR_ICONS_thinking"/>
</p:tagLst>
</file>

<file path=ppt/tags/tag211.xml><?xml version="1.0" encoding="utf-8"?>
<p:tagLst xmlns:a="http://schemas.openxmlformats.org/drawingml/2006/main" xmlns:r="http://schemas.openxmlformats.org/officeDocument/2006/relationships" xmlns:p="http://schemas.openxmlformats.org/presentationml/2006/main">
  <p:tag name="POWER_USER_TAGS_ICONS" val="problem-based-learning_POWER_USER_SEPARATOR_ICONS_think_POWER_USER_SEPARATOR_ICONS_smart_POWER_USER_SEPARATOR_ICONS_recreation_POWER_USER_SEPARATOR_ICONS_puzzle_POWER_USER_SEPARATOR_ICONS_play_POWER_USER_SEPARATOR_ICONS_head_POWER_USER_SEPARATOR_ICONS_game_POWER_USER_SEPARATOR_ICONS_fun_POWER_USER_SEPARATOR_ICONS_challenge_POWER_USER_SEPARATOR_ICONS_thinking"/>
</p:tagLst>
</file>

<file path=ppt/tags/tag212.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213.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214.xml><?xml version="1.0" encoding="utf-8"?>
<p:tagLst xmlns:a="http://schemas.openxmlformats.org/drawingml/2006/main" xmlns:r="http://schemas.openxmlformats.org/officeDocument/2006/relationships" xmlns:p="http://schemas.openxmlformats.org/presentationml/2006/main">
  <p:tag name="LEVEL" val="5"/>
  <p:tag name="LEFT" val=" 915.592"/>
  <p:tag name="TOP" val=" 19.84252"/>
  <p:tag name="WIDTH" val=" 30.04732"/>
  <p:tag name="HEIGHT" val=" 29.08126"/>
</p:tagLst>
</file>

<file path=ppt/tags/tag215.xml><?xml version="1.0" encoding="utf-8"?>
<p:tagLst xmlns:a="http://schemas.openxmlformats.org/drawingml/2006/main" xmlns:r="http://schemas.openxmlformats.org/officeDocument/2006/relationships" xmlns:p="http://schemas.openxmlformats.org/presentationml/2006/main">
  <p:tag name="LEVEL" val="4"/>
  <p:tag name="LEFT" val=" 919.277"/>
  <p:tag name="TOP" val=" 13.6063"/>
  <p:tag name="WIDTH" val=" 23.52008"/>
  <p:tag name="HEIGHT" val=" 22.80008"/>
</p:tagLst>
</file>

<file path=ppt/tags/tag216.xml><?xml version="1.0" encoding="utf-8"?>
<p:tagLst xmlns:a="http://schemas.openxmlformats.org/drawingml/2006/main" xmlns:r="http://schemas.openxmlformats.org/officeDocument/2006/relationships" xmlns:p="http://schemas.openxmlformats.org/presentationml/2006/main">
  <p:tag name="LEVEL" val="5"/>
  <p:tag name="LEFT" val=" 915.592"/>
  <p:tag name="TOP" val=" 19.84252"/>
  <p:tag name="WIDTH" val=" 30.04732"/>
  <p:tag name="HEIGHT" val=" 29.08126"/>
</p:tagLst>
</file>

<file path=ppt/tags/tag217.xml><?xml version="1.0" encoding="utf-8"?>
<p:tagLst xmlns:a="http://schemas.openxmlformats.org/drawingml/2006/main" xmlns:r="http://schemas.openxmlformats.org/officeDocument/2006/relationships" xmlns:p="http://schemas.openxmlformats.org/presentationml/2006/main">
  <p:tag name="LEVEL" val="5"/>
  <p:tag name="LEFT" val=" 915.592"/>
  <p:tag name="TOP" val=" 19.84252"/>
  <p:tag name="WIDTH" val=" 30.04732"/>
  <p:tag name="HEIGHT" val=" 29.08126"/>
</p:tagLst>
</file>

<file path=ppt/tags/tag218.xml><?xml version="1.0" encoding="utf-8"?>
<p:tagLst xmlns:a="http://schemas.openxmlformats.org/drawingml/2006/main" xmlns:r="http://schemas.openxmlformats.org/officeDocument/2006/relationships" xmlns:p="http://schemas.openxmlformats.org/presentationml/2006/main">
  <p:tag name="LEVEL" val="4"/>
  <p:tag name="LEFT" val=" 919.277"/>
  <p:tag name="TOP" val=" 13.6063"/>
  <p:tag name="WIDTH" val=" 23.52008"/>
  <p:tag name="HEIGHT" val=" 22.80008"/>
</p:tagLst>
</file>

<file path=ppt/tags/tag219.xml><?xml version="1.0" encoding="utf-8"?>
<p:tagLst xmlns:a="http://schemas.openxmlformats.org/drawingml/2006/main" xmlns:r="http://schemas.openxmlformats.org/officeDocument/2006/relationships" xmlns:p="http://schemas.openxmlformats.org/presentationml/2006/main">
  <p:tag name="LEVEL" val="5"/>
  <p:tag name="LEFT" val=" 915.592"/>
  <p:tag name="TOP" val=" 19.84252"/>
  <p:tag name="WIDTH" val=" 30.04732"/>
  <p:tag name="HEIGHT" val=" 29.08126"/>
</p:tagLst>
</file>

<file path=ppt/tags/tag22.xml><?xml version="1.0" encoding="utf-8"?>
<p:tagLst xmlns:a="http://schemas.openxmlformats.org/drawingml/2006/main" xmlns:r="http://schemas.openxmlformats.org/officeDocument/2006/relationships" xmlns:p="http://schemas.openxmlformats.org/presentationml/2006/main">
  <p:tag name="LEVEL" val="5"/>
  <p:tag name="LEFT" val=" 915.592"/>
  <p:tag name="TOP" val=" 19.84252"/>
  <p:tag name="WIDTH" val=" 30.04732"/>
  <p:tag name="HEIGHT" val=" 29.08126"/>
</p:tagLst>
</file>

<file path=ppt/tags/tag220.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221.xml><?xml version="1.0" encoding="utf-8"?>
<p:tagLst xmlns:a="http://schemas.openxmlformats.org/drawingml/2006/main" xmlns:r="http://schemas.openxmlformats.org/officeDocument/2006/relationships" xmlns:p="http://schemas.openxmlformats.org/presentationml/2006/main">
  <p:tag name="POWER_USER_TAGS_ICONS" val="problem-based-learning_POWER_USER_SEPARATOR_ICONS_think_POWER_USER_SEPARATOR_ICONS_smart_POWER_USER_SEPARATOR_ICONS_recreation_POWER_USER_SEPARATOR_ICONS_puzzle_POWER_USER_SEPARATOR_ICONS_play_POWER_USER_SEPARATOR_ICONS_head_POWER_USER_SEPARATOR_ICONS_game_POWER_USER_SEPARATOR_ICONS_fun_POWER_USER_SEPARATOR_ICONS_challenge_POWER_USER_SEPARATOR_ICONS_thinking"/>
</p:tagLst>
</file>

<file path=ppt/tags/tag222.xml><?xml version="1.0" encoding="utf-8"?>
<p:tagLst xmlns:a="http://schemas.openxmlformats.org/drawingml/2006/main" xmlns:r="http://schemas.openxmlformats.org/officeDocument/2006/relationships" xmlns:p="http://schemas.openxmlformats.org/presentationml/2006/main">
  <p:tag name="POWER_USER_TAGS_ICONS" val="problem-based-learning_POWER_USER_SEPARATOR_ICONS_think_POWER_USER_SEPARATOR_ICONS_smart_POWER_USER_SEPARATOR_ICONS_recreation_POWER_USER_SEPARATOR_ICONS_puzzle_POWER_USER_SEPARATOR_ICONS_play_POWER_USER_SEPARATOR_ICONS_head_POWER_USER_SEPARATOR_ICONS_game_POWER_USER_SEPARATOR_ICONS_fun_POWER_USER_SEPARATOR_ICONS_challenge_POWER_USER_SEPARATOR_ICONS_thinking"/>
</p:tagLst>
</file>

<file path=ppt/tags/tag223.xml><?xml version="1.0" encoding="utf-8"?>
<p:tagLst xmlns:a="http://schemas.openxmlformats.org/drawingml/2006/main" xmlns:r="http://schemas.openxmlformats.org/officeDocument/2006/relationships" xmlns:p="http://schemas.openxmlformats.org/presentationml/2006/main">
  <p:tag name="POWER_USER_TAGS_ICONS" val="problem-based-learning_POWER_USER_SEPARATOR_ICONS_think_POWER_USER_SEPARATOR_ICONS_smart_POWER_USER_SEPARATOR_ICONS_recreation_POWER_USER_SEPARATOR_ICONS_puzzle_POWER_USER_SEPARATOR_ICONS_play_POWER_USER_SEPARATOR_ICONS_head_POWER_USER_SEPARATOR_ICONS_game_POWER_USER_SEPARATOR_ICONS_fun_POWER_USER_SEPARATOR_ICONS_challenge_POWER_USER_SEPARATOR_ICONS_thinking"/>
</p:tagLst>
</file>

<file path=ppt/tags/tag224.xml><?xml version="1.0" encoding="utf-8"?>
<p:tagLst xmlns:a="http://schemas.openxmlformats.org/drawingml/2006/main" xmlns:r="http://schemas.openxmlformats.org/officeDocument/2006/relationships" xmlns:p="http://schemas.openxmlformats.org/presentationml/2006/main">
  <p:tag name="POWER_USER_TAGS_ICONS" val="problem-based-learning_POWER_USER_SEPARATOR_ICONS_think_POWER_USER_SEPARATOR_ICONS_smart_POWER_USER_SEPARATOR_ICONS_recreation_POWER_USER_SEPARATOR_ICONS_puzzle_POWER_USER_SEPARATOR_ICONS_play_POWER_USER_SEPARATOR_ICONS_head_POWER_USER_SEPARATOR_ICONS_game_POWER_USER_SEPARATOR_ICONS_fun_POWER_USER_SEPARATOR_ICONS_challenge_POWER_USER_SEPARATOR_ICONS_thinking"/>
</p:tagLst>
</file>

<file path=ppt/tags/tag225.xml><?xml version="1.0" encoding="utf-8"?>
<p:tagLst xmlns:a="http://schemas.openxmlformats.org/drawingml/2006/main" xmlns:r="http://schemas.openxmlformats.org/officeDocument/2006/relationships" xmlns:p="http://schemas.openxmlformats.org/presentationml/2006/main">
  <p:tag name="POWER_USER_TAGS_ICONS" val="problem-based-learning_POWER_USER_SEPARATOR_ICONS_think_POWER_USER_SEPARATOR_ICONS_smart_POWER_USER_SEPARATOR_ICONS_recreation_POWER_USER_SEPARATOR_ICONS_puzzle_POWER_USER_SEPARATOR_ICONS_play_POWER_USER_SEPARATOR_ICONS_head_POWER_USER_SEPARATOR_ICONS_game_POWER_USER_SEPARATOR_ICONS_fun_POWER_USER_SEPARATOR_ICONS_challenge_POWER_USER_SEPARATOR_ICONS_thinking"/>
</p:tagLst>
</file>

<file path=ppt/tags/tag226.xml><?xml version="1.0" encoding="utf-8"?>
<p:tagLst xmlns:a="http://schemas.openxmlformats.org/drawingml/2006/main" xmlns:r="http://schemas.openxmlformats.org/officeDocument/2006/relationships" xmlns:p="http://schemas.openxmlformats.org/presentationml/2006/main">
  <p:tag name="POWER_USER_TAGS_ICONS" val="problem-based-learning_POWER_USER_SEPARATOR_ICONS_think_POWER_USER_SEPARATOR_ICONS_smart_POWER_USER_SEPARATOR_ICONS_recreation_POWER_USER_SEPARATOR_ICONS_puzzle_POWER_USER_SEPARATOR_ICONS_play_POWER_USER_SEPARATOR_ICONS_head_POWER_USER_SEPARATOR_ICONS_game_POWER_USER_SEPARATOR_ICONS_fun_POWER_USER_SEPARATOR_ICONS_challenge_POWER_USER_SEPARATOR_ICONS_thinking"/>
</p:tagLst>
</file>

<file path=ppt/tags/tag227.xml><?xml version="1.0" encoding="utf-8"?>
<p:tagLst xmlns:a="http://schemas.openxmlformats.org/drawingml/2006/main" xmlns:r="http://schemas.openxmlformats.org/officeDocument/2006/relationships" xmlns:p="http://schemas.openxmlformats.org/presentationml/2006/main">
  <p:tag name="POWER_USER_TAGS_ICONS" val="problem-based-learning_POWER_USER_SEPARATOR_ICONS_think_POWER_USER_SEPARATOR_ICONS_smart_POWER_USER_SEPARATOR_ICONS_recreation_POWER_USER_SEPARATOR_ICONS_puzzle_POWER_USER_SEPARATOR_ICONS_play_POWER_USER_SEPARATOR_ICONS_head_POWER_USER_SEPARATOR_ICONS_game_POWER_USER_SEPARATOR_ICONS_fun_POWER_USER_SEPARATOR_ICONS_challenge_POWER_USER_SEPARATOR_ICONS_thinking"/>
</p:tagLst>
</file>

<file path=ppt/tags/tag228.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229.xml><?xml version="1.0" encoding="utf-8"?>
<p:tagLst xmlns:a="http://schemas.openxmlformats.org/drawingml/2006/main" xmlns:r="http://schemas.openxmlformats.org/officeDocument/2006/relationships" xmlns:p="http://schemas.openxmlformats.org/presentationml/2006/main">
  <p:tag name="POWER_USER_TAGS_ICONS" val="problem-based-learning_POWER_USER_SEPARATOR_ICONS_think_POWER_USER_SEPARATOR_ICONS_smart_POWER_USER_SEPARATOR_ICONS_recreation_POWER_USER_SEPARATOR_ICONS_puzzle_POWER_USER_SEPARATOR_ICONS_play_POWER_USER_SEPARATOR_ICONS_head_POWER_USER_SEPARATOR_ICONS_game_POWER_USER_SEPARATOR_ICONS_fun_POWER_USER_SEPARATOR_ICONS_challenge_POWER_USER_SEPARATOR_ICONS_thinking"/>
</p:tagLst>
</file>

<file path=ppt/tags/tag23.xml><?xml version="1.0" encoding="utf-8"?>
<p:tagLst xmlns:a="http://schemas.openxmlformats.org/drawingml/2006/main" xmlns:r="http://schemas.openxmlformats.org/officeDocument/2006/relationships" xmlns:p="http://schemas.openxmlformats.org/presentationml/2006/main">
  <p:tag name="LEVEL" val="5"/>
  <p:tag name="LEFT" val=" 119.0553"/>
  <p:tag name="TOP" val=" 41.10244"/>
  <p:tag name="WIDTH" val=" 425.1975"/>
  <p:tag name="HEIGHT" val=" 34.01583"/>
</p:tagLst>
</file>

<file path=ppt/tags/tag230.xml><?xml version="1.0" encoding="utf-8"?>
<p:tagLst xmlns:a="http://schemas.openxmlformats.org/drawingml/2006/main" xmlns:r="http://schemas.openxmlformats.org/officeDocument/2006/relationships" xmlns:p="http://schemas.openxmlformats.org/presentationml/2006/main">
  <p:tag name="POWER_USER_TAGS_ICONS" val="problem-based-learning_POWER_USER_SEPARATOR_ICONS_think_POWER_USER_SEPARATOR_ICONS_smart_POWER_USER_SEPARATOR_ICONS_recreation_POWER_USER_SEPARATOR_ICONS_puzzle_POWER_USER_SEPARATOR_ICONS_play_POWER_USER_SEPARATOR_ICONS_head_POWER_USER_SEPARATOR_ICONS_game_POWER_USER_SEPARATOR_ICONS_fun_POWER_USER_SEPARATOR_ICONS_challenge_POWER_USER_SEPARATOR_ICONS_thinking"/>
</p:tagLst>
</file>

<file path=ppt/tags/tag231.xml><?xml version="1.0" encoding="utf-8"?>
<p:tagLst xmlns:a="http://schemas.openxmlformats.org/drawingml/2006/main" xmlns:r="http://schemas.openxmlformats.org/officeDocument/2006/relationships" xmlns:p="http://schemas.openxmlformats.org/presentationml/2006/main">
  <p:tag name="POWER_USER_TAGS_ICONS" val="problem-based-learning_POWER_USER_SEPARATOR_ICONS_think_POWER_USER_SEPARATOR_ICONS_smart_POWER_USER_SEPARATOR_ICONS_recreation_POWER_USER_SEPARATOR_ICONS_puzzle_POWER_USER_SEPARATOR_ICONS_play_POWER_USER_SEPARATOR_ICONS_head_POWER_USER_SEPARATOR_ICONS_game_POWER_USER_SEPARATOR_ICONS_fun_POWER_USER_SEPARATOR_ICONS_challenge_POWER_USER_SEPARATOR_ICONS_thinking"/>
</p:tagLst>
</file>

<file path=ppt/tags/tag232.xml><?xml version="1.0" encoding="utf-8"?>
<p:tagLst xmlns:a="http://schemas.openxmlformats.org/drawingml/2006/main" xmlns:r="http://schemas.openxmlformats.org/officeDocument/2006/relationships" xmlns:p="http://schemas.openxmlformats.org/presentationml/2006/main">
  <p:tag name="POWER_USER_TAGS_ICONS" val="problem-based-learning_POWER_USER_SEPARATOR_ICONS_think_POWER_USER_SEPARATOR_ICONS_smart_POWER_USER_SEPARATOR_ICONS_recreation_POWER_USER_SEPARATOR_ICONS_puzzle_POWER_USER_SEPARATOR_ICONS_play_POWER_USER_SEPARATOR_ICONS_head_POWER_USER_SEPARATOR_ICONS_game_POWER_USER_SEPARATOR_ICONS_fun_POWER_USER_SEPARATOR_ICONS_challenge_POWER_USER_SEPARATOR_ICONS_thinking"/>
</p:tagLst>
</file>

<file path=ppt/tags/tag233.xml><?xml version="1.0" encoding="utf-8"?>
<p:tagLst xmlns:a="http://schemas.openxmlformats.org/drawingml/2006/main" xmlns:r="http://schemas.openxmlformats.org/officeDocument/2006/relationships" xmlns:p="http://schemas.openxmlformats.org/presentationml/2006/main">
  <p:tag name="POWER_USER_TAGS_ICONS" val="problem-based-learning_POWER_USER_SEPARATOR_ICONS_think_POWER_USER_SEPARATOR_ICONS_smart_POWER_USER_SEPARATOR_ICONS_recreation_POWER_USER_SEPARATOR_ICONS_puzzle_POWER_USER_SEPARATOR_ICONS_play_POWER_USER_SEPARATOR_ICONS_head_POWER_USER_SEPARATOR_ICONS_game_POWER_USER_SEPARATOR_ICONS_fun_POWER_USER_SEPARATOR_ICONS_challenge_POWER_USER_SEPARATOR_ICONS_thinking"/>
</p:tagLst>
</file>

<file path=ppt/tags/tag234.xml><?xml version="1.0" encoding="utf-8"?>
<p:tagLst xmlns:a="http://schemas.openxmlformats.org/drawingml/2006/main" xmlns:r="http://schemas.openxmlformats.org/officeDocument/2006/relationships" xmlns:p="http://schemas.openxmlformats.org/presentationml/2006/main">
  <p:tag name="POWER_USER_TAGS_ICONS" val="problem-based-learning_POWER_USER_SEPARATOR_ICONS_think_POWER_USER_SEPARATOR_ICONS_smart_POWER_USER_SEPARATOR_ICONS_recreation_POWER_USER_SEPARATOR_ICONS_puzzle_POWER_USER_SEPARATOR_ICONS_play_POWER_USER_SEPARATOR_ICONS_head_POWER_USER_SEPARATOR_ICONS_game_POWER_USER_SEPARATOR_ICONS_fun_POWER_USER_SEPARATOR_ICONS_challenge_POWER_USER_SEPARATOR_ICONS_thinking"/>
</p:tagLst>
</file>

<file path=ppt/tags/tag235.xml><?xml version="1.0" encoding="utf-8"?>
<p:tagLst xmlns:a="http://schemas.openxmlformats.org/drawingml/2006/main" xmlns:r="http://schemas.openxmlformats.org/officeDocument/2006/relationships" xmlns:p="http://schemas.openxmlformats.org/presentationml/2006/main">
  <p:tag name="POWER_USER_TAGS_ICONS" val="problem-based-learning_POWER_USER_SEPARATOR_ICONS_think_POWER_USER_SEPARATOR_ICONS_smart_POWER_USER_SEPARATOR_ICONS_recreation_POWER_USER_SEPARATOR_ICONS_puzzle_POWER_USER_SEPARATOR_ICONS_play_POWER_USER_SEPARATOR_ICONS_head_POWER_USER_SEPARATOR_ICONS_game_POWER_USER_SEPARATOR_ICONS_fun_POWER_USER_SEPARATOR_ICONS_challenge_POWER_USER_SEPARATOR_ICONS_thinking"/>
</p:tagLst>
</file>

<file path=ppt/tags/tag236.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237.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238.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239.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24.xml><?xml version="1.0" encoding="utf-8"?>
<p:tagLst xmlns:a="http://schemas.openxmlformats.org/drawingml/2006/main" xmlns:r="http://schemas.openxmlformats.org/officeDocument/2006/relationships" xmlns:p="http://schemas.openxmlformats.org/presentationml/2006/main">
  <p:tag name="LEVEL" val="5"/>
  <p:tag name="LEFT" val=" 84.98582"/>
  <p:tag name="TOP" val=" 110.4816"/>
  <p:tag name="WIDTH" val=" 466.0057"/>
  <p:tag name="HEIGHT" val=" 396.6006"/>
</p:tagLst>
</file>

<file path=ppt/tags/tag240.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241.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242.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243.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244.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245.xml><?xml version="1.0" encoding="utf-8"?>
<p:tagLst xmlns:a="http://schemas.openxmlformats.org/drawingml/2006/main" xmlns:r="http://schemas.openxmlformats.org/officeDocument/2006/relationships" xmlns:p="http://schemas.openxmlformats.org/presentationml/2006/main">
  <p:tag name="POWER_USER_TAGS_ICONS" val="problem-based-learning_POWER_USER_SEPARATOR_ICONS_think_POWER_USER_SEPARATOR_ICONS_smart_POWER_USER_SEPARATOR_ICONS_recreation_POWER_USER_SEPARATOR_ICONS_puzzle_POWER_USER_SEPARATOR_ICONS_play_POWER_USER_SEPARATOR_ICONS_head_POWER_USER_SEPARATOR_ICONS_game_POWER_USER_SEPARATOR_ICONS_fun_POWER_USER_SEPARATOR_ICONS_challenge_POWER_USER_SEPARATOR_ICONS_thinking"/>
</p:tagLst>
</file>

<file path=ppt/tags/tag246.xml><?xml version="1.0" encoding="utf-8"?>
<p:tagLst xmlns:a="http://schemas.openxmlformats.org/drawingml/2006/main" xmlns:r="http://schemas.openxmlformats.org/officeDocument/2006/relationships" xmlns:p="http://schemas.openxmlformats.org/presentationml/2006/main">
  <p:tag name="POWER_USER_TAGS_ICONS" val="problem-based-learning_POWER_USER_SEPARATOR_ICONS_think_POWER_USER_SEPARATOR_ICONS_smart_POWER_USER_SEPARATOR_ICONS_recreation_POWER_USER_SEPARATOR_ICONS_puzzle_POWER_USER_SEPARATOR_ICONS_play_POWER_USER_SEPARATOR_ICONS_head_POWER_USER_SEPARATOR_ICONS_game_POWER_USER_SEPARATOR_ICONS_fun_POWER_USER_SEPARATOR_ICONS_challenge_POWER_USER_SEPARATOR_ICONS_thinking"/>
</p:tagLst>
</file>

<file path=ppt/tags/tag247.xml><?xml version="1.0" encoding="utf-8"?>
<p:tagLst xmlns:a="http://schemas.openxmlformats.org/drawingml/2006/main" xmlns:r="http://schemas.openxmlformats.org/officeDocument/2006/relationships" xmlns:p="http://schemas.openxmlformats.org/presentationml/2006/main">
  <p:tag name="POWER_USER_TAGS_ICONS" val="problem-based-learning_POWER_USER_SEPARATOR_ICONS_think_POWER_USER_SEPARATOR_ICONS_smart_POWER_USER_SEPARATOR_ICONS_recreation_POWER_USER_SEPARATOR_ICONS_puzzle_POWER_USER_SEPARATOR_ICONS_play_POWER_USER_SEPARATOR_ICONS_head_POWER_USER_SEPARATOR_ICONS_game_POWER_USER_SEPARATOR_ICONS_fun_POWER_USER_SEPARATOR_ICONS_challenge_POWER_USER_SEPARATOR_ICONS_thinking"/>
</p:tagLst>
</file>

<file path=ppt/tags/tag248.xml><?xml version="1.0" encoding="utf-8"?>
<p:tagLst xmlns:a="http://schemas.openxmlformats.org/drawingml/2006/main" xmlns:r="http://schemas.openxmlformats.org/officeDocument/2006/relationships" xmlns:p="http://schemas.openxmlformats.org/presentationml/2006/main">
  <p:tag name="POWER_USER_TAGS_ICONS" val="problem-based-learning_POWER_USER_SEPARATOR_ICONS_think_POWER_USER_SEPARATOR_ICONS_smart_POWER_USER_SEPARATOR_ICONS_recreation_POWER_USER_SEPARATOR_ICONS_puzzle_POWER_USER_SEPARATOR_ICONS_play_POWER_USER_SEPARATOR_ICONS_head_POWER_USER_SEPARATOR_ICONS_game_POWER_USER_SEPARATOR_ICONS_fun_POWER_USER_SEPARATOR_ICONS_challenge_POWER_USER_SEPARATOR_ICONS_thinking"/>
</p:tagLst>
</file>

<file path=ppt/tags/tag249.xml><?xml version="1.0" encoding="utf-8"?>
<p:tagLst xmlns:a="http://schemas.openxmlformats.org/drawingml/2006/main" xmlns:r="http://schemas.openxmlformats.org/officeDocument/2006/relationships" xmlns:p="http://schemas.openxmlformats.org/presentationml/2006/main">
  <p:tag name="POWER_USER_TAGS_ICONS" val="problem-based-learning_POWER_USER_SEPARATOR_ICONS_think_POWER_USER_SEPARATOR_ICONS_smart_POWER_USER_SEPARATOR_ICONS_recreation_POWER_USER_SEPARATOR_ICONS_puzzle_POWER_USER_SEPARATOR_ICONS_play_POWER_USER_SEPARATOR_ICONS_head_POWER_USER_SEPARATOR_ICONS_game_POWER_USER_SEPARATOR_ICONS_fun_POWER_USER_SEPARATOR_ICONS_challenge_POWER_USER_SEPARATOR_ICONS_thinking"/>
</p:tagLst>
</file>

<file path=ppt/tags/tag25.xml><?xml version="1.0" encoding="utf-8"?>
<p:tagLst xmlns:a="http://schemas.openxmlformats.org/drawingml/2006/main" xmlns:r="http://schemas.openxmlformats.org/officeDocument/2006/relationships" xmlns:p="http://schemas.openxmlformats.org/presentationml/2006/main">
  <p:tag name="LEVEL" val="5"/>
  <p:tag name="LEFT" val=" 915.592"/>
  <p:tag name="TOP" val=" 19.84252"/>
  <p:tag name="WIDTH" val=" 30.04732"/>
  <p:tag name="HEIGHT" val=" 29.08126"/>
</p:tagLst>
</file>

<file path=ppt/tags/tag250.xml><?xml version="1.0" encoding="utf-8"?>
<p:tagLst xmlns:a="http://schemas.openxmlformats.org/drawingml/2006/main" xmlns:r="http://schemas.openxmlformats.org/officeDocument/2006/relationships" xmlns:p="http://schemas.openxmlformats.org/presentationml/2006/main">
  <p:tag name="POWER_USER_TAGS_ICONS" val="problem-based-learning_POWER_USER_SEPARATOR_ICONS_think_POWER_USER_SEPARATOR_ICONS_smart_POWER_USER_SEPARATOR_ICONS_recreation_POWER_USER_SEPARATOR_ICONS_puzzle_POWER_USER_SEPARATOR_ICONS_play_POWER_USER_SEPARATOR_ICONS_head_POWER_USER_SEPARATOR_ICONS_game_POWER_USER_SEPARATOR_ICONS_fun_POWER_USER_SEPARATOR_ICONS_challenge_POWER_USER_SEPARATOR_ICONS_thinking"/>
</p:tagLst>
</file>

<file path=ppt/tags/tag251.xml><?xml version="1.0" encoding="utf-8"?>
<p:tagLst xmlns:a="http://schemas.openxmlformats.org/drawingml/2006/main" xmlns:r="http://schemas.openxmlformats.org/officeDocument/2006/relationships" xmlns:p="http://schemas.openxmlformats.org/presentationml/2006/main">
  <p:tag name="POWER_USER_TAGS_ICONS" val="problem-based-learning_POWER_USER_SEPARATOR_ICONS_think_POWER_USER_SEPARATOR_ICONS_smart_POWER_USER_SEPARATOR_ICONS_recreation_POWER_USER_SEPARATOR_ICONS_puzzle_POWER_USER_SEPARATOR_ICONS_play_POWER_USER_SEPARATOR_ICONS_head_POWER_USER_SEPARATOR_ICONS_game_POWER_USER_SEPARATOR_ICONS_fun_POWER_USER_SEPARATOR_ICONS_challenge_POWER_USER_SEPARATOR_ICONS_thinking"/>
</p:tagLst>
</file>

<file path=ppt/tags/tag252.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253.xml><?xml version="1.0" encoding="utf-8"?>
<p:tagLst xmlns:a="http://schemas.openxmlformats.org/drawingml/2006/main" xmlns:r="http://schemas.openxmlformats.org/officeDocument/2006/relationships" xmlns:p="http://schemas.openxmlformats.org/presentationml/2006/main">
  <p:tag name="POWER_USER_TAGS_ICONS" val="problem-based-learning_POWER_USER_SEPARATOR_ICONS_think_POWER_USER_SEPARATOR_ICONS_smart_POWER_USER_SEPARATOR_ICONS_recreation_POWER_USER_SEPARATOR_ICONS_puzzle_POWER_USER_SEPARATOR_ICONS_play_POWER_USER_SEPARATOR_ICONS_head_POWER_USER_SEPARATOR_ICONS_game_POWER_USER_SEPARATOR_ICONS_fun_POWER_USER_SEPARATOR_ICONS_challenge_POWER_USER_SEPARATOR_ICONS_thinking"/>
</p:tagLst>
</file>

<file path=ppt/tags/tag254.xml><?xml version="1.0" encoding="utf-8"?>
<p:tagLst xmlns:a="http://schemas.openxmlformats.org/drawingml/2006/main" xmlns:r="http://schemas.openxmlformats.org/officeDocument/2006/relationships" xmlns:p="http://schemas.openxmlformats.org/presentationml/2006/main">
  <p:tag name="POWER_USER_TAGS_ICONS" val="problem-based-learning_POWER_USER_SEPARATOR_ICONS_think_POWER_USER_SEPARATOR_ICONS_smart_POWER_USER_SEPARATOR_ICONS_recreation_POWER_USER_SEPARATOR_ICONS_puzzle_POWER_USER_SEPARATOR_ICONS_play_POWER_USER_SEPARATOR_ICONS_head_POWER_USER_SEPARATOR_ICONS_game_POWER_USER_SEPARATOR_ICONS_fun_POWER_USER_SEPARATOR_ICONS_challenge_POWER_USER_SEPARATOR_ICONS_thinking"/>
</p:tagLst>
</file>

<file path=ppt/tags/tag255.xml><?xml version="1.0" encoding="utf-8"?>
<p:tagLst xmlns:a="http://schemas.openxmlformats.org/drawingml/2006/main" xmlns:r="http://schemas.openxmlformats.org/officeDocument/2006/relationships" xmlns:p="http://schemas.openxmlformats.org/presentationml/2006/main">
  <p:tag name="POWER_USER_TAGS_ICONS" val="problem-based-learning_POWER_USER_SEPARATOR_ICONS_think_POWER_USER_SEPARATOR_ICONS_smart_POWER_USER_SEPARATOR_ICONS_recreation_POWER_USER_SEPARATOR_ICONS_puzzle_POWER_USER_SEPARATOR_ICONS_play_POWER_USER_SEPARATOR_ICONS_head_POWER_USER_SEPARATOR_ICONS_game_POWER_USER_SEPARATOR_ICONS_fun_POWER_USER_SEPARATOR_ICONS_challenge_POWER_USER_SEPARATOR_ICONS_thinking"/>
</p:tagLst>
</file>

<file path=ppt/tags/tag256.xml><?xml version="1.0" encoding="utf-8"?>
<p:tagLst xmlns:a="http://schemas.openxmlformats.org/drawingml/2006/main" xmlns:r="http://schemas.openxmlformats.org/officeDocument/2006/relationships" xmlns:p="http://schemas.openxmlformats.org/presentationml/2006/main">
  <p:tag name="POWER_USER_TAGS_ICONS" val="problem-based-learning_POWER_USER_SEPARATOR_ICONS_think_POWER_USER_SEPARATOR_ICONS_smart_POWER_USER_SEPARATOR_ICONS_recreation_POWER_USER_SEPARATOR_ICONS_puzzle_POWER_USER_SEPARATOR_ICONS_play_POWER_USER_SEPARATOR_ICONS_head_POWER_USER_SEPARATOR_ICONS_game_POWER_USER_SEPARATOR_ICONS_fun_POWER_USER_SEPARATOR_ICONS_challenge_POWER_USER_SEPARATOR_ICONS_thinking"/>
</p:tagLst>
</file>

<file path=ppt/tags/tag257.xml><?xml version="1.0" encoding="utf-8"?>
<p:tagLst xmlns:a="http://schemas.openxmlformats.org/drawingml/2006/main" xmlns:r="http://schemas.openxmlformats.org/officeDocument/2006/relationships" xmlns:p="http://schemas.openxmlformats.org/presentationml/2006/main">
  <p:tag name="POWER_USER_TAGS_ICONS" val="problem-based-learning_POWER_USER_SEPARATOR_ICONS_think_POWER_USER_SEPARATOR_ICONS_smart_POWER_USER_SEPARATOR_ICONS_recreation_POWER_USER_SEPARATOR_ICONS_puzzle_POWER_USER_SEPARATOR_ICONS_play_POWER_USER_SEPARATOR_ICONS_head_POWER_USER_SEPARATOR_ICONS_game_POWER_USER_SEPARATOR_ICONS_fun_POWER_USER_SEPARATOR_ICONS_challenge_POWER_USER_SEPARATOR_ICONS_thinking"/>
</p:tagLst>
</file>

<file path=ppt/tags/tag258.xml><?xml version="1.0" encoding="utf-8"?>
<p:tagLst xmlns:a="http://schemas.openxmlformats.org/drawingml/2006/main" xmlns:r="http://schemas.openxmlformats.org/officeDocument/2006/relationships" xmlns:p="http://schemas.openxmlformats.org/presentationml/2006/main">
  <p:tag name="POWER_USER_TAGS_ICONS" val="problem-based-learning_POWER_USER_SEPARATOR_ICONS_think_POWER_USER_SEPARATOR_ICONS_smart_POWER_USER_SEPARATOR_ICONS_recreation_POWER_USER_SEPARATOR_ICONS_puzzle_POWER_USER_SEPARATOR_ICONS_play_POWER_USER_SEPARATOR_ICONS_head_POWER_USER_SEPARATOR_ICONS_game_POWER_USER_SEPARATOR_ICONS_fun_POWER_USER_SEPARATOR_ICONS_challenge_POWER_USER_SEPARATOR_ICONS_thinking"/>
</p:tagLst>
</file>

<file path=ppt/tags/tag259.xml><?xml version="1.0" encoding="utf-8"?>
<p:tagLst xmlns:a="http://schemas.openxmlformats.org/drawingml/2006/main" xmlns:r="http://schemas.openxmlformats.org/officeDocument/2006/relationships" xmlns:p="http://schemas.openxmlformats.org/presentationml/2006/main">
  <p:tag name="POWER_USER_TAGS_ICONS" val="problem-based-learning_POWER_USER_SEPARATOR_ICONS_think_POWER_USER_SEPARATOR_ICONS_smart_POWER_USER_SEPARATOR_ICONS_recreation_POWER_USER_SEPARATOR_ICONS_puzzle_POWER_USER_SEPARATOR_ICONS_play_POWER_USER_SEPARATOR_ICONS_head_POWER_USER_SEPARATOR_ICONS_game_POWER_USER_SEPARATOR_ICONS_fun_POWER_USER_SEPARATOR_ICONS_challenge_POWER_USER_SEPARATOR_ICONS_thinking"/>
</p:tagLst>
</file>

<file path=ppt/tags/tag26.xml><?xml version="1.0" encoding="utf-8"?>
<p:tagLst xmlns:a="http://schemas.openxmlformats.org/drawingml/2006/main" xmlns:r="http://schemas.openxmlformats.org/officeDocument/2006/relationships" xmlns:p="http://schemas.openxmlformats.org/presentationml/2006/main">
  <p:tag name="LEVEL" val="4"/>
  <p:tag name="LEFT" val=" 919.277"/>
  <p:tag name="TOP" val=" 13.6063"/>
  <p:tag name="WIDTH" val=" 23.52008"/>
  <p:tag name="HEIGHT" val=" 22.80008"/>
</p:tagLst>
</file>

<file path=ppt/tags/tag260.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261.xml><?xml version="1.0" encoding="utf-8"?>
<p:tagLst xmlns:a="http://schemas.openxmlformats.org/drawingml/2006/main" xmlns:r="http://schemas.openxmlformats.org/officeDocument/2006/relationships" xmlns:p="http://schemas.openxmlformats.org/presentationml/2006/main">
  <p:tag name="POWER_USER_TAGS_ICONS" val="problem-based-learning_POWER_USER_SEPARATOR_ICONS_think_POWER_USER_SEPARATOR_ICONS_smart_POWER_USER_SEPARATOR_ICONS_recreation_POWER_USER_SEPARATOR_ICONS_puzzle_POWER_USER_SEPARATOR_ICONS_play_POWER_USER_SEPARATOR_ICONS_head_POWER_USER_SEPARATOR_ICONS_game_POWER_USER_SEPARATOR_ICONS_fun_POWER_USER_SEPARATOR_ICONS_challenge_POWER_USER_SEPARATOR_ICONS_thinking"/>
</p:tagLst>
</file>

<file path=ppt/tags/tag262.xml><?xml version="1.0" encoding="utf-8"?>
<p:tagLst xmlns:a="http://schemas.openxmlformats.org/drawingml/2006/main" xmlns:r="http://schemas.openxmlformats.org/officeDocument/2006/relationships" xmlns:p="http://schemas.openxmlformats.org/presentationml/2006/main">
  <p:tag name="POWER_USER_TAGS_ICONS" val="problem-based-learning_POWER_USER_SEPARATOR_ICONS_think_POWER_USER_SEPARATOR_ICONS_smart_POWER_USER_SEPARATOR_ICONS_recreation_POWER_USER_SEPARATOR_ICONS_puzzle_POWER_USER_SEPARATOR_ICONS_play_POWER_USER_SEPARATOR_ICONS_head_POWER_USER_SEPARATOR_ICONS_game_POWER_USER_SEPARATOR_ICONS_fun_POWER_USER_SEPARATOR_ICONS_challenge_POWER_USER_SEPARATOR_ICONS_thinking"/>
</p:tagLst>
</file>

<file path=ppt/tags/tag263.xml><?xml version="1.0" encoding="utf-8"?>
<p:tagLst xmlns:a="http://schemas.openxmlformats.org/drawingml/2006/main" xmlns:r="http://schemas.openxmlformats.org/officeDocument/2006/relationships" xmlns:p="http://schemas.openxmlformats.org/presentationml/2006/main">
  <p:tag name="POWER_USER_TAGS_ICONS" val="problem-based-learning_POWER_USER_SEPARATOR_ICONS_think_POWER_USER_SEPARATOR_ICONS_smart_POWER_USER_SEPARATOR_ICONS_recreation_POWER_USER_SEPARATOR_ICONS_puzzle_POWER_USER_SEPARATOR_ICONS_play_POWER_USER_SEPARATOR_ICONS_head_POWER_USER_SEPARATOR_ICONS_game_POWER_USER_SEPARATOR_ICONS_fun_POWER_USER_SEPARATOR_ICONS_challenge_POWER_USER_SEPARATOR_ICONS_thinking"/>
</p:tagLst>
</file>

<file path=ppt/tags/tag264.xml><?xml version="1.0" encoding="utf-8"?>
<p:tagLst xmlns:a="http://schemas.openxmlformats.org/drawingml/2006/main" xmlns:r="http://schemas.openxmlformats.org/officeDocument/2006/relationships" xmlns:p="http://schemas.openxmlformats.org/presentationml/2006/main">
  <p:tag name="POWER_USER_TAGS_ICONS" val="problem-based-learning_POWER_USER_SEPARATOR_ICONS_think_POWER_USER_SEPARATOR_ICONS_smart_POWER_USER_SEPARATOR_ICONS_recreation_POWER_USER_SEPARATOR_ICONS_puzzle_POWER_USER_SEPARATOR_ICONS_play_POWER_USER_SEPARATOR_ICONS_head_POWER_USER_SEPARATOR_ICONS_game_POWER_USER_SEPARATOR_ICONS_fun_POWER_USER_SEPARATOR_ICONS_challenge_POWER_USER_SEPARATOR_ICONS_thinking"/>
</p:tagLst>
</file>

<file path=ppt/tags/tag265.xml><?xml version="1.0" encoding="utf-8"?>
<p:tagLst xmlns:a="http://schemas.openxmlformats.org/drawingml/2006/main" xmlns:r="http://schemas.openxmlformats.org/officeDocument/2006/relationships" xmlns:p="http://schemas.openxmlformats.org/presentationml/2006/main">
  <p:tag name="POWER_USER_TAGS_ICONS" val="problem-based-learning_POWER_USER_SEPARATOR_ICONS_think_POWER_USER_SEPARATOR_ICONS_smart_POWER_USER_SEPARATOR_ICONS_recreation_POWER_USER_SEPARATOR_ICONS_puzzle_POWER_USER_SEPARATOR_ICONS_play_POWER_USER_SEPARATOR_ICONS_head_POWER_USER_SEPARATOR_ICONS_game_POWER_USER_SEPARATOR_ICONS_fun_POWER_USER_SEPARATOR_ICONS_challenge_POWER_USER_SEPARATOR_ICONS_thinking"/>
</p:tagLst>
</file>

<file path=ppt/tags/tag266.xml><?xml version="1.0" encoding="utf-8"?>
<p:tagLst xmlns:a="http://schemas.openxmlformats.org/drawingml/2006/main" xmlns:r="http://schemas.openxmlformats.org/officeDocument/2006/relationships" xmlns:p="http://schemas.openxmlformats.org/presentationml/2006/main">
  <p:tag name="POWER_USER_TAGS_ICONS" val="problem-based-learning_POWER_USER_SEPARATOR_ICONS_think_POWER_USER_SEPARATOR_ICONS_smart_POWER_USER_SEPARATOR_ICONS_recreation_POWER_USER_SEPARATOR_ICONS_puzzle_POWER_USER_SEPARATOR_ICONS_play_POWER_USER_SEPARATOR_ICONS_head_POWER_USER_SEPARATOR_ICONS_game_POWER_USER_SEPARATOR_ICONS_fun_POWER_USER_SEPARATOR_ICONS_challenge_POWER_USER_SEPARATOR_ICONS_thinking"/>
</p:tagLst>
</file>

<file path=ppt/tags/tag267.xml><?xml version="1.0" encoding="utf-8"?>
<p:tagLst xmlns:a="http://schemas.openxmlformats.org/drawingml/2006/main" xmlns:r="http://schemas.openxmlformats.org/officeDocument/2006/relationships" xmlns:p="http://schemas.openxmlformats.org/presentationml/2006/main">
  <p:tag name="POWER_USER_TAGS_ICONS" val="problem-based-learning_POWER_USER_SEPARATOR_ICONS_think_POWER_USER_SEPARATOR_ICONS_smart_POWER_USER_SEPARATOR_ICONS_recreation_POWER_USER_SEPARATOR_ICONS_puzzle_POWER_USER_SEPARATOR_ICONS_play_POWER_USER_SEPARATOR_ICONS_head_POWER_USER_SEPARATOR_ICONS_game_POWER_USER_SEPARATOR_ICONS_fun_POWER_USER_SEPARATOR_ICONS_challenge_POWER_USER_SEPARATOR_ICONS_thinking"/>
</p:tagLst>
</file>

<file path=ppt/tags/tag268.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269.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27.xml><?xml version="1.0" encoding="utf-8"?>
<p:tagLst xmlns:a="http://schemas.openxmlformats.org/drawingml/2006/main" xmlns:r="http://schemas.openxmlformats.org/officeDocument/2006/relationships" xmlns:p="http://schemas.openxmlformats.org/presentationml/2006/main">
  <p:tag name="LEVEL" val="5"/>
  <p:tag name="LEFT" val=" 915.592"/>
  <p:tag name="TOP" val=" 19.84252"/>
  <p:tag name="WIDTH" val=" 30.04732"/>
  <p:tag name="HEIGHT" val=" 29.08126"/>
</p:tagLst>
</file>

<file path=ppt/tags/tag270.xml><?xml version="1.0" encoding="utf-8"?>
<p:tagLst xmlns:a="http://schemas.openxmlformats.org/drawingml/2006/main" xmlns:r="http://schemas.openxmlformats.org/officeDocument/2006/relationships" xmlns:p="http://schemas.openxmlformats.org/presentationml/2006/main">
  <p:tag name="LEVEL" val="5"/>
  <p:tag name="LEFT" val=" 915.592"/>
  <p:tag name="TOP" val=" 19.84252"/>
  <p:tag name="WIDTH" val=" 30.04732"/>
  <p:tag name="HEIGHT" val=" 29.08126"/>
</p:tagLst>
</file>

<file path=ppt/tags/tag271.xml><?xml version="1.0" encoding="utf-8"?>
<p:tagLst xmlns:a="http://schemas.openxmlformats.org/drawingml/2006/main" xmlns:r="http://schemas.openxmlformats.org/officeDocument/2006/relationships" xmlns:p="http://schemas.openxmlformats.org/presentationml/2006/main">
  <p:tag name="LEVEL" val="4"/>
  <p:tag name="LEFT" val=" 919.277"/>
  <p:tag name="TOP" val=" 13.6063"/>
  <p:tag name="WIDTH" val=" 23.52008"/>
  <p:tag name="HEIGHT" val=" 22.80008"/>
</p:tagLst>
</file>

<file path=ppt/tags/tag272.xml><?xml version="1.0" encoding="utf-8"?>
<p:tagLst xmlns:a="http://schemas.openxmlformats.org/drawingml/2006/main" xmlns:r="http://schemas.openxmlformats.org/officeDocument/2006/relationships" xmlns:p="http://schemas.openxmlformats.org/presentationml/2006/main">
  <p:tag name="LEVEL" val="5"/>
  <p:tag name="LEFT" val=" 915.592"/>
  <p:tag name="TOP" val=" 19.84252"/>
  <p:tag name="WIDTH" val=" 30.04732"/>
  <p:tag name="HEIGHT" val=" 29.08126"/>
</p:tagLst>
</file>

<file path=ppt/tags/tag273.xml><?xml version="1.0" encoding="utf-8"?>
<p:tagLst xmlns:a="http://schemas.openxmlformats.org/drawingml/2006/main" xmlns:r="http://schemas.openxmlformats.org/officeDocument/2006/relationships" xmlns:p="http://schemas.openxmlformats.org/presentationml/2006/main">
  <p:tag name="LEVEL" val="5"/>
  <p:tag name="LEFT" val=" 85.03953"/>
  <p:tag name="TOP" val=" 110.5513"/>
  <p:tag name="WIDTH" val=" 382.6778"/>
  <p:tag name="HEIGHT" val=" 368.5045"/>
</p:tagLst>
</file>

<file path=ppt/tags/tag274.xml><?xml version="1.0" encoding="utf-8"?>
<p:tagLst xmlns:a="http://schemas.openxmlformats.org/drawingml/2006/main" xmlns:r="http://schemas.openxmlformats.org/officeDocument/2006/relationships" xmlns:p="http://schemas.openxmlformats.org/presentationml/2006/main">
  <p:tag name="LEVEL" val="5"/>
  <p:tag name="LEFT" val=" 85.03953"/>
  <p:tag name="TOP" val=" 110.5513"/>
  <p:tag name="WIDTH" val=" 382.6778"/>
  <p:tag name="HEIGHT" val=" 368.5045"/>
</p:tagLst>
</file>

<file path=ppt/tags/tag275.xml><?xml version="1.0" encoding="utf-8"?>
<p:tagLst xmlns:a="http://schemas.openxmlformats.org/drawingml/2006/main" xmlns:r="http://schemas.openxmlformats.org/officeDocument/2006/relationships" xmlns:p="http://schemas.openxmlformats.org/presentationml/2006/main">
  <p:tag name="LEVEL" val="5"/>
  <p:tag name="LEFT" val=" 119.0553"/>
  <p:tag name="TOP" val=" 41.10244"/>
  <p:tag name="WIDTH" val=" 425.1975"/>
  <p:tag name="HEIGHT" val=" 34.01583"/>
</p:tagLst>
</file>

<file path=ppt/tags/tag276.xml><?xml version="1.0" encoding="utf-8"?>
<p:tagLst xmlns:a="http://schemas.openxmlformats.org/drawingml/2006/main" xmlns:r="http://schemas.openxmlformats.org/officeDocument/2006/relationships" xmlns:p="http://schemas.openxmlformats.org/presentationml/2006/main">
  <p:tag name="LEVEL" val="5"/>
  <p:tag name="LEFT" val=" 915.592"/>
  <p:tag name="TOP" val=" 19.84252"/>
  <p:tag name="WIDTH" val=" 30.04732"/>
  <p:tag name="HEIGHT" val=" 29.08126"/>
</p:tagLst>
</file>

<file path=ppt/tags/tag277.xml><?xml version="1.0" encoding="utf-8"?>
<p:tagLst xmlns:a="http://schemas.openxmlformats.org/drawingml/2006/main" xmlns:r="http://schemas.openxmlformats.org/officeDocument/2006/relationships" xmlns:p="http://schemas.openxmlformats.org/presentationml/2006/main">
  <p:tag name="LEVEL" val="4"/>
  <p:tag name="LEFT" val=" 919.277"/>
  <p:tag name="TOP" val=" 13.6063"/>
  <p:tag name="WIDTH" val=" 23.52008"/>
  <p:tag name="HEIGHT" val=" 22.80008"/>
</p:tagLst>
</file>

<file path=ppt/tags/tag278.xml><?xml version="1.0" encoding="utf-8"?>
<p:tagLst xmlns:a="http://schemas.openxmlformats.org/drawingml/2006/main" xmlns:r="http://schemas.openxmlformats.org/officeDocument/2006/relationships" xmlns:p="http://schemas.openxmlformats.org/presentationml/2006/main">
  <p:tag name="LEVEL" val="5"/>
  <p:tag name="LEFT" val=" 915.592"/>
  <p:tag name="TOP" val=" 19.84252"/>
  <p:tag name="WIDTH" val=" 30.04732"/>
  <p:tag name="HEIGHT" val=" 29.08126"/>
</p:tagLst>
</file>

<file path=ppt/tags/tag279.xml><?xml version="1.0" encoding="utf-8"?>
<p:tagLst xmlns:a="http://schemas.openxmlformats.org/drawingml/2006/main" xmlns:r="http://schemas.openxmlformats.org/officeDocument/2006/relationships" xmlns:p="http://schemas.openxmlformats.org/presentationml/2006/main">
  <p:tag name="LEVEL" val="5"/>
  <p:tag name="LEFT" val=" 119.0553"/>
  <p:tag name="TOP" val=" 41.10244"/>
  <p:tag name="WIDTH" val=" 425.1975"/>
  <p:tag name="HEIGHT" val=" 34.01583"/>
</p:tagLst>
</file>

<file path=ppt/tags/tag28.xml><?xml version="1.0" encoding="utf-8"?>
<p:tagLst xmlns:a="http://schemas.openxmlformats.org/drawingml/2006/main" xmlns:r="http://schemas.openxmlformats.org/officeDocument/2006/relationships" xmlns:p="http://schemas.openxmlformats.org/presentationml/2006/main">
  <p:tag name="LEVEL" val="1"/>
  <p:tag name="LEFT" val=" 0"/>
  <p:tag name="TOP" val=" 0"/>
  <p:tag name="WIDTH" val=" 960.096"/>
  <p:tag name="HEIGHT" val=" 540.0009"/>
</p:tagLst>
</file>

<file path=ppt/tags/tag280.xml><?xml version="1.0" encoding="utf-8"?>
<p:tagLst xmlns:a="http://schemas.openxmlformats.org/drawingml/2006/main" xmlns:r="http://schemas.openxmlformats.org/officeDocument/2006/relationships" xmlns:p="http://schemas.openxmlformats.org/presentationml/2006/main">
  <p:tag name="LEVEL" val="5"/>
  <p:tag name="LEFT" val=" 85.03953"/>
  <p:tag name="TOP" val=" 110.5513"/>
  <p:tag name="WIDTH" val=" 466.2999"/>
  <p:tag name="HEIGHT" val=" 396.851"/>
</p:tagLst>
</file>

<file path=ppt/tags/tag281.xml><?xml version="1.0" encoding="utf-8"?>
<p:tagLst xmlns:a="http://schemas.openxmlformats.org/drawingml/2006/main" xmlns:r="http://schemas.openxmlformats.org/officeDocument/2006/relationships" xmlns:p="http://schemas.openxmlformats.org/presentationml/2006/main">
  <p:tag name="LEVEL" val="5"/>
  <p:tag name="LEFT" val=" 915.592"/>
  <p:tag name="TOP" val=" 19.84252"/>
  <p:tag name="WIDTH" val=" 30.04732"/>
  <p:tag name="HEIGHT" val=" 29.08126"/>
</p:tagLst>
</file>

<file path=ppt/tags/tag282.xml><?xml version="1.0" encoding="utf-8"?>
<p:tagLst xmlns:a="http://schemas.openxmlformats.org/drawingml/2006/main" xmlns:r="http://schemas.openxmlformats.org/officeDocument/2006/relationships" xmlns:p="http://schemas.openxmlformats.org/presentationml/2006/main">
  <p:tag name="LEVEL" val="4"/>
  <p:tag name="LEFT" val=" 919.277"/>
  <p:tag name="TOP" val=" 13.6063"/>
  <p:tag name="WIDTH" val=" 23.52008"/>
  <p:tag name="HEIGHT" val=" 22.80008"/>
</p:tagLst>
</file>

<file path=ppt/tags/tag283.xml><?xml version="1.0" encoding="utf-8"?>
<p:tagLst xmlns:a="http://schemas.openxmlformats.org/drawingml/2006/main" xmlns:r="http://schemas.openxmlformats.org/officeDocument/2006/relationships" xmlns:p="http://schemas.openxmlformats.org/presentationml/2006/main">
  <p:tag name="LEVEL" val="5"/>
  <p:tag name="LEFT" val=" 915.592"/>
  <p:tag name="TOP" val=" 19.84252"/>
  <p:tag name="WIDTH" val=" 30.04732"/>
  <p:tag name="HEIGHT" val=" 29.08126"/>
</p:tagLst>
</file>

<file path=ppt/tags/tag284.xml><?xml version="1.0" encoding="utf-8"?>
<p:tagLst xmlns:a="http://schemas.openxmlformats.org/drawingml/2006/main" xmlns:r="http://schemas.openxmlformats.org/officeDocument/2006/relationships" xmlns:p="http://schemas.openxmlformats.org/presentationml/2006/main">
  <p:tag name="LEVEL" val="5"/>
  <p:tag name="LEFT" val=" 118.9802"/>
  <p:tag name="TOP" val=" 41.07646"/>
  <p:tag name="WIDTH" val=" 424.9291"/>
  <p:tag name="HEIGHT" val=" 33.99433"/>
</p:tagLst>
</file>

<file path=ppt/tags/tag285.xml><?xml version="1.0" encoding="utf-8"?>
<p:tagLst xmlns:a="http://schemas.openxmlformats.org/drawingml/2006/main" xmlns:r="http://schemas.openxmlformats.org/officeDocument/2006/relationships" xmlns:p="http://schemas.openxmlformats.org/presentationml/2006/main">
  <p:tag name="LEVEL" val="5"/>
  <p:tag name="LEFT" val=" 84.98582"/>
  <p:tag name="TOP" val=" 110.4816"/>
  <p:tag name="WIDTH" val=" 466.0057"/>
  <p:tag name="HEIGHT" val=" 396.6006"/>
</p:tagLst>
</file>

<file path=ppt/tags/tag286.xml><?xml version="1.0" encoding="utf-8"?>
<p:tagLst xmlns:a="http://schemas.openxmlformats.org/drawingml/2006/main" xmlns:r="http://schemas.openxmlformats.org/officeDocument/2006/relationships" xmlns:p="http://schemas.openxmlformats.org/presentationml/2006/main">
  <p:tag name="LEVEL" val="5"/>
  <p:tag name="LEFT" val=" 915.592"/>
  <p:tag name="TOP" val=" 19.84252"/>
  <p:tag name="WIDTH" val=" 30.04732"/>
  <p:tag name="HEIGHT" val=" 29.08126"/>
</p:tagLst>
</file>

<file path=ppt/tags/tag287.xml><?xml version="1.0" encoding="utf-8"?>
<p:tagLst xmlns:a="http://schemas.openxmlformats.org/drawingml/2006/main" xmlns:r="http://schemas.openxmlformats.org/officeDocument/2006/relationships" xmlns:p="http://schemas.openxmlformats.org/presentationml/2006/main">
  <p:tag name="LEVEL" val="4"/>
  <p:tag name="LEFT" val=" 919.277"/>
  <p:tag name="TOP" val=" 13.6063"/>
  <p:tag name="WIDTH" val=" 23.52008"/>
  <p:tag name="HEIGHT" val=" 22.80008"/>
</p:tagLst>
</file>

<file path=ppt/tags/tag288.xml><?xml version="1.0" encoding="utf-8"?>
<p:tagLst xmlns:a="http://schemas.openxmlformats.org/drawingml/2006/main" xmlns:r="http://schemas.openxmlformats.org/officeDocument/2006/relationships" xmlns:p="http://schemas.openxmlformats.org/presentationml/2006/main">
  <p:tag name="LEVEL" val="5"/>
  <p:tag name="LEFT" val=" 915.592"/>
  <p:tag name="TOP" val=" 19.84252"/>
  <p:tag name="WIDTH" val=" 30.04732"/>
  <p:tag name="HEIGHT" val=" 29.08126"/>
</p:tagLst>
</file>

<file path=ppt/tags/tag289.xml><?xml version="1.0" encoding="utf-8"?>
<p:tagLst xmlns:a="http://schemas.openxmlformats.org/drawingml/2006/main" xmlns:r="http://schemas.openxmlformats.org/officeDocument/2006/relationships" xmlns:p="http://schemas.openxmlformats.org/presentationml/2006/main">
  <p:tag name="LEVEL" val="3"/>
  <p:tag name="LEFT" val=" 0"/>
  <p:tag name="TOP" val=" 7.874016E-05"/>
  <p:tag name="WIDTH" val=" 904.8203"/>
  <p:tag name="HEIGHT" val=" 483.3708"/>
</p:tagLst>
</file>

<file path=ppt/tags/tag29.xml><?xml version="1.0" encoding="utf-8"?>
<p:tagLst xmlns:a="http://schemas.openxmlformats.org/drawingml/2006/main" xmlns:r="http://schemas.openxmlformats.org/officeDocument/2006/relationships" xmlns:p="http://schemas.openxmlformats.org/presentationml/2006/main">
  <p:tag name="LEVEL" val="5"/>
  <p:tag name="LEFT" val=" 85.03953"/>
  <p:tag name="TOP" val=" 110.5513"/>
  <p:tag name="WIDTH" val=" 466.2999"/>
  <p:tag name="HEIGHT" val=" 396.851"/>
</p:tagLst>
</file>

<file path=ppt/tags/tag290.xml><?xml version="1.0" encoding="utf-8"?>
<p:tagLst xmlns:a="http://schemas.openxmlformats.org/drawingml/2006/main" xmlns:r="http://schemas.openxmlformats.org/officeDocument/2006/relationships" xmlns:p="http://schemas.openxmlformats.org/presentationml/2006/main">
  <p:tag name="LEVEL" val="4"/>
  <p:tag name="LEFT" val=" 756.8516"/>
  <p:tag name="TOP" val=" 413.0085"/>
  <p:tag name="WIDTH" val=" 167.5278"/>
  <p:tag name="HEIGHT" val=" 92.40425"/>
</p:tagLst>
</file>

<file path=ppt/tags/tag291.xml><?xml version="1.0" encoding="utf-8"?>
<p:tagLst xmlns:a="http://schemas.openxmlformats.org/drawingml/2006/main" xmlns:r="http://schemas.openxmlformats.org/officeDocument/2006/relationships" xmlns:p="http://schemas.openxmlformats.org/presentationml/2006/main">
  <p:tag name="LEVEL" val="4"/>
  <p:tag name="LEFT" val=" 56.69299"/>
  <p:tag name="TOP" val="-223.9374"/>
  <p:tag name="WIDTH" val=" 867.1194"/>
  <p:tag name="HEIGHT" val=" 540.0688"/>
</p:tagLst>
</file>

<file path=ppt/tags/tag292.xml><?xml version="1.0" encoding="utf-8"?>
<p:tagLst xmlns:a="http://schemas.openxmlformats.org/drawingml/2006/main" xmlns:r="http://schemas.openxmlformats.org/officeDocument/2006/relationships" xmlns:p="http://schemas.openxmlformats.org/presentationml/2006/main">
  <p:tag name="LEVEL" val="4"/>
  <p:tag name="LEFT" val=" 0"/>
  <p:tag name="TOP" val=" 403.0872"/>
  <p:tag name="WIDTH" val=" 591.8749"/>
  <p:tag name="HEIGHT" val=" 108.4865"/>
</p:tagLst>
</file>

<file path=ppt/tags/tag293.xml><?xml version="1.0" encoding="utf-8"?>
<p:tagLst xmlns:a="http://schemas.openxmlformats.org/drawingml/2006/main" xmlns:r="http://schemas.openxmlformats.org/officeDocument/2006/relationships" xmlns:p="http://schemas.openxmlformats.org/presentationml/2006/main">
  <p:tag name="LEVEL" val="5"/>
  <p:tag name="LEFT" val=" 391.1817"/>
  <p:tag name="TOP" val=" 433.418"/>
  <p:tag name="WIDTH" val=" 136.0632"/>
  <p:tag name="HEIGHT" val=" 79.37024"/>
</p:tagLst>
</file>

<file path=ppt/tags/tag294.xml><?xml version="1.0" encoding="utf-8"?>
<p:tagLst xmlns:a="http://schemas.openxmlformats.org/drawingml/2006/main" xmlns:r="http://schemas.openxmlformats.org/officeDocument/2006/relationships" xmlns:p="http://schemas.openxmlformats.org/presentationml/2006/main">
  <p:tag name="LEVEL" val="5"/>
  <p:tag name="LEFT" val=" 63.77961"/>
  <p:tag name="TOP" val=" 433.418"/>
  <p:tag name="WIDTH" val=" 188.5043"/>
  <p:tag name="HEIGHT" val=" 18.4252"/>
</p:tagLst>
</file>

<file path=ppt/tags/tag295.xml><?xml version="1.0" encoding="utf-8"?>
<p:tagLst xmlns:a="http://schemas.openxmlformats.org/drawingml/2006/main" xmlns:r="http://schemas.openxmlformats.org/officeDocument/2006/relationships" xmlns:p="http://schemas.openxmlformats.org/presentationml/2006/main">
  <p:tag name="LEVEL" val="5"/>
  <p:tag name="LEFT" val=" 63.77961"/>
  <p:tag name="TOP" val=" 450.9928"/>
  <p:tag name="WIDTH" val=" 188.5043"/>
  <p:tag name="HEIGHT" val=" 42.51976"/>
</p:tagLst>
</file>

<file path=ppt/tags/tag296.xml><?xml version="1.0" encoding="utf-8"?>
<p:tagLst xmlns:a="http://schemas.openxmlformats.org/drawingml/2006/main" xmlns:r="http://schemas.openxmlformats.org/officeDocument/2006/relationships" xmlns:p="http://schemas.openxmlformats.org/presentationml/2006/main">
  <p:tag name="LEVEL" val="5"/>
  <p:tag name="LEFT" val=" 252.2839"/>
  <p:tag name="TOP" val=" 433.418"/>
  <p:tag name="WIDTH" val=" 136.0632"/>
  <p:tag name="HEIGHT" val=" 60.94496"/>
</p:tagLst>
</file>

<file path=ppt/tags/tag3.xml><?xml version="1.0" encoding="utf-8"?>
<p:tagLst xmlns:a="http://schemas.openxmlformats.org/drawingml/2006/main" xmlns:r="http://schemas.openxmlformats.org/officeDocument/2006/relationships" xmlns:p="http://schemas.openxmlformats.org/presentationml/2006/main">
  <p:tag name="LEVEL" val="4"/>
  <p:tag name="LEFT" val=" 0"/>
  <p:tag name="TOP" val=" 403.0872"/>
  <p:tag name="WIDTH" val=" 591.8749"/>
  <p:tag name="HEIGHT" val=" 108.4865"/>
</p:tagLst>
</file>

<file path=ppt/tags/tag30.xml><?xml version="1.0" encoding="utf-8"?>
<p:tagLst xmlns:a="http://schemas.openxmlformats.org/drawingml/2006/main" xmlns:r="http://schemas.openxmlformats.org/officeDocument/2006/relationships" xmlns:p="http://schemas.openxmlformats.org/presentationml/2006/main">
  <p:tag name="LEVEL" val="5"/>
  <p:tag name="LEFT" val=" 118.9802"/>
  <p:tag name="TOP" val=" 41.07646"/>
  <p:tag name="WIDTH" val=" 424.9291"/>
  <p:tag name="HEIGHT" val=" 33.99433"/>
</p:tagLst>
</file>

<file path=ppt/tags/tag31.xml><?xml version="1.0" encoding="utf-8"?>
<p:tagLst xmlns:a="http://schemas.openxmlformats.org/drawingml/2006/main" xmlns:r="http://schemas.openxmlformats.org/officeDocument/2006/relationships" xmlns:p="http://schemas.openxmlformats.org/presentationml/2006/main">
  <p:tag name="LEVEL" val="4"/>
  <p:tag name="LEFT" val=" 919.277"/>
  <p:tag name="TOP" val=" 13.6063"/>
  <p:tag name="WIDTH" val=" 23.52008"/>
  <p:tag name="HEIGHT" val=" 22.80008"/>
</p:tagLst>
</file>

<file path=ppt/tags/tag32.xml><?xml version="1.0" encoding="utf-8"?>
<p:tagLst xmlns:a="http://schemas.openxmlformats.org/drawingml/2006/main" xmlns:r="http://schemas.openxmlformats.org/officeDocument/2006/relationships" xmlns:p="http://schemas.openxmlformats.org/presentationml/2006/main">
  <p:tag name="LEVEL" val="4"/>
  <p:tag name="LEFT" val=" 919.277"/>
  <p:tag name="TOP" val=" 13.6063"/>
  <p:tag name="WIDTH" val=" 23.52008"/>
  <p:tag name="HEIGHT" val=" 22.80008"/>
</p:tagLst>
</file>

<file path=ppt/tags/tag33.xml><?xml version="1.0" encoding="utf-8"?>
<p:tagLst xmlns:a="http://schemas.openxmlformats.org/drawingml/2006/main" xmlns:r="http://schemas.openxmlformats.org/officeDocument/2006/relationships" xmlns:p="http://schemas.openxmlformats.org/presentationml/2006/main">
  <p:tag name="LEVEL" val="5"/>
  <p:tag name="LEFT" val=" 915.592"/>
  <p:tag name="TOP" val=" 19.84252"/>
  <p:tag name="WIDTH" val=" 30.04732"/>
  <p:tag name="HEIGHT" val=" 29.08126"/>
</p:tagLst>
</file>

<file path=ppt/tags/tag34.xml><?xml version="1.0" encoding="utf-8"?>
<p:tagLst xmlns:a="http://schemas.openxmlformats.org/drawingml/2006/main" xmlns:r="http://schemas.openxmlformats.org/officeDocument/2006/relationships" xmlns:p="http://schemas.openxmlformats.org/presentationml/2006/main">
  <p:tag name="LEVEL" val="1"/>
  <p:tag name="LEFT" val=" 0"/>
  <p:tag name="TOP" val=" 0"/>
  <p:tag name="WIDTH" val=" 959.4901"/>
  <p:tag name="HEIGHT" val=" 539.66"/>
</p:tagLst>
</file>

<file path=ppt/tags/tag35.xml><?xml version="1.0" encoding="utf-8"?>
<p:tagLst xmlns:a="http://schemas.openxmlformats.org/drawingml/2006/main" xmlns:r="http://schemas.openxmlformats.org/officeDocument/2006/relationships" xmlns:p="http://schemas.openxmlformats.org/presentationml/2006/main">
  <p:tag name="LEVEL" val="5"/>
  <p:tag name="LEFT" val=" 915.592"/>
  <p:tag name="TOP" val=" 19.84252"/>
  <p:tag name="WIDTH" val=" 30.04732"/>
  <p:tag name="HEIGHT" val=" 29.08126"/>
</p:tagLst>
</file>

<file path=ppt/tags/tag36.xml><?xml version="1.0" encoding="utf-8"?>
<p:tagLst xmlns:a="http://schemas.openxmlformats.org/drawingml/2006/main" xmlns:r="http://schemas.openxmlformats.org/officeDocument/2006/relationships" xmlns:p="http://schemas.openxmlformats.org/presentationml/2006/main">
  <p:tag name="LEVEL" val="4"/>
  <p:tag name="LEFT" val=" 919.277"/>
  <p:tag name="TOP" val=" 13.6063"/>
  <p:tag name="WIDTH" val=" 23.52008"/>
  <p:tag name="HEIGHT" val=" 22.80008"/>
</p:tagLst>
</file>

<file path=ppt/tags/tag37.xml><?xml version="1.0" encoding="utf-8"?>
<p:tagLst xmlns:a="http://schemas.openxmlformats.org/drawingml/2006/main" xmlns:r="http://schemas.openxmlformats.org/officeDocument/2006/relationships" xmlns:p="http://schemas.openxmlformats.org/presentationml/2006/main">
  <p:tag name="LEVEL" val="5"/>
  <p:tag name="LEFT" val=" 915.592"/>
  <p:tag name="TOP" val=" 19.84252"/>
  <p:tag name="WIDTH" val=" 30.04732"/>
  <p:tag name="HEIGHT" val=" 29.08126"/>
</p:tagLst>
</file>

<file path=ppt/tags/tag38.xml><?xml version="1.0" encoding="utf-8"?>
<p:tagLst xmlns:a="http://schemas.openxmlformats.org/drawingml/2006/main" xmlns:r="http://schemas.openxmlformats.org/officeDocument/2006/relationships" xmlns:p="http://schemas.openxmlformats.org/presentationml/2006/main">
  <p:tag name="LEVEL" val="5"/>
  <p:tag name="LEFT" val=" 85.03953"/>
  <p:tag name="TOP" val=" 110.5513"/>
  <p:tag name="WIDTH" val=" 382.6778"/>
  <p:tag name="HEIGHT" val=" 368.5045"/>
</p:tagLst>
</file>

<file path=ppt/tags/tag39.xml><?xml version="1.0" encoding="utf-8"?>
<p:tagLst xmlns:a="http://schemas.openxmlformats.org/drawingml/2006/main" xmlns:r="http://schemas.openxmlformats.org/officeDocument/2006/relationships" xmlns:p="http://schemas.openxmlformats.org/presentationml/2006/main">
  <p:tag name="LEVEL" val="5"/>
  <p:tag name="LEFT" val=" 119.0553"/>
  <p:tag name="TOP" val=" 41.10244"/>
  <p:tag name="WIDTH" val=" 425.1975"/>
  <p:tag name="HEIGHT" val=" 34.01583"/>
</p:tagLst>
</file>

<file path=ppt/tags/tag4.xml><?xml version="1.0" encoding="utf-8"?>
<p:tagLst xmlns:a="http://schemas.openxmlformats.org/drawingml/2006/main" xmlns:r="http://schemas.openxmlformats.org/officeDocument/2006/relationships" xmlns:p="http://schemas.openxmlformats.org/presentationml/2006/main">
  <p:tag name="LEVEL" val="4"/>
  <p:tag name="LEFT" val=" 0"/>
  <p:tag name="TOP" val=" 403.0872"/>
  <p:tag name="WIDTH" val=" 591.8749"/>
  <p:tag name="HEIGHT" val=" 108.4865"/>
</p:tagLst>
</file>

<file path=ppt/tags/tag40.xml><?xml version="1.0" encoding="utf-8"?>
<p:tagLst xmlns:a="http://schemas.openxmlformats.org/drawingml/2006/main" xmlns:r="http://schemas.openxmlformats.org/officeDocument/2006/relationships" xmlns:p="http://schemas.openxmlformats.org/presentationml/2006/main">
  <p:tag name="LEVEL" val="5"/>
  <p:tag name="LEFT" val=" 915.592"/>
  <p:tag name="TOP" val=" 19.84252"/>
  <p:tag name="WIDTH" val=" 30.04732"/>
  <p:tag name="HEIGHT" val=" 29.08126"/>
</p:tagLst>
</file>

<file path=ppt/tags/tag41.xml><?xml version="1.0" encoding="utf-8"?>
<p:tagLst xmlns:a="http://schemas.openxmlformats.org/drawingml/2006/main" xmlns:r="http://schemas.openxmlformats.org/officeDocument/2006/relationships" xmlns:p="http://schemas.openxmlformats.org/presentationml/2006/main">
  <p:tag name="LEVEL" val="4"/>
  <p:tag name="LEFT" val=" 919.277"/>
  <p:tag name="TOP" val=" 13.6063"/>
  <p:tag name="WIDTH" val=" 23.52008"/>
  <p:tag name="HEIGHT" val=" 22.80008"/>
</p:tagLst>
</file>

<file path=ppt/tags/tag42.xml><?xml version="1.0" encoding="utf-8"?>
<p:tagLst xmlns:a="http://schemas.openxmlformats.org/drawingml/2006/main" xmlns:r="http://schemas.openxmlformats.org/officeDocument/2006/relationships" xmlns:p="http://schemas.openxmlformats.org/presentationml/2006/main">
  <p:tag name="LEVEL" val="5"/>
  <p:tag name="LEFT" val=" 915.592"/>
  <p:tag name="TOP" val=" 19.84252"/>
  <p:tag name="WIDTH" val=" 30.04732"/>
  <p:tag name="HEIGHT" val=" 29.08126"/>
</p:tagLst>
</file>

<file path=ppt/tags/tag43.xml><?xml version="1.0" encoding="utf-8"?>
<p:tagLst xmlns:a="http://schemas.openxmlformats.org/drawingml/2006/main" xmlns:r="http://schemas.openxmlformats.org/officeDocument/2006/relationships" xmlns:p="http://schemas.openxmlformats.org/presentationml/2006/main">
  <p:tag name="LEVEL" val="5"/>
  <p:tag name="LEFT" val=" 119.0553"/>
  <p:tag name="TOP" val=" 41.10244"/>
  <p:tag name="WIDTH" val=" 425.1975"/>
  <p:tag name="HEIGHT" val=" 34.01583"/>
</p:tagLst>
</file>

<file path=ppt/tags/tag44.xml><?xml version="1.0" encoding="utf-8"?>
<p:tagLst xmlns:a="http://schemas.openxmlformats.org/drawingml/2006/main" xmlns:r="http://schemas.openxmlformats.org/officeDocument/2006/relationships" xmlns:p="http://schemas.openxmlformats.org/presentationml/2006/main">
  <p:tag name="LEVEL" val="5"/>
  <p:tag name="LEFT" val=" 447.592"/>
  <p:tag name="TOP" val=" 104.8158"/>
  <p:tag name="WIDTH" val=" 31.72803"/>
  <p:tag name="HEIGHT" val=" 31.72803"/>
</p:tagLst>
</file>

<file path=ppt/tags/tag45.xml><?xml version="1.0" encoding="utf-8"?>
<p:tagLst xmlns:a="http://schemas.openxmlformats.org/drawingml/2006/main" xmlns:r="http://schemas.openxmlformats.org/officeDocument/2006/relationships" xmlns:p="http://schemas.openxmlformats.org/presentationml/2006/main">
  <p:tag name="LEVEL" val="5"/>
  <p:tag name="LEFT" val=" 447.592"/>
  <p:tag name="TOP" val=" 104.8158"/>
  <p:tag name="WIDTH" val=" 31.72803"/>
  <p:tag name="HEIGHT" val=" 31.72803"/>
</p:tagLst>
</file>

<file path=ppt/tags/tag46.xml><?xml version="1.0" encoding="utf-8"?>
<p:tagLst xmlns:a="http://schemas.openxmlformats.org/drawingml/2006/main" xmlns:r="http://schemas.openxmlformats.org/officeDocument/2006/relationships" xmlns:p="http://schemas.openxmlformats.org/presentationml/2006/main">
  <p:tag name="LEVEL" val="5"/>
  <p:tag name="LEFT" val=" 447.592"/>
  <p:tag name="TOP" val=" 104.8158"/>
  <p:tag name="WIDTH" val=" 31.72803"/>
  <p:tag name="HEIGHT" val=" 31.72803"/>
</p:tagLst>
</file>

<file path=ppt/tags/tag47.xml><?xml version="1.0" encoding="utf-8"?>
<p:tagLst xmlns:a="http://schemas.openxmlformats.org/drawingml/2006/main" xmlns:r="http://schemas.openxmlformats.org/officeDocument/2006/relationships" xmlns:p="http://schemas.openxmlformats.org/presentationml/2006/main">
  <p:tag name="LEVEL" val="5"/>
  <p:tag name="LEFT" val=" 447.592"/>
  <p:tag name="TOP" val=" 104.8158"/>
  <p:tag name="WIDTH" val=" 31.72803"/>
  <p:tag name="HEIGHT" val=" 31.72803"/>
</p:tagLst>
</file>

<file path=ppt/tags/tag48.xml><?xml version="1.0" encoding="utf-8"?>
<p:tagLst xmlns:a="http://schemas.openxmlformats.org/drawingml/2006/main" xmlns:r="http://schemas.openxmlformats.org/officeDocument/2006/relationships" xmlns:p="http://schemas.openxmlformats.org/presentationml/2006/main">
  <p:tag name="LEVEL" val="5"/>
  <p:tag name="LEFT" val=" 447.592"/>
  <p:tag name="TOP" val=" 104.8158"/>
  <p:tag name="WIDTH" val=" 31.72803"/>
  <p:tag name="HEIGHT" val=" 31.72803"/>
</p:tagLst>
</file>

<file path=ppt/tags/tag49.xml><?xml version="1.0" encoding="utf-8"?>
<p:tagLst xmlns:a="http://schemas.openxmlformats.org/drawingml/2006/main" xmlns:r="http://schemas.openxmlformats.org/officeDocument/2006/relationships" xmlns:p="http://schemas.openxmlformats.org/presentationml/2006/main">
  <p:tag name="LEVEL" val="5"/>
  <p:tag name="LEFT" val=" 447.592"/>
  <p:tag name="TOP" val=" 104.8158"/>
  <p:tag name="WIDTH" val=" 31.72803"/>
  <p:tag name="HEIGHT" val=" 31.72803"/>
</p:tagLst>
</file>

<file path=ppt/tags/tag5.xml><?xml version="1.0" encoding="utf-8"?>
<p:tagLst xmlns:a="http://schemas.openxmlformats.org/drawingml/2006/main" xmlns:r="http://schemas.openxmlformats.org/officeDocument/2006/relationships" xmlns:p="http://schemas.openxmlformats.org/presentationml/2006/main">
  <p:tag name="LEVEL" val="5"/>
  <p:tag name="LEFT" val=" 35.41079"/>
  <p:tag name="TOP" val=" 429.4618"/>
  <p:tag name="WIDTH" val=" 424.9291"/>
  <p:tag name="HEIGHT" val=" 28.32858"/>
</p:tagLst>
</file>

<file path=ppt/tags/tag50.xml><?xml version="1.0" encoding="utf-8"?>
<p:tagLst xmlns:a="http://schemas.openxmlformats.org/drawingml/2006/main" xmlns:r="http://schemas.openxmlformats.org/officeDocument/2006/relationships" xmlns:p="http://schemas.openxmlformats.org/presentationml/2006/main">
  <p:tag name="LEVEL" val="5"/>
  <p:tag name="LEFT" val=" 447.592"/>
  <p:tag name="TOP" val=" 104.8158"/>
  <p:tag name="WIDTH" val=" 31.72803"/>
  <p:tag name="HEIGHT" val=" 31.72803"/>
</p:tagLst>
</file>

<file path=ppt/tags/tag51.xml><?xml version="1.0" encoding="utf-8"?>
<p:tagLst xmlns:a="http://schemas.openxmlformats.org/drawingml/2006/main" xmlns:r="http://schemas.openxmlformats.org/officeDocument/2006/relationships" xmlns:p="http://schemas.openxmlformats.org/presentationml/2006/main">
  <p:tag name="LEVEL" val="5"/>
  <p:tag name="LEFT" val=" 915.592"/>
  <p:tag name="TOP" val=" 19.84252"/>
  <p:tag name="WIDTH" val=" 30.04732"/>
  <p:tag name="HEIGHT" val=" 29.08126"/>
</p:tagLst>
</file>

<file path=ppt/tags/tag52.xml><?xml version="1.0" encoding="utf-8"?>
<p:tagLst xmlns:a="http://schemas.openxmlformats.org/drawingml/2006/main" xmlns:r="http://schemas.openxmlformats.org/officeDocument/2006/relationships" xmlns:p="http://schemas.openxmlformats.org/presentationml/2006/main">
  <p:tag name="LEVEL" val="4"/>
  <p:tag name="LEFT" val=" 919.277"/>
  <p:tag name="TOP" val=" 13.6063"/>
  <p:tag name="WIDTH" val=" 23.52008"/>
  <p:tag name="HEIGHT" val=" 22.80008"/>
</p:tagLst>
</file>

<file path=ppt/tags/tag53.xml><?xml version="1.0" encoding="utf-8"?>
<p:tagLst xmlns:a="http://schemas.openxmlformats.org/drawingml/2006/main" xmlns:r="http://schemas.openxmlformats.org/officeDocument/2006/relationships" xmlns:p="http://schemas.openxmlformats.org/presentationml/2006/main">
  <p:tag name="LEVEL" val="5"/>
  <p:tag name="LEFT" val=" 915.592"/>
  <p:tag name="TOP" val=" 19.84252"/>
  <p:tag name="WIDTH" val=" 30.04732"/>
  <p:tag name="HEIGHT" val=" 29.08126"/>
</p:tagLst>
</file>

<file path=ppt/tags/tag54.xml><?xml version="1.0" encoding="utf-8"?>
<p:tagLst xmlns:a="http://schemas.openxmlformats.org/drawingml/2006/main" xmlns:r="http://schemas.openxmlformats.org/officeDocument/2006/relationships" xmlns:p="http://schemas.openxmlformats.org/presentationml/2006/main">
  <p:tag name="LEVEL" val="1"/>
  <p:tag name="LEFT" val=" 0"/>
  <p:tag name="TOP" val=" 0"/>
  <p:tag name="WIDTH" val=" 959.4901"/>
  <p:tag name="HEIGHT" val=" 539.66"/>
</p:tagLst>
</file>

<file path=ppt/tags/tag55.xml><?xml version="1.0" encoding="utf-8"?>
<p:tagLst xmlns:a="http://schemas.openxmlformats.org/drawingml/2006/main" xmlns:r="http://schemas.openxmlformats.org/officeDocument/2006/relationships" xmlns:p="http://schemas.openxmlformats.org/presentationml/2006/main">
  <p:tag name="LEVEL" val="5"/>
  <p:tag name="LEFT" val=" 915.592"/>
  <p:tag name="TOP" val=" 19.84252"/>
  <p:tag name="WIDTH" val=" 30.04732"/>
  <p:tag name="HEIGHT" val=" 29.08126"/>
</p:tagLst>
</file>

<file path=ppt/tags/tag56.xml><?xml version="1.0" encoding="utf-8"?>
<p:tagLst xmlns:a="http://schemas.openxmlformats.org/drawingml/2006/main" xmlns:r="http://schemas.openxmlformats.org/officeDocument/2006/relationships" xmlns:p="http://schemas.openxmlformats.org/presentationml/2006/main">
  <p:tag name="LEVEL" val="4"/>
  <p:tag name="LEFT" val=" 919.277"/>
  <p:tag name="TOP" val=" 13.6063"/>
  <p:tag name="WIDTH" val=" 23.52008"/>
  <p:tag name="HEIGHT" val=" 22.80008"/>
</p:tagLst>
</file>

<file path=ppt/tags/tag57.xml><?xml version="1.0" encoding="utf-8"?>
<p:tagLst xmlns:a="http://schemas.openxmlformats.org/drawingml/2006/main" xmlns:r="http://schemas.openxmlformats.org/officeDocument/2006/relationships" xmlns:p="http://schemas.openxmlformats.org/presentationml/2006/main">
  <p:tag name="LEVEL" val="5"/>
  <p:tag name="LEFT" val=" 915.592"/>
  <p:tag name="TOP" val=" 19.84252"/>
  <p:tag name="WIDTH" val=" 30.04732"/>
  <p:tag name="HEIGHT" val=" 29.08126"/>
</p:tagLst>
</file>

<file path=ppt/tags/tag58.xml><?xml version="1.0" encoding="utf-8"?>
<p:tagLst xmlns:a="http://schemas.openxmlformats.org/drawingml/2006/main" xmlns:r="http://schemas.openxmlformats.org/officeDocument/2006/relationships" xmlns:p="http://schemas.openxmlformats.org/presentationml/2006/main">
  <p:tag name="LEVEL" val="5"/>
  <p:tag name="LEFT" val=" 85.03953"/>
  <p:tag name="TOP" val=" 110.5513"/>
  <p:tag name="WIDTH" val=" 466.2999"/>
  <p:tag name="HEIGHT" val=" 396.851"/>
</p:tagLst>
</file>

<file path=ppt/tags/tag59.xml><?xml version="1.0" encoding="utf-8"?>
<p:tagLst xmlns:a="http://schemas.openxmlformats.org/drawingml/2006/main" xmlns:r="http://schemas.openxmlformats.org/officeDocument/2006/relationships" xmlns:p="http://schemas.openxmlformats.org/presentationml/2006/main">
  <p:tag name="LEVEL" val="5"/>
  <p:tag name="LEFT" val=" 119.0553"/>
  <p:tag name="TOP" val=" 41.10244"/>
  <p:tag name="WIDTH" val=" 425.1975"/>
  <p:tag name="HEIGHT" val=" 34.01583"/>
</p:tagLst>
</file>

<file path=ppt/tags/tag6.xml><?xml version="1.0" encoding="utf-8"?>
<p:tagLst xmlns:a="http://schemas.openxmlformats.org/drawingml/2006/main" xmlns:r="http://schemas.openxmlformats.org/officeDocument/2006/relationships" xmlns:p="http://schemas.openxmlformats.org/presentationml/2006/main">
  <p:tag name="LEVEL" val="5"/>
  <p:tag name="LEFT" val=" 77.95284"/>
  <p:tag name="TOP" val=" 185.3862"/>
  <p:tag name="WIDTH" val=" 425.1975"/>
  <p:tag name="HEIGHT" val=" 28.34653"/>
</p:tagLst>
</file>

<file path=ppt/tags/tag60.xml><?xml version="1.0" encoding="utf-8"?>
<p:tagLst xmlns:a="http://schemas.openxmlformats.org/drawingml/2006/main" xmlns:r="http://schemas.openxmlformats.org/officeDocument/2006/relationships" xmlns:p="http://schemas.openxmlformats.org/presentationml/2006/main">
  <p:tag name="LEVEL" val="5"/>
  <p:tag name="LEFT" val=" 85.03953"/>
  <p:tag name="TOP" val=" 110.5513"/>
  <p:tag name="WIDTH" val=" 466.2999"/>
  <p:tag name="HEIGHT" val=" 396.851"/>
</p:tagLst>
</file>

<file path=ppt/tags/tag61.xml><?xml version="1.0" encoding="utf-8"?>
<p:tagLst xmlns:a="http://schemas.openxmlformats.org/drawingml/2006/main" xmlns:r="http://schemas.openxmlformats.org/officeDocument/2006/relationships" xmlns:p="http://schemas.openxmlformats.org/presentationml/2006/main">
  <p:tag name="LEVEL" val="5"/>
  <p:tag name="LEFT" val=" 915.592"/>
  <p:tag name="TOP" val=" 19.84252"/>
  <p:tag name="WIDTH" val=" 30.04732"/>
  <p:tag name="HEIGHT" val=" 29.08126"/>
</p:tagLst>
</file>

<file path=ppt/tags/tag62.xml><?xml version="1.0" encoding="utf-8"?>
<p:tagLst xmlns:a="http://schemas.openxmlformats.org/drawingml/2006/main" xmlns:r="http://schemas.openxmlformats.org/officeDocument/2006/relationships" xmlns:p="http://schemas.openxmlformats.org/presentationml/2006/main">
  <p:tag name="LEVEL" val="4"/>
  <p:tag name="LEFT" val=" 919.277"/>
  <p:tag name="TOP" val=" 13.6063"/>
  <p:tag name="WIDTH" val=" 23.52008"/>
  <p:tag name="HEIGHT" val=" 22.80008"/>
</p:tagLst>
</file>

<file path=ppt/tags/tag63.xml><?xml version="1.0" encoding="utf-8"?>
<p:tagLst xmlns:a="http://schemas.openxmlformats.org/drawingml/2006/main" xmlns:r="http://schemas.openxmlformats.org/officeDocument/2006/relationships" xmlns:p="http://schemas.openxmlformats.org/presentationml/2006/main">
  <p:tag name="LEVEL" val="5"/>
  <p:tag name="LEFT" val=" 915.592"/>
  <p:tag name="TOP" val=" 19.84252"/>
  <p:tag name="WIDTH" val=" 30.04732"/>
  <p:tag name="HEIGHT" val=" 29.08126"/>
</p:tagLst>
</file>

<file path=ppt/tags/tag64.xml><?xml version="1.0" encoding="utf-8"?>
<p:tagLst xmlns:a="http://schemas.openxmlformats.org/drawingml/2006/main" xmlns:r="http://schemas.openxmlformats.org/officeDocument/2006/relationships" xmlns:p="http://schemas.openxmlformats.org/presentationml/2006/main">
  <p:tag name="LEVEL" val="5"/>
  <p:tag name="LEFT" val=" 85.03953"/>
  <p:tag name="TOP" val=" 110.5513"/>
  <p:tag name="WIDTH" val=" 382.6778"/>
  <p:tag name="HEIGHT" val=" 368.5045"/>
</p:tagLst>
</file>

<file path=ppt/tags/tag65.xml><?xml version="1.0" encoding="utf-8"?>
<p:tagLst xmlns:a="http://schemas.openxmlformats.org/drawingml/2006/main" xmlns:r="http://schemas.openxmlformats.org/officeDocument/2006/relationships" xmlns:p="http://schemas.openxmlformats.org/presentationml/2006/main">
  <p:tag name="LEVEL" val="5"/>
  <p:tag name="LEFT" val=" 119.0553"/>
  <p:tag name="TOP" val=" 41.10244"/>
  <p:tag name="WIDTH" val=" 425.1975"/>
  <p:tag name="HEIGHT" val=" 34.01583"/>
</p:tagLst>
</file>

<file path=ppt/tags/tag66.xml><?xml version="1.0" encoding="utf-8"?>
<p:tagLst xmlns:a="http://schemas.openxmlformats.org/drawingml/2006/main" xmlns:r="http://schemas.openxmlformats.org/officeDocument/2006/relationships" xmlns:p="http://schemas.openxmlformats.org/presentationml/2006/main">
  <p:tag name="LEVEL" val="5"/>
  <p:tag name="LEFT" val=" 85.03953"/>
  <p:tag name="TOP" val=" 110.5513"/>
  <p:tag name="WIDTH" val=" 382.6778"/>
  <p:tag name="HEIGHT" val=" 368.5045"/>
</p:tagLst>
</file>

<file path=ppt/tags/tag67.xml><?xml version="1.0" encoding="utf-8"?>
<p:tagLst xmlns:a="http://schemas.openxmlformats.org/drawingml/2006/main" xmlns:r="http://schemas.openxmlformats.org/officeDocument/2006/relationships" xmlns:p="http://schemas.openxmlformats.org/presentationml/2006/main">
  <p:tag name="LEVEL" val="5"/>
  <p:tag name="LEFT" val=" 915.592"/>
  <p:tag name="TOP" val=" 19.84252"/>
  <p:tag name="WIDTH" val=" 30.04732"/>
  <p:tag name="HEIGHT" val=" 29.08126"/>
</p:tagLst>
</file>

<file path=ppt/tags/tag68.xml><?xml version="1.0" encoding="utf-8"?>
<p:tagLst xmlns:a="http://schemas.openxmlformats.org/drawingml/2006/main" xmlns:r="http://schemas.openxmlformats.org/officeDocument/2006/relationships" xmlns:p="http://schemas.openxmlformats.org/presentationml/2006/main">
  <p:tag name="LEVEL" val="4"/>
  <p:tag name="LEFT" val=" 919.277"/>
  <p:tag name="TOP" val=" 13.6063"/>
  <p:tag name="WIDTH" val=" 23.52008"/>
  <p:tag name="HEIGHT" val=" 22.80008"/>
</p:tagLst>
</file>

<file path=ppt/tags/tag69.xml><?xml version="1.0" encoding="utf-8"?>
<p:tagLst xmlns:a="http://schemas.openxmlformats.org/drawingml/2006/main" xmlns:r="http://schemas.openxmlformats.org/officeDocument/2006/relationships" xmlns:p="http://schemas.openxmlformats.org/presentationml/2006/main">
  <p:tag name="LEVEL" val="5"/>
  <p:tag name="LEFT" val=" 915.592"/>
  <p:tag name="TOP" val=" 19.84252"/>
  <p:tag name="WIDTH" val=" 30.04732"/>
  <p:tag name="HEIGHT" val=" 29.08126"/>
</p:tagLst>
</file>

<file path=ppt/tags/tag7.xml><?xml version="1.0" encoding="utf-8"?>
<p:tagLst xmlns:a="http://schemas.openxmlformats.org/drawingml/2006/main" xmlns:r="http://schemas.openxmlformats.org/officeDocument/2006/relationships" xmlns:p="http://schemas.openxmlformats.org/presentationml/2006/main">
  <p:tag name="LEVEL" val="5"/>
  <p:tag name="LEFT" val=" 77.95284"/>
  <p:tag name="TOP" val=" 37.13394"/>
  <p:tag name="WIDTH" val=" 793.702"/>
  <p:tag name="HEIGHT" val=" 134.6459"/>
</p:tagLst>
</file>

<file path=ppt/tags/tag70.xml><?xml version="1.0" encoding="utf-8"?>
<p:tagLst xmlns:a="http://schemas.openxmlformats.org/drawingml/2006/main" xmlns:r="http://schemas.openxmlformats.org/officeDocument/2006/relationships" xmlns:p="http://schemas.openxmlformats.org/presentationml/2006/main">
  <p:tag name="LEVEL" val="1"/>
  <p:tag name="LEFT" val=" 0"/>
  <p:tag name="TOP" val=" 0"/>
  <p:tag name="WIDTH" val=" 960.096"/>
  <p:tag name="HEIGHT" val=" 540.0009"/>
</p:tagLst>
</file>

<file path=ppt/tags/tag71.xml><?xml version="1.0" encoding="utf-8"?>
<p:tagLst xmlns:a="http://schemas.openxmlformats.org/drawingml/2006/main" xmlns:r="http://schemas.openxmlformats.org/officeDocument/2006/relationships" xmlns:p="http://schemas.openxmlformats.org/presentationml/2006/main">
  <p:tag name="LEVEL" val="5"/>
  <p:tag name="LEFT" val=" 85.03953"/>
  <p:tag name="TOP" val=" 110.5513"/>
  <p:tag name="WIDTH" val=" 466.2999"/>
  <p:tag name="HEIGHT" val=" 396.851"/>
</p:tagLst>
</file>

<file path=ppt/tags/tag72.xml><?xml version="1.0" encoding="utf-8"?>
<p:tagLst xmlns:a="http://schemas.openxmlformats.org/drawingml/2006/main" xmlns:r="http://schemas.openxmlformats.org/officeDocument/2006/relationships" xmlns:p="http://schemas.openxmlformats.org/presentationml/2006/main">
  <p:tag name="LEVEL" val="5"/>
  <p:tag name="LEFT" val=" 118.9802"/>
  <p:tag name="TOP" val=" 41.07646"/>
  <p:tag name="WIDTH" val=" 424.9291"/>
  <p:tag name="HEIGHT" val=" 33.99433"/>
</p:tagLst>
</file>

<file path=ppt/tags/tag73.xml><?xml version="1.0" encoding="utf-8"?>
<p:tagLst xmlns:a="http://schemas.openxmlformats.org/drawingml/2006/main" xmlns:r="http://schemas.openxmlformats.org/officeDocument/2006/relationships" xmlns:p="http://schemas.openxmlformats.org/presentationml/2006/main">
  <p:tag name="LEVEL" val="4"/>
  <p:tag name="LEFT" val=" 919.277"/>
  <p:tag name="TOP" val=" 13.6063"/>
  <p:tag name="WIDTH" val=" 23.52008"/>
  <p:tag name="HEIGHT" val=" 22.80008"/>
</p:tagLst>
</file>

<file path=ppt/tags/tag74.xml><?xml version="1.0" encoding="utf-8"?>
<p:tagLst xmlns:a="http://schemas.openxmlformats.org/drawingml/2006/main" xmlns:r="http://schemas.openxmlformats.org/officeDocument/2006/relationships" xmlns:p="http://schemas.openxmlformats.org/presentationml/2006/main">
  <p:tag name="LEVEL" val="4"/>
  <p:tag name="LEFT" val=" 919.277"/>
  <p:tag name="TOP" val=" 13.6063"/>
  <p:tag name="WIDTH" val=" 23.52008"/>
  <p:tag name="HEIGHT" val=" 22.80008"/>
</p:tagLst>
</file>

<file path=ppt/tags/tag75.xml><?xml version="1.0" encoding="utf-8"?>
<p:tagLst xmlns:a="http://schemas.openxmlformats.org/drawingml/2006/main" xmlns:r="http://schemas.openxmlformats.org/officeDocument/2006/relationships" xmlns:p="http://schemas.openxmlformats.org/presentationml/2006/main">
  <p:tag name="LEVEL" val="5"/>
  <p:tag name="LEFT" val=" 915.592"/>
  <p:tag name="TOP" val=" 19.84252"/>
  <p:tag name="WIDTH" val=" 30.04732"/>
  <p:tag name="HEIGHT" val=" 29.08126"/>
</p:tagLst>
</file>

<file path=ppt/tags/tag76.xml><?xml version="1.0" encoding="utf-8"?>
<p:tagLst xmlns:a="http://schemas.openxmlformats.org/drawingml/2006/main" xmlns:r="http://schemas.openxmlformats.org/officeDocument/2006/relationships" xmlns:p="http://schemas.openxmlformats.org/presentationml/2006/main">
  <p:tag name="LEVEL" val="5"/>
  <p:tag name="LEFT" val=" 118.9802"/>
  <p:tag name="TOP" val=" 41.07646"/>
  <p:tag name="WIDTH" val=" 424.9291"/>
  <p:tag name="HEIGHT" val=" 33.99433"/>
</p:tagLst>
</file>

<file path=ppt/tags/tag77.xml><?xml version="1.0" encoding="utf-8"?>
<p:tagLst xmlns:a="http://schemas.openxmlformats.org/drawingml/2006/main" xmlns:r="http://schemas.openxmlformats.org/officeDocument/2006/relationships" xmlns:p="http://schemas.openxmlformats.org/presentationml/2006/main">
  <p:tag name="LEVEL" val="5"/>
  <p:tag name="LEFT" val=" 915.592"/>
  <p:tag name="TOP" val=" 19.84252"/>
  <p:tag name="WIDTH" val=" 30.04732"/>
  <p:tag name="HEIGHT" val=" 29.08126"/>
</p:tagLst>
</file>

<file path=ppt/tags/tag78.xml><?xml version="1.0" encoding="utf-8"?>
<p:tagLst xmlns:a="http://schemas.openxmlformats.org/drawingml/2006/main" xmlns:r="http://schemas.openxmlformats.org/officeDocument/2006/relationships" xmlns:p="http://schemas.openxmlformats.org/presentationml/2006/main">
  <p:tag name="LEVEL" val="4"/>
  <p:tag name="LEFT" val=" 919.277"/>
  <p:tag name="TOP" val=" 13.6063"/>
  <p:tag name="WIDTH" val=" 23.52008"/>
  <p:tag name="HEIGHT" val=" 22.80008"/>
</p:tagLst>
</file>

<file path=ppt/tags/tag79.xml><?xml version="1.0" encoding="utf-8"?>
<p:tagLst xmlns:a="http://schemas.openxmlformats.org/drawingml/2006/main" xmlns:r="http://schemas.openxmlformats.org/officeDocument/2006/relationships" xmlns:p="http://schemas.openxmlformats.org/presentationml/2006/main">
  <p:tag name="LEVEL" val="5"/>
  <p:tag name="LEFT" val=" 915.592"/>
  <p:tag name="TOP" val=" 19.84252"/>
  <p:tag name="WIDTH" val=" 30.04732"/>
  <p:tag name="HEIGHT" val=" 29.08126"/>
</p:tagLst>
</file>

<file path=ppt/tags/tag8.xml><?xml version="1.0" encoding="utf-8"?>
<p:tagLst xmlns:a="http://schemas.openxmlformats.org/drawingml/2006/main" xmlns:r="http://schemas.openxmlformats.org/officeDocument/2006/relationships" xmlns:p="http://schemas.openxmlformats.org/presentationml/2006/main">
  <p:tag name="LEVEL" val="5"/>
  <p:tag name="LEFT" val=" 35.43315"/>
  <p:tag name="TOP" val=" 429.733"/>
  <p:tag name="WIDTH" val=" 425.1975"/>
  <p:tag name="HEIGHT" val=" 28.34653"/>
</p:tagLst>
</file>

<file path=ppt/tags/tag80.xml><?xml version="1.0" encoding="utf-8"?>
<p:tagLst xmlns:a="http://schemas.openxmlformats.org/drawingml/2006/main" xmlns:r="http://schemas.openxmlformats.org/officeDocument/2006/relationships" xmlns:p="http://schemas.openxmlformats.org/presentationml/2006/main">
  <p:tag name="LEVEL" val="5"/>
  <p:tag name="LEFT" val=" 915.592"/>
  <p:tag name="TOP" val=" 19.84252"/>
  <p:tag name="WIDTH" val=" 30.04732"/>
  <p:tag name="HEIGHT" val=" 29.08126"/>
</p:tagLst>
</file>

<file path=ppt/tags/tag81.xml><?xml version="1.0" encoding="utf-8"?>
<p:tagLst xmlns:a="http://schemas.openxmlformats.org/drawingml/2006/main" xmlns:r="http://schemas.openxmlformats.org/officeDocument/2006/relationships" xmlns:p="http://schemas.openxmlformats.org/presentationml/2006/main">
  <p:tag name="LEVEL" val="4"/>
  <p:tag name="LEFT" val=" 919.277"/>
  <p:tag name="TOP" val=" 13.6063"/>
  <p:tag name="WIDTH" val=" 23.52008"/>
  <p:tag name="HEIGHT" val=" 22.80008"/>
</p:tagLst>
</file>

<file path=ppt/tags/tag82.xml><?xml version="1.0" encoding="utf-8"?>
<p:tagLst xmlns:a="http://schemas.openxmlformats.org/drawingml/2006/main" xmlns:r="http://schemas.openxmlformats.org/officeDocument/2006/relationships" xmlns:p="http://schemas.openxmlformats.org/presentationml/2006/main">
  <p:tag name="LEVEL" val="5"/>
  <p:tag name="LEFT" val=" 915.592"/>
  <p:tag name="TOP" val=" 19.84252"/>
  <p:tag name="WIDTH" val=" 30.04732"/>
  <p:tag name="HEIGHT" val=" 29.08126"/>
</p:tagLst>
</file>

<file path=ppt/tags/tag83.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84.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85.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86.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87.xml><?xml version="1.0" encoding="utf-8"?>
<p:tagLst xmlns:a="http://schemas.openxmlformats.org/drawingml/2006/main" xmlns:r="http://schemas.openxmlformats.org/officeDocument/2006/relationships" xmlns:p="http://schemas.openxmlformats.org/presentationml/2006/main">
  <p:tag name="LEVEL" val="5"/>
  <p:tag name="LEFT" val=" 915.592"/>
  <p:tag name="TOP" val=" 19.84252"/>
  <p:tag name="WIDTH" val=" 30.04732"/>
  <p:tag name="HEIGHT" val=" 29.08126"/>
</p:tagLst>
</file>

<file path=ppt/tags/tag88.xml><?xml version="1.0" encoding="utf-8"?>
<p:tagLst xmlns:a="http://schemas.openxmlformats.org/drawingml/2006/main" xmlns:r="http://schemas.openxmlformats.org/officeDocument/2006/relationships" xmlns:p="http://schemas.openxmlformats.org/presentationml/2006/main">
  <p:tag name="LEVEL" val="4"/>
  <p:tag name="LEFT" val=" 919.277"/>
  <p:tag name="TOP" val=" 13.6063"/>
  <p:tag name="WIDTH" val=" 23.52008"/>
  <p:tag name="HEIGHT" val=" 22.80008"/>
</p:tagLst>
</file>

<file path=ppt/tags/tag89.xml><?xml version="1.0" encoding="utf-8"?>
<p:tagLst xmlns:a="http://schemas.openxmlformats.org/drawingml/2006/main" xmlns:r="http://schemas.openxmlformats.org/officeDocument/2006/relationships" xmlns:p="http://schemas.openxmlformats.org/presentationml/2006/main">
  <p:tag name="LEVEL" val="5"/>
  <p:tag name="LEFT" val=" 915.592"/>
  <p:tag name="TOP" val=" 19.84252"/>
  <p:tag name="WIDTH" val=" 30.04732"/>
  <p:tag name="HEIGHT" val=" 29.08126"/>
</p:tagLst>
</file>

<file path=ppt/tags/tag9.xml><?xml version="1.0" encoding="utf-8"?>
<p:tagLst xmlns:a="http://schemas.openxmlformats.org/drawingml/2006/main" xmlns:r="http://schemas.openxmlformats.org/officeDocument/2006/relationships" xmlns:p="http://schemas.openxmlformats.org/presentationml/2006/main">
  <p:tag name="LEVEL" val="5"/>
  <p:tag name="LEFT" val=" 35.43315"/>
  <p:tag name="TOP" val=" 455.8118"/>
  <p:tag name="WIDTH" val=" 425.1975"/>
  <p:tag name="HEIGHT" val=" 28.34653"/>
</p:tagLst>
</file>

<file path=ppt/tags/tag90.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91.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92.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93.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94.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95.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96.xml><?xml version="1.0" encoding="utf-8"?>
<p:tagLst xmlns:a="http://schemas.openxmlformats.org/drawingml/2006/main" xmlns:r="http://schemas.openxmlformats.org/officeDocument/2006/relationships" xmlns:p="http://schemas.openxmlformats.org/presentationml/2006/main">
  <p:tag name="LEVEL" val="5"/>
  <p:tag name="LEFT" val=" 915.592"/>
  <p:tag name="TOP" val=" 19.84252"/>
  <p:tag name="WIDTH" val=" 30.04732"/>
  <p:tag name="HEIGHT" val=" 29.08126"/>
</p:tagLst>
</file>

<file path=ppt/tags/tag97.xml><?xml version="1.0" encoding="utf-8"?>
<p:tagLst xmlns:a="http://schemas.openxmlformats.org/drawingml/2006/main" xmlns:r="http://schemas.openxmlformats.org/officeDocument/2006/relationships" xmlns:p="http://schemas.openxmlformats.org/presentationml/2006/main">
  <p:tag name="LEVEL" val="4"/>
  <p:tag name="LEFT" val=" 919.277"/>
  <p:tag name="TOP" val=" 13.6063"/>
  <p:tag name="WIDTH" val=" 23.52008"/>
  <p:tag name="HEIGHT" val=" 22.80008"/>
</p:tagLst>
</file>

<file path=ppt/tags/tag98.xml><?xml version="1.0" encoding="utf-8"?>
<p:tagLst xmlns:a="http://schemas.openxmlformats.org/drawingml/2006/main" xmlns:r="http://schemas.openxmlformats.org/officeDocument/2006/relationships" xmlns:p="http://schemas.openxmlformats.org/presentationml/2006/main">
  <p:tag name="LEVEL" val="5"/>
  <p:tag name="LEFT" val=" 915.592"/>
  <p:tag name="TOP" val=" 19.84252"/>
  <p:tag name="WIDTH" val=" 30.04732"/>
  <p:tag name="HEIGHT" val=" 29.08126"/>
</p:tagLst>
</file>

<file path=ppt/tags/tag99.xml><?xml version="1.0" encoding="utf-8"?>
<p:tagLst xmlns:a="http://schemas.openxmlformats.org/drawingml/2006/main" xmlns:r="http://schemas.openxmlformats.org/officeDocument/2006/relationships" xmlns:p="http://schemas.openxmlformats.org/presentationml/2006/main">
  <p:tag name="POWER_USER_TAGS_ICONS" val=""/>
</p:tagLst>
</file>

<file path=ppt/theme/theme1.xml><?xml version="1.0" encoding="utf-8"?>
<a:theme xmlns:a="http://schemas.openxmlformats.org/drawingml/2006/main" name="Calvi PowerPoint">
  <a:themeElements>
    <a:clrScheme name="SeinpostZKA">
      <a:dk1>
        <a:sysClr val="windowText" lastClr="000000"/>
      </a:dk1>
      <a:lt1>
        <a:sysClr val="window" lastClr="FFFFFF"/>
      </a:lt1>
      <a:dk2>
        <a:srgbClr val="5A5B5D"/>
      </a:dk2>
      <a:lt2>
        <a:srgbClr val="939393"/>
      </a:lt2>
      <a:accent1>
        <a:srgbClr val="62366E"/>
      </a:accent1>
      <a:accent2>
        <a:srgbClr val="67B2E8"/>
      </a:accent2>
      <a:accent3>
        <a:srgbClr val="92D5AC"/>
      </a:accent3>
      <a:accent4>
        <a:srgbClr val="E9473F"/>
      </a:accent4>
      <a:accent5>
        <a:srgbClr val="D8E175"/>
      </a:accent5>
      <a:accent6>
        <a:srgbClr val="F08481"/>
      </a:accent6>
      <a:hlink>
        <a:srgbClr val="0563C1"/>
      </a:hlink>
      <a:folHlink>
        <a:srgbClr val="954F72"/>
      </a:folHlink>
    </a:clrScheme>
    <a:fontScheme name="Seinpost">
      <a:majorFont>
        <a:latin typeface="Open Sans"/>
        <a:ea typeface=""/>
        <a:cs typeface=""/>
      </a:majorFont>
      <a:minorFont>
        <a:latin typeface="Open Sans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seinpost.potx" id="{2AA1DE99-EFC8-4AED-93F6-36719C3D1B09}" vid="{CF83348E-A52E-44F9-936D-B043101822DC}"/>
    </a:ext>
  </a:extLst>
</a:theme>
</file>

<file path=ppt/theme/theme2.xml><?xml version="1.0" encoding="utf-8"?>
<a:theme xmlns:a="http://schemas.openxmlformats.org/drawingml/2006/main" name="Kantoorthema">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182E5FC98A8D5E4493C63FD79403AF39" ma:contentTypeVersion="12" ma:contentTypeDescription="Een nieuw document maken." ma:contentTypeScope="" ma:versionID="00677780ad44ad20dd30e15695f5321d">
  <xsd:schema xmlns:xsd="http://www.w3.org/2001/XMLSchema" xmlns:xs="http://www.w3.org/2001/XMLSchema" xmlns:p="http://schemas.microsoft.com/office/2006/metadata/properties" xmlns:ns2="4cefe4a5-e3f3-4dd9-b0cd-f8e53cab4ae6" xmlns:ns3="00614b57-9ead-4f6f-9f42-850c1ec9a60a" targetNamespace="http://schemas.microsoft.com/office/2006/metadata/properties" ma:root="true" ma:fieldsID="9cf23039dffa05e47ab27e4296d7db76" ns2:_="" ns3:_="">
    <xsd:import namespace="4cefe4a5-e3f3-4dd9-b0cd-f8e53cab4ae6"/>
    <xsd:import namespace="00614b57-9ead-4f6f-9f42-850c1ec9a60a"/>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AutoKeyPoints" minOccurs="0"/>
                <xsd:element ref="ns2:MediaServiceKeyPoints" minOccurs="0"/>
                <xsd:element ref="ns2:MediaServiceAutoTags" minOccurs="0"/>
                <xsd:element ref="ns2:MediaServiceGenerationTime" minOccurs="0"/>
                <xsd:element ref="ns2:MediaServiceEventHashCode" minOccurs="0"/>
                <xsd:element ref="ns2:MediaServiceDateTaken" minOccurs="0"/>
                <xsd:element ref="ns2:MediaServiceLocation" minOccurs="0"/>
                <xsd:element ref="ns2:MediaServiceOCR"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cefe4a5-e3f3-4dd9-b0cd-f8e53cab4ae6"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AutoTags" ma:index="14" nillable="true" ma:displayName="Tags" ma:internalName="MediaServiceAutoTags" ma:readOnly="true">
      <xsd:simpleType>
        <xsd:restriction base="dms:Text"/>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DateTaken" ma:index="17" nillable="true" ma:displayName="MediaServiceDateTaken" ma:hidden="true" ma:internalName="MediaServiceDateTaken" ma:readOnly="true">
      <xsd:simpleType>
        <xsd:restriction base="dms:Text"/>
      </xsd:simpleType>
    </xsd:element>
    <xsd:element name="MediaServiceLocation" ma:index="18" nillable="true" ma:displayName="Location" ma:internalName="MediaServiceLocation" ma:readOnly="true">
      <xsd:simpleType>
        <xsd:restriction base="dms:Text"/>
      </xsd:simpleType>
    </xsd:element>
    <xsd:element name="MediaServiceOCR" ma:index="19" nillable="true" ma:displayName="Extracted Text" ma:internalName="MediaServiceOCR"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00614b57-9ead-4f6f-9f42-850c1ec9a60a" elementFormDefault="qualified">
    <xsd:import namespace="http://schemas.microsoft.com/office/2006/documentManagement/types"/>
    <xsd:import namespace="http://schemas.microsoft.com/office/infopath/2007/PartnerControls"/>
    <xsd:element name="SharedWithUsers" ma:index="10" nillable="true" ma:displayName="Gedeeld met"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Gedeeld met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oudstype"/>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SharedWithUsers xmlns="00614b57-9ead-4f6f-9f42-850c1ec9a60a">
      <UserInfo>
        <DisplayName>Jan-Willem Speetjens | Seinpost</DisplayName>
        <AccountId>25</AccountId>
        <AccountType/>
      </UserInfo>
    </SharedWithUsers>
  </documentManagement>
</p:properties>
</file>

<file path=customXml/itemProps1.xml><?xml version="1.0" encoding="utf-8"?>
<ds:datastoreItem xmlns:ds="http://schemas.openxmlformats.org/officeDocument/2006/customXml" ds:itemID="{ABCA9E19-F59D-45C6-94E8-AE631540121B}">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4cefe4a5-e3f3-4dd9-b0cd-f8e53cab4ae6"/>
    <ds:schemaRef ds:uri="00614b57-9ead-4f6f-9f42-850c1ec9a60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F9EFF3E9-1D1D-4A91-8A5F-926ADF5F1C80}">
  <ds:schemaRefs>
    <ds:schemaRef ds:uri="http://schemas.microsoft.com/sharepoint/v3/contenttype/forms"/>
  </ds:schemaRefs>
</ds:datastoreItem>
</file>

<file path=customXml/itemProps3.xml><?xml version="1.0" encoding="utf-8"?>
<ds:datastoreItem xmlns:ds="http://schemas.openxmlformats.org/officeDocument/2006/customXml" ds:itemID="{44062D17-DB0F-4B3D-9473-1E51B4C4B74D}">
  <ds:schemaRefs>
    <ds:schemaRef ds:uri="http://purl.org/dc/terms/"/>
    <ds:schemaRef ds:uri="http://schemas.microsoft.com/office/2006/documentManagement/types"/>
    <ds:schemaRef ds:uri="http://schemas.microsoft.com/office/2006/metadata/properties"/>
    <ds:schemaRef ds:uri="4cefe4a5-e3f3-4dd9-b0cd-f8e53cab4ae6"/>
    <ds:schemaRef ds:uri="http://purl.org/dc/elements/1.1/"/>
    <ds:schemaRef ds:uri="http://schemas.microsoft.com/office/infopath/2007/PartnerControls"/>
    <ds:schemaRef ds:uri="http://schemas.openxmlformats.org/package/2006/metadata/core-properties"/>
    <ds:schemaRef ds:uri="00614b57-9ead-4f6f-9f42-850c1ec9a60a"/>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seinpost</Template>
  <TotalTime>2048</TotalTime>
  <Words>1550</Words>
  <Application>Microsoft Office PowerPoint</Application>
  <PresentationFormat>Breedbeeld</PresentationFormat>
  <Paragraphs>401</Paragraphs>
  <Slides>25</Slides>
  <Notes>3</Notes>
  <HiddenSlides>0</HiddenSlides>
  <MMClips>0</MMClips>
  <ScaleCrop>false</ScaleCrop>
  <HeadingPairs>
    <vt:vector size="6" baseType="variant">
      <vt:variant>
        <vt:lpstr>Gebruikte lettertypen</vt:lpstr>
      </vt:variant>
      <vt:variant>
        <vt:i4>5</vt:i4>
      </vt:variant>
      <vt:variant>
        <vt:lpstr>Thema</vt:lpstr>
      </vt:variant>
      <vt:variant>
        <vt:i4>1</vt:i4>
      </vt:variant>
      <vt:variant>
        <vt:lpstr>Diatitels</vt:lpstr>
      </vt:variant>
      <vt:variant>
        <vt:i4>25</vt:i4>
      </vt:variant>
    </vt:vector>
  </HeadingPairs>
  <TitlesOfParts>
    <vt:vector size="31" baseType="lpstr">
      <vt:lpstr>Arial</vt:lpstr>
      <vt:lpstr>Open Sans Light</vt:lpstr>
      <vt:lpstr>Calibri</vt:lpstr>
      <vt:lpstr>Open Sans</vt:lpstr>
      <vt:lpstr>Wingdings</vt:lpstr>
      <vt:lpstr>Calvi PowerPoint</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vector>
  </TitlesOfParts>
  <Company>Seinpost / ZKA</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esentatie</dc:title>
  <dc:creator>Wouter Hunnekens | Seinpost</dc:creator>
  <cp:lastModifiedBy>Lange, Jan Koert</cp:lastModifiedBy>
  <cp:revision>24</cp:revision>
  <cp:lastPrinted>2022-04-13T13:44:48Z</cp:lastPrinted>
  <dcterms:created xsi:type="dcterms:W3CDTF">2021-10-01T08:57:38Z</dcterms:created>
  <dcterms:modified xsi:type="dcterms:W3CDTF">2022-04-20T12:01:4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ypeDocument">
    <vt:lpwstr>Presentatie</vt:lpwstr>
  </property>
  <property fmtid="{D5CDD505-2E9C-101B-9397-08002B2CF9AE}" pid="3" name="Status">
    <vt:lpwstr>Nieuw</vt:lpwstr>
  </property>
  <property fmtid="{D5CDD505-2E9C-101B-9397-08002B2CF9AE}" pid="4" name="Titel">
    <vt:lpwstr> </vt:lpwstr>
  </property>
  <property fmtid="{D5CDD505-2E9C-101B-9397-08002B2CF9AE}" pid="5" name="Subtitel">
    <vt:lpwstr> </vt:lpwstr>
  </property>
  <property fmtid="{D5CDD505-2E9C-101B-9397-08002B2CF9AE}" pid="6" name="Ondertitel">
    <vt:lpwstr> </vt:lpwstr>
  </property>
  <property fmtid="{D5CDD505-2E9C-101B-9397-08002B2CF9AE}" pid="7" name="Plaats">
    <vt:lpwstr> </vt:lpwstr>
  </property>
  <property fmtid="{D5CDD505-2E9C-101B-9397-08002B2CF9AE}" pid="8" name="Datum">
    <vt:lpwstr> </vt:lpwstr>
  </property>
  <property fmtid="{D5CDD505-2E9C-101B-9397-08002B2CF9AE}" pid="9" name="Auteur1">
    <vt:lpwstr> </vt:lpwstr>
  </property>
  <property fmtid="{D5CDD505-2E9C-101B-9397-08002B2CF9AE}" pid="10" name="Auteur2">
    <vt:lpwstr> </vt:lpwstr>
  </property>
  <property fmtid="{D5CDD505-2E9C-101B-9397-08002B2CF9AE}" pid="11" name="Auteur3">
    <vt:lpwstr> </vt:lpwstr>
  </property>
  <property fmtid="{D5CDD505-2E9C-101B-9397-08002B2CF9AE}" pid="12" name="Auteur4">
    <vt:lpwstr> </vt:lpwstr>
  </property>
  <property fmtid="{D5CDD505-2E9C-101B-9397-08002B2CF9AE}" pid="13" name="Projectnummer">
    <vt:lpwstr> </vt:lpwstr>
  </property>
  <property fmtid="{D5CDD505-2E9C-101B-9397-08002B2CF9AE}" pid="14" name="TypePresentatie">
    <vt:lpwstr> </vt:lpwstr>
  </property>
  <property fmtid="{D5CDD505-2E9C-101B-9397-08002B2CF9AE}" pid="15" name="Bedrijf">
    <vt:lpwstr>Seinpost</vt:lpwstr>
  </property>
  <property fmtid="{D5CDD505-2E9C-101B-9397-08002B2CF9AE}" pid="16" name="ContentTypeId">
    <vt:lpwstr>0x010100182E5FC98A8D5E4493C63FD79403AF39</vt:lpwstr>
  </property>
</Properties>
</file>